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318" r:id="rId4"/>
    <p:sldMasterId id="2147484396" r:id="rId5"/>
    <p:sldMasterId id="2147484533" r:id="rId6"/>
    <p:sldMasterId id="2147484585" r:id="rId7"/>
    <p:sldMasterId id="2147484635" r:id="rId8"/>
    <p:sldMasterId id="2147484642" r:id="rId9"/>
  </p:sldMasterIdLst>
  <p:notesMasterIdLst>
    <p:notesMasterId r:id="rId28"/>
  </p:notesMasterIdLst>
  <p:handoutMasterIdLst>
    <p:handoutMasterId r:id="rId29"/>
  </p:handoutMasterIdLst>
  <p:sldIdLst>
    <p:sldId id="258" r:id="rId10"/>
    <p:sldId id="256" r:id="rId11"/>
    <p:sldId id="2147483543" r:id="rId12"/>
    <p:sldId id="2147483568" r:id="rId13"/>
    <p:sldId id="319" r:id="rId14"/>
    <p:sldId id="2147483560" r:id="rId15"/>
    <p:sldId id="2147483547" r:id="rId16"/>
    <p:sldId id="2147483548" r:id="rId17"/>
    <p:sldId id="2147483565" r:id="rId18"/>
    <p:sldId id="2147483563" r:id="rId19"/>
    <p:sldId id="2147483564" r:id="rId20"/>
    <p:sldId id="2147481310" r:id="rId21"/>
    <p:sldId id="2147483566" r:id="rId22"/>
    <p:sldId id="2147481312" r:id="rId23"/>
    <p:sldId id="2147483555" r:id="rId24"/>
    <p:sldId id="257" r:id="rId25"/>
    <p:sldId id="2147483562" r:id="rId26"/>
    <p:sldId id="2147483561" r:id="rId27"/>
  </p:sldIdLst>
  <p:sldSz cx="12192000" cy="6858000"/>
  <p:notesSz cx="7315200" cy="96012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page" id="{F0BCC691-D519-4CB7-9A02-74C4AB003BC2}">
          <p14:sldIdLst>
            <p14:sldId id="258"/>
            <p14:sldId id="256"/>
          </p14:sldIdLst>
        </p14:section>
        <p14:section name="Page - Agents Overview" id="{C07CCDE6-3902-4184-97CD-4ECB19681055}">
          <p14:sldIdLst>
            <p14:sldId id="2147483543"/>
            <p14:sldId id="2147483568"/>
          </p14:sldIdLst>
        </p14:section>
        <p14:section name="Page  - Fiori Launchpad" id="{9207A358-FD2F-4CD2-B780-06FDE8788667}">
          <p14:sldIdLst>
            <p14:sldId id="319"/>
          </p14:sldIdLst>
        </p14:section>
        <p14:section name="Page - Process Map" id="{54ED32C9-D2A1-4C3F-9D82-8E35E97D72B2}">
          <p14:sldIdLst>
            <p14:sldId id="2147483560"/>
          </p14:sldIdLst>
        </p14:section>
        <p14:section name="Page - Consultant in the Loop" id="{210DF542-2ECF-4214-9BD7-F9D15E06F8BC}">
          <p14:sldIdLst>
            <p14:sldId id="2147483547"/>
          </p14:sldIdLst>
        </p14:section>
        <p14:section name="Page - Zora Info" id="{05FD3252-2BE3-42EC-AE68-E2E804E26017}">
          <p14:sldIdLst>
            <p14:sldId id="2147483548"/>
            <p14:sldId id="2147483565"/>
            <p14:sldId id="2147483563"/>
            <p14:sldId id="2147483564"/>
            <p14:sldId id="2147481310"/>
            <p14:sldId id="2147483566"/>
            <p14:sldId id="2147481312"/>
          </p14:sldIdLst>
        </p14:section>
        <p14:section name="Page - Joule" id="{89104AAC-A5D5-4B4B-A24E-905C6CFAEA59}">
          <p14:sldIdLst>
            <p14:sldId id="2147483555"/>
            <p14:sldId id="257"/>
            <p14:sldId id="2147483562"/>
            <p14:sldId id="2147483561"/>
          </p14:sldIdLst>
        </p14:section>
      </p14:sectionLst>
    </p:ext>
    <p:ext uri="{EFAFB233-063F-42B5-8137-9DF3F51BA10A}">
      <p15:sldGuideLst xmlns:p15="http://schemas.microsoft.com/office/powerpoint/2012/main">
        <p15:guide id="4" orient="horz" pos="1094" userDrawn="1">
          <p15:clr>
            <a:srgbClr val="A4A3A4"/>
          </p15:clr>
        </p15:guide>
        <p15:guide id="5"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8F4"/>
    <a:srgbClr val="E4E4E4"/>
    <a:srgbClr val="CFCFCD"/>
    <a:srgbClr val="BFBFBF"/>
    <a:srgbClr val="2257D2"/>
    <a:srgbClr val="000000"/>
    <a:srgbClr val="E5A119"/>
    <a:srgbClr val="84C42F"/>
    <a:srgbClr val="F0F0F0"/>
    <a:srgbClr val="007CB0"/>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3C533F-E5B9-47E3-8545-903DA0EEEA64}" v="21" dt="2025-05-03T15:03:58.955"/>
    <p1510:client id="{620CEE7C-3E00-E04F-A28C-F598361A351D}" v="2" dt="2025-05-05T06:25:50.628"/>
    <p1510:client id="{82C13874-A77C-65C5-5968-677B72879524}" v="3" dt="2025-05-05T08:13:11.0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94"/>
        <p:guide pos="3840"/>
      </p:guideLst>
    </p:cSldViewPr>
  </p:slide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glands, Victoria" userId="S::vibiglands@deloitte.de::686c1ffc-8217-4ffe-a7aa-25f13f0797e5" providerId="AD" clId="Web-{82C13874-A77C-65C5-5968-677B72879524}"/>
    <pc:docChg chg="modSld">
      <pc:chgData name="Biglands, Victoria" userId="S::vibiglands@deloitte.de::686c1ffc-8217-4ffe-a7aa-25f13f0797e5" providerId="AD" clId="Web-{82C13874-A77C-65C5-5968-677B72879524}" dt="2025-05-05T08:13:09.212" v="1" actId="20577"/>
      <pc:docMkLst>
        <pc:docMk/>
      </pc:docMkLst>
      <pc:sldChg chg="modSp">
        <pc:chgData name="Biglands, Victoria" userId="S::vibiglands@deloitte.de::686c1ffc-8217-4ffe-a7aa-25f13f0797e5" providerId="AD" clId="Web-{82C13874-A77C-65C5-5968-677B72879524}" dt="2025-05-05T08:13:09.212" v="1" actId="20577"/>
        <pc:sldMkLst>
          <pc:docMk/>
          <pc:sldMk cId="896747104" sldId="258"/>
        </pc:sldMkLst>
        <pc:spChg chg="mod">
          <ac:chgData name="Biglands, Victoria" userId="S::vibiglands@deloitte.de::686c1ffc-8217-4ffe-a7aa-25f13f0797e5" providerId="AD" clId="Web-{82C13874-A77C-65C5-5968-677B72879524}" dt="2025-05-05T08:13:09.212" v="1" actId="20577"/>
          <ac:spMkLst>
            <pc:docMk/>
            <pc:sldMk cId="896747104" sldId="258"/>
            <ac:spMk id="1048" creationId="{40E4B491-6A2E-788B-F913-246BA7A205A6}"/>
          </ac:spMkLst>
        </pc:spChg>
      </pc:sldChg>
    </pc:docChg>
  </pc:docChgLst>
  <pc:docChgLst>
    <pc:chgData name="Goeroecs, Esther" userId="7cce3b4a-eb94-447a-8703-6add48fbcac7" providerId="ADAL" clId="{620CEE7C-3E00-E04F-A28C-F598361A351D}"/>
    <pc:docChg chg="modSld">
      <pc:chgData name="Goeroecs, Esther" userId="7cce3b4a-eb94-447a-8703-6add48fbcac7" providerId="ADAL" clId="{620CEE7C-3E00-E04F-A28C-F598361A351D}" dt="2025-05-05T06:25:50.628" v="0" actId="1076"/>
      <pc:docMkLst>
        <pc:docMk/>
      </pc:docMkLst>
      <pc:sldChg chg="modSp mod">
        <pc:chgData name="Goeroecs, Esther" userId="7cce3b4a-eb94-447a-8703-6add48fbcac7" providerId="ADAL" clId="{620CEE7C-3E00-E04F-A28C-F598361A351D}" dt="2025-05-05T06:25:50.628" v="0" actId="1076"/>
        <pc:sldMkLst>
          <pc:docMk/>
          <pc:sldMk cId="896747104" sldId="258"/>
        </pc:sldMkLst>
        <pc:picChg chg="mod">
          <ac:chgData name="Goeroecs, Esther" userId="7cce3b4a-eb94-447a-8703-6add48fbcac7" providerId="ADAL" clId="{620CEE7C-3E00-E04F-A28C-F598361A351D}" dt="2025-05-05T06:25:50.628" v="0" actId="1076"/>
          <ac:picMkLst>
            <pc:docMk/>
            <pc:sldMk cId="896747104" sldId="258"/>
            <ac:picMk id="15" creationId="{8D0EBD9C-B7C3-494C-0B8D-2A938F0B32A7}"/>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2758EA5-A1E6-4508-8270-44052DF2B5AC}"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de-DE"/>
        </a:p>
      </dgm:t>
    </dgm:pt>
    <dgm:pt modelId="{C4D8A659-0E4E-4BE9-84A1-4C3C104DDCA9}">
      <dgm:prSet/>
      <dgm:spPr/>
      <dgm:t>
        <a:bodyPr/>
        <a:lstStyle/>
        <a:p>
          <a:pPr>
            <a:buNone/>
          </a:pPr>
          <a:r>
            <a:rPr lang="en-US" b="0" i="0" u="none"/>
            <a:t>Spare Parts Recognition</a:t>
          </a:r>
          <a:endParaRPr lang="de-DE" b="0" i="0" u="none"/>
        </a:p>
      </dgm:t>
    </dgm:pt>
    <dgm:pt modelId="{04F3795D-6B73-4DDB-A65F-181D0BE5CB79}" type="parTrans" cxnId="{8659746D-12C3-40F1-BFBF-EFCCB97FDBCC}">
      <dgm:prSet/>
      <dgm:spPr/>
      <dgm:t>
        <a:bodyPr/>
        <a:lstStyle/>
        <a:p>
          <a:endParaRPr lang="de-DE"/>
        </a:p>
      </dgm:t>
    </dgm:pt>
    <dgm:pt modelId="{60278A12-C957-4340-B7AA-16D527BBC991}" type="sibTrans" cxnId="{8659746D-12C3-40F1-BFBF-EFCCB97FDBCC}">
      <dgm:prSet/>
      <dgm:spPr/>
      <dgm:t>
        <a:bodyPr/>
        <a:lstStyle/>
        <a:p>
          <a:endParaRPr lang="de-DE"/>
        </a:p>
      </dgm:t>
    </dgm:pt>
    <dgm:pt modelId="{A5539706-C535-4AEF-B8A7-027B23702C50}">
      <dgm:prSet/>
      <dgm:spPr/>
      <dgm:t>
        <a:bodyPr/>
        <a:lstStyle/>
        <a:p>
          <a:pPr>
            <a:buNone/>
          </a:pPr>
          <a:r>
            <a:rPr lang="en-US" b="0" i="0" u="none"/>
            <a:t>Business Comment Aggregation</a:t>
          </a:r>
          <a:endParaRPr lang="de-DE" b="0" i="0" u="none"/>
        </a:p>
      </dgm:t>
    </dgm:pt>
    <dgm:pt modelId="{AF6017F1-BFAF-44B5-A86C-60441105A468}" type="parTrans" cxnId="{A2B10371-C91A-4265-9291-4CAEED1566F3}">
      <dgm:prSet/>
      <dgm:spPr/>
      <dgm:t>
        <a:bodyPr/>
        <a:lstStyle/>
        <a:p>
          <a:endParaRPr lang="de-DE"/>
        </a:p>
      </dgm:t>
    </dgm:pt>
    <dgm:pt modelId="{F61FE550-F8FE-4BEC-BC49-FF05A916EFD4}" type="sibTrans" cxnId="{A2B10371-C91A-4265-9291-4CAEED1566F3}">
      <dgm:prSet/>
      <dgm:spPr/>
      <dgm:t>
        <a:bodyPr/>
        <a:lstStyle/>
        <a:p>
          <a:endParaRPr lang="de-DE"/>
        </a:p>
      </dgm:t>
    </dgm:pt>
    <dgm:pt modelId="{39DF156E-8A6A-4F78-BD30-C6211978B12E}">
      <dgm:prSet/>
      <dgm:spPr/>
      <dgm:t>
        <a:bodyPr/>
        <a:lstStyle/>
        <a:p>
          <a:r>
            <a:rPr lang="en-GB" b="0" i="0" u="none" err="1"/>
            <a:t>SkillBridge</a:t>
          </a:r>
          <a:endParaRPr lang="de-DE" b="0" i="0" u="none"/>
        </a:p>
      </dgm:t>
    </dgm:pt>
    <dgm:pt modelId="{12772EE9-0C7F-4467-8CE2-6C289FFF2719}" type="parTrans" cxnId="{0CF9B17B-AAF0-4FFD-8130-5A2047D2D8E7}">
      <dgm:prSet/>
      <dgm:spPr/>
      <dgm:t>
        <a:bodyPr/>
        <a:lstStyle/>
        <a:p>
          <a:endParaRPr lang="de-DE"/>
        </a:p>
      </dgm:t>
    </dgm:pt>
    <dgm:pt modelId="{9715D356-4323-4F10-876C-D15B58A74117}" type="sibTrans" cxnId="{0CF9B17B-AAF0-4FFD-8130-5A2047D2D8E7}">
      <dgm:prSet/>
      <dgm:spPr/>
      <dgm:t>
        <a:bodyPr/>
        <a:lstStyle/>
        <a:p>
          <a:endParaRPr lang="de-DE"/>
        </a:p>
      </dgm:t>
    </dgm:pt>
    <dgm:pt modelId="{4A8CC1F2-3169-40AD-9A74-C0C85C300457}">
      <dgm:prSet/>
      <dgm:spPr/>
      <dgm:t>
        <a:bodyPr/>
        <a:lstStyle/>
        <a:p>
          <a:r>
            <a:rPr lang="de-DE" b="0" i="0" u="none"/>
            <a:t>XXX</a:t>
          </a:r>
        </a:p>
      </dgm:t>
    </dgm:pt>
    <dgm:pt modelId="{C360B92A-B3FE-4E96-A440-08E1627109E6}" type="parTrans" cxnId="{381698B6-A876-4BB7-9738-3E9CB060970B}">
      <dgm:prSet/>
      <dgm:spPr/>
      <dgm:t>
        <a:bodyPr/>
        <a:lstStyle/>
        <a:p>
          <a:endParaRPr lang="de-DE"/>
        </a:p>
      </dgm:t>
    </dgm:pt>
    <dgm:pt modelId="{9ECBC9D3-BC1C-4171-90BE-BF247075B2E7}" type="sibTrans" cxnId="{381698B6-A876-4BB7-9738-3E9CB060970B}">
      <dgm:prSet/>
      <dgm:spPr/>
      <dgm:t>
        <a:bodyPr/>
        <a:lstStyle/>
        <a:p>
          <a:endParaRPr lang="de-DE"/>
        </a:p>
      </dgm:t>
    </dgm:pt>
    <dgm:pt modelId="{1D18FE9D-9F73-40BA-8A0C-C3F97EDAA642}">
      <dgm:prSet/>
      <dgm:spPr/>
      <dgm:t>
        <a:bodyPr/>
        <a:lstStyle/>
        <a:p>
          <a:r>
            <a:rPr lang="en-GB">
              <a:solidFill>
                <a:schemeClr val="bg1"/>
              </a:solidFill>
              <a:latin typeface="Calibri" panose="020F0502020204030204" pitchFamily="34" charset="0"/>
              <a:ea typeface="Calibri" panose="020F0502020204030204" pitchFamily="34" charset="0"/>
              <a:cs typeface="Calibri" panose="020F0502020204030204" pitchFamily="34" charset="0"/>
            </a:rPr>
            <a:t>Perform skill gap analysis and recommendations to evaluate skills employees currently possess, the skills required for their roles and recommendations on how to bridge the gap based on company’s data</a:t>
          </a:r>
          <a:endParaRPr lang="de-DE" b="0" i="0" u="none"/>
        </a:p>
      </dgm:t>
    </dgm:pt>
    <dgm:pt modelId="{981FE0FE-D4B0-4E14-90C9-21A75EF2B289}" type="parTrans" cxnId="{8A999795-D8D3-4BCA-BF73-7B1C4B465C96}">
      <dgm:prSet/>
      <dgm:spPr/>
      <dgm:t>
        <a:bodyPr/>
        <a:lstStyle/>
        <a:p>
          <a:endParaRPr lang="de-DE"/>
        </a:p>
      </dgm:t>
    </dgm:pt>
    <dgm:pt modelId="{900E55DC-1D2F-476B-9975-EDBA8BF37035}" type="sibTrans" cxnId="{8A999795-D8D3-4BCA-BF73-7B1C4B465C96}">
      <dgm:prSet/>
      <dgm:spPr/>
      <dgm:t>
        <a:bodyPr/>
        <a:lstStyle/>
        <a:p>
          <a:endParaRPr lang="de-DE"/>
        </a:p>
      </dgm:t>
    </dgm:pt>
    <dgm:pt modelId="{0308C1FA-C255-478F-9389-D65BE3870918}">
      <dgm:prSet/>
      <dgm:spPr/>
      <dgm:t>
        <a:bodyPr/>
        <a:lstStyle/>
        <a:p>
          <a:r>
            <a:rPr lang="en-US">
              <a:solidFill>
                <a:schemeClr val="bg1"/>
              </a:solidFill>
              <a:latin typeface="Calibri" panose="020F0502020204030204" pitchFamily="34" charset="0"/>
              <a:ea typeface="Calibri" panose="020F0502020204030204" pitchFamily="34" charset="0"/>
              <a:cs typeface="Calibri" panose="020F0502020204030204" pitchFamily="34" charset="0"/>
            </a:rPr>
            <a:t>Reading comments from SAC data models and provide a structured summary, highlight important facts and extract action points</a:t>
          </a:r>
          <a:endParaRPr lang="de-DE" b="0" i="0" u="none"/>
        </a:p>
      </dgm:t>
    </dgm:pt>
    <dgm:pt modelId="{77322586-B05A-4C93-A50C-E0C92DE140EA}" type="parTrans" cxnId="{65356F73-DB9A-431F-BE1B-AD6588AE24DB}">
      <dgm:prSet/>
      <dgm:spPr/>
      <dgm:t>
        <a:bodyPr/>
        <a:lstStyle/>
        <a:p>
          <a:endParaRPr lang="de-DE"/>
        </a:p>
      </dgm:t>
    </dgm:pt>
    <dgm:pt modelId="{316328D3-ADC0-4CA1-B1C8-6BAF174B7CCB}" type="sibTrans" cxnId="{65356F73-DB9A-431F-BE1B-AD6588AE24DB}">
      <dgm:prSet/>
      <dgm:spPr/>
      <dgm:t>
        <a:bodyPr/>
        <a:lstStyle/>
        <a:p>
          <a:endParaRPr lang="de-DE"/>
        </a:p>
      </dgm:t>
    </dgm:pt>
    <dgm:pt modelId="{F1F6E607-F7A1-41A2-8D3B-D243CB9C52EC}">
      <dgm:prSet/>
      <dgm:spPr/>
      <dgm:t>
        <a:bodyPr/>
        <a:lstStyle/>
        <a:p>
          <a:r>
            <a:rPr lang="en-US">
              <a:solidFill>
                <a:schemeClr val="bg1"/>
              </a:solidFill>
              <a:latin typeface="Calibri" panose="020F0502020204030204" pitchFamily="34" charset="0"/>
              <a:ea typeface="Calibri" panose="020F0502020204030204" pitchFamily="34" charset="0"/>
              <a:cs typeface="Calibri" panose="020F0502020204030204" pitchFamily="34" charset="0"/>
            </a:rPr>
            <a:t>Advance image recognition to register and identify personal &amp; spare parts to optimize service processes</a:t>
          </a:r>
          <a:endParaRPr lang="de-DE" b="0" i="0" u="none"/>
        </a:p>
      </dgm:t>
    </dgm:pt>
    <dgm:pt modelId="{B2A6A2CE-8C1E-40CB-937A-87562BA1E761}" type="parTrans" cxnId="{0E346DEB-4362-4608-BD44-7B3D3B72B399}">
      <dgm:prSet/>
      <dgm:spPr/>
      <dgm:t>
        <a:bodyPr/>
        <a:lstStyle/>
        <a:p>
          <a:endParaRPr lang="de-DE"/>
        </a:p>
      </dgm:t>
    </dgm:pt>
    <dgm:pt modelId="{63D13E4C-3461-49F6-8A21-7E29C6030A44}" type="sibTrans" cxnId="{0E346DEB-4362-4608-BD44-7B3D3B72B399}">
      <dgm:prSet/>
      <dgm:spPr/>
      <dgm:t>
        <a:bodyPr/>
        <a:lstStyle/>
        <a:p>
          <a:endParaRPr lang="de-DE"/>
        </a:p>
      </dgm:t>
    </dgm:pt>
    <dgm:pt modelId="{A5C3DC10-BB16-4877-8137-447F0FF7ADB4}" type="pres">
      <dgm:prSet presAssocID="{F2758EA5-A1E6-4508-8270-44052DF2B5AC}" presName="Name0" presStyleCnt="0">
        <dgm:presLayoutVars>
          <dgm:dir/>
          <dgm:animLvl val="lvl"/>
          <dgm:resizeHandles val="exact"/>
        </dgm:presLayoutVars>
      </dgm:prSet>
      <dgm:spPr/>
    </dgm:pt>
    <dgm:pt modelId="{DCBC3756-EF15-4506-8847-7F3150DD2B1C}" type="pres">
      <dgm:prSet presAssocID="{C4D8A659-0E4E-4BE9-84A1-4C3C104DDCA9}" presName="composite" presStyleCnt="0"/>
      <dgm:spPr/>
    </dgm:pt>
    <dgm:pt modelId="{14D7EC0A-C0EA-4A5B-B4B2-13FB3A8C6A64}" type="pres">
      <dgm:prSet presAssocID="{C4D8A659-0E4E-4BE9-84A1-4C3C104DDCA9}" presName="parTx" presStyleLbl="alignNode1" presStyleIdx="0" presStyleCnt="4">
        <dgm:presLayoutVars>
          <dgm:chMax val="0"/>
          <dgm:chPref val="0"/>
          <dgm:bulletEnabled val="1"/>
        </dgm:presLayoutVars>
      </dgm:prSet>
      <dgm:spPr/>
    </dgm:pt>
    <dgm:pt modelId="{3A24510C-BC83-4D55-AF03-E1A48D8016B5}" type="pres">
      <dgm:prSet presAssocID="{C4D8A659-0E4E-4BE9-84A1-4C3C104DDCA9}" presName="desTx" presStyleLbl="alignAccFollowNode1" presStyleIdx="0" presStyleCnt="4">
        <dgm:presLayoutVars>
          <dgm:bulletEnabled val="1"/>
        </dgm:presLayoutVars>
      </dgm:prSet>
      <dgm:spPr/>
    </dgm:pt>
    <dgm:pt modelId="{D75258C7-BD32-4D5F-9E26-19BEE37998E4}" type="pres">
      <dgm:prSet presAssocID="{60278A12-C957-4340-B7AA-16D527BBC991}" presName="space" presStyleCnt="0"/>
      <dgm:spPr/>
    </dgm:pt>
    <dgm:pt modelId="{765CF23F-C69D-4642-903A-65E0858D7E21}" type="pres">
      <dgm:prSet presAssocID="{A5539706-C535-4AEF-B8A7-027B23702C50}" presName="composite" presStyleCnt="0"/>
      <dgm:spPr/>
    </dgm:pt>
    <dgm:pt modelId="{401D7F60-AB04-46AA-BA3C-1A06971990AF}" type="pres">
      <dgm:prSet presAssocID="{A5539706-C535-4AEF-B8A7-027B23702C50}" presName="parTx" presStyleLbl="alignNode1" presStyleIdx="1" presStyleCnt="4">
        <dgm:presLayoutVars>
          <dgm:chMax val="0"/>
          <dgm:chPref val="0"/>
          <dgm:bulletEnabled val="1"/>
        </dgm:presLayoutVars>
      </dgm:prSet>
      <dgm:spPr/>
    </dgm:pt>
    <dgm:pt modelId="{C2F7E090-C658-4CF6-9471-9CEA41275E0B}" type="pres">
      <dgm:prSet presAssocID="{A5539706-C535-4AEF-B8A7-027B23702C50}" presName="desTx" presStyleLbl="alignAccFollowNode1" presStyleIdx="1" presStyleCnt="4">
        <dgm:presLayoutVars>
          <dgm:bulletEnabled val="1"/>
        </dgm:presLayoutVars>
      </dgm:prSet>
      <dgm:spPr/>
    </dgm:pt>
    <dgm:pt modelId="{AA81585A-3BC7-424C-AAE9-CFF6D222A4E7}" type="pres">
      <dgm:prSet presAssocID="{F61FE550-F8FE-4BEC-BC49-FF05A916EFD4}" presName="space" presStyleCnt="0"/>
      <dgm:spPr/>
    </dgm:pt>
    <dgm:pt modelId="{311F0FE6-605C-4D0A-B18A-8439D15035BF}" type="pres">
      <dgm:prSet presAssocID="{39DF156E-8A6A-4F78-BD30-C6211978B12E}" presName="composite" presStyleCnt="0"/>
      <dgm:spPr/>
    </dgm:pt>
    <dgm:pt modelId="{8EBC2FEF-51D4-48B4-8968-5B7F9FB75FF0}" type="pres">
      <dgm:prSet presAssocID="{39DF156E-8A6A-4F78-BD30-C6211978B12E}" presName="parTx" presStyleLbl="alignNode1" presStyleIdx="2" presStyleCnt="4">
        <dgm:presLayoutVars>
          <dgm:chMax val="0"/>
          <dgm:chPref val="0"/>
          <dgm:bulletEnabled val="1"/>
        </dgm:presLayoutVars>
      </dgm:prSet>
      <dgm:spPr/>
    </dgm:pt>
    <dgm:pt modelId="{01F73BE8-8609-4389-A7F9-B24738640435}" type="pres">
      <dgm:prSet presAssocID="{39DF156E-8A6A-4F78-BD30-C6211978B12E}" presName="desTx" presStyleLbl="alignAccFollowNode1" presStyleIdx="2" presStyleCnt="4">
        <dgm:presLayoutVars>
          <dgm:bulletEnabled val="1"/>
        </dgm:presLayoutVars>
      </dgm:prSet>
      <dgm:spPr/>
    </dgm:pt>
    <dgm:pt modelId="{A6C04213-298F-440E-A6F6-43D2803470D5}" type="pres">
      <dgm:prSet presAssocID="{9715D356-4323-4F10-876C-D15B58A74117}" presName="space" presStyleCnt="0"/>
      <dgm:spPr/>
    </dgm:pt>
    <dgm:pt modelId="{B4D137AA-A33D-45D4-890F-017D9DC447F1}" type="pres">
      <dgm:prSet presAssocID="{4A8CC1F2-3169-40AD-9A74-C0C85C300457}" presName="composite" presStyleCnt="0"/>
      <dgm:spPr/>
    </dgm:pt>
    <dgm:pt modelId="{8B62B250-E6E6-4881-98A1-23769C5698EB}" type="pres">
      <dgm:prSet presAssocID="{4A8CC1F2-3169-40AD-9A74-C0C85C300457}" presName="parTx" presStyleLbl="alignNode1" presStyleIdx="3" presStyleCnt="4">
        <dgm:presLayoutVars>
          <dgm:chMax val="0"/>
          <dgm:chPref val="0"/>
          <dgm:bulletEnabled val="1"/>
        </dgm:presLayoutVars>
      </dgm:prSet>
      <dgm:spPr/>
    </dgm:pt>
    <dgm:pt modelId="{7A34F8BD-6D4B-4F92-8276-F224536A5C55}" type="pres">
      <dgm:prSet presAssocID="{4A8CC1F2-3169-40AD-9A74-C0C85C300457}" presName="desTx" presStyleLbl="alignAccFollowNode1" presStyleIdx="3" presStyleCnt="4">
        <dgm:presLayoutVars>
          <dgm:bulletEnabled val="1"/>
        </dgm:presLayoutVars>
      </dgm:prSet>
      <dgm:spPr/>
    </dgm:pt>
  </dgm:ptLst>
  <dgm:cxnLst>
    <dgm:cxn modelId="{B8466D3C-D363-4EEE-B554-5CEF73AF4411}" type="presOf" srcId="{0308C1FA-C255-478F-9389-D65BE3870918}" destId="{C2F7E090-C658-4CF6-9471-9CEA41275E0B}" srcOrd="0" destOrd="0" presId="urn:microsoft.com/office/officeart/2005/8/layout/hList1"/>
    <dgm:cxn modelId="{8BF5A35E-4F06-4851-A0E3-905AF0820BCC}" type="presOf" srcId="{F1F6E607-F7A1-41A2-8D3B-D243CB9C52EC}" destId="{3A24510C-BC83-4D55-AF03-E1A48D8016B5}" srcOrd="0" destOrd="0" presId="urn:microsoft.com/office/officeart/2005/8/layout/hList1"/>
    <dgm:cxn modelId="{6300CA48-A7F4-474D-89C9-47A4A6494553}" type="presOf" srcId="{A5539706-C535-4AEF-B8A7-027B23702C50}" destId="{401D7F60-AB04-46AA-BA3C-1A06971990AF}" srcOrd="0" destOrd="0" presId="urn:microsoft.com/office/officeart/2005/8/layout/hList1"/>
    <dgm:cxn modelId="{73311E49-D7E1-4E61-BE8F-BED48C36FFB8}" type="presOf" srcId="{4A8CC1F2-3169-40AD-9A74-C0C85C300457}" destId="{8B62B250-E6E6-4881-98A1-23769C5698EB}" srcOrd="0" destOrd="0" presId="urn:microsoft.com/office/officeart/2005/8/layout/hList1"/>
    <dgm:cxn modelId="{8659746D-12C3-40F1-BFBF-EFCCB97FDBCC}" srcId="{F2758EA5-A1E6-4508-8270-44052DF2B5AC}" destId="{C4D8A659-0E4E-4BE9-84A1-4C3C104DDCA9}" srcOrd="0" destOrd="0" parTransId="{04F3795D-6B73-4DDB-A65F-181D0BE5CB79}" sibTransId="{60278A12-C957-4340-B7AA-16D527BBC991}"/>
    <dgm:cxn modelId="{A2B10371-C91A-4265-9291-4CAEED1566F3}" srcId="{F2758EA5-A1E6-4508-8270-44052DF2B5AC}" destId="{A5539706-C535-4AEF-B8A7-027B23702C50}" srcOrd="1" destOrd="0" parTransId="{AF6017F1-BFAF-44B5-A86C-60441105A468}" sibTransId="{F61FE550-F8FE-4BEC-BC49-FF05A916EFD4}"/>
    <dgm:cxn modelId="{65356F73-DB9A-431F-BE1B-AD6588AE24DB}" srcId="{A5539706-C535-4AEF-B8A7-027B23702C50}" destId="{0308C1FA-C255-478F-9389-D65BE3870918}" srcOrd="0" destOrd="0" parTransId="{77322586-B05A-4C93-A50C-E0C92DE140EA}" sibTransId="{316328D3-ADC0-4CA1-B1C8-6BAF174B7CCB}"/>
    <dgm:cxn modelId="{0CF9B17B-AAF0-4FFD-8130-5A2047D2D8E7}" srcId="{F2758EA5-A1E6-4508-8270-44052DF2B5AC}" destId="{39DF156E-8A6A-4F78-BD30-C6211978B12E}" srcOrd="2" destOrd="0" parTransId="{12772EE9-0C7F-4467-8CE2-6C289FFF2719}" sibTransId="{9715D356-4323-4F10-876C-D15B58A74117}"/>
    <dgm:cxn modelId="{3AAC0580-D450-42EE-93C9-3C84EA9077FB}" type="presOf" srcId="{1D18FE9D-9F73-40BA-8A0C-C3F97EDAA642}" destId="{01F73BE8-8609-4389-A7F9-B24738640435}" srcOrd="0" destOrd="0" presId="urn:microsoft.com/office/officeart/2005/8/layout/hList1"/>
    <dgm:cxn modelId="{8A999795-D8D3-4BCA-BF73-7B1C4B465C96}" srcId="{39DF156E-8A6A-4F78-BD30-C6211978B12E}" destId="{1D18FE9D-9F73-40BA-8A0C-C3F97EDAA642}" srcOrd="0" destOrd="0" parTransId="{981FE0FE-D4B0-4E14-90C9-21A75EF2B289}" sibTransId="{900E55DC-1D2F-476B-9975-EDBA8BF37035}"/>
    <dgm:cxn modelId="{3285A7A9-3926-443B-939F-C179E7CCE196}" type="presOf" srcId="{39DF156E-8A6A-4F78-BD30-C6211978B12E}" destId="{8EBC2FEF-51D4-48B4-8968-5B7F9FB75FF0}" srcOrd="0" destOrd="0" presId="urn:microsoft.com/office/officeart/2005/8/layout/hList1"/>
    <dgm:cxn modelId="{381698B6-A876-4BB7-9738-3E9CB060970B}" srcId="{F2758EA5-A1E6-4508-8270-44052DF2B5AC}" destId="{4A8CC1F2-3169-40AD-9A74-C0C85C300457}" srcOrd="3" destOrd="0" parTransId="{C360B92A-B3FE-4E96-A440-08E1627109E6}" sibTransId="{9ECBC9D3-BC1C-4171-90BE-BF247075B2E7}"/>
    <dgm:cxn modelId="{4078A9C6-812A-4A7D-BD99-498F7FE46EFD}" type="presOf" srcId="{F2758EA5-A1E6-4508-8270-44052DF2B5AC}" destId="{A5C3DC10-BB16-4877-8137-447F0FF7ADB4}" srcOrd="0" destOrd="0" presId="urn:microsoft.com/office/officeart/2005/8/layout/hList1"/>
    <dgm:cxn modelId="{C92011E5-4620-418E-A1F6-738A643143ED}" type="presOf" srcId="{C4D8A659-0E4E-4BE9-84A1-4C3C104DDCA9}" destId="{14D7EC0A-C0EA-4A5B-B4B2-13FB3A8C6A64}" srcOrd="0" destOrd="0" presId="urn:microsoft.com/office/officeart/2005/8/layout/hList1"/>
    <dgm:cxn modelId="{0E346DEB-4362-4608-BD44-7B3D3B72B399}" srcId="{C4D8A659-0E4E-4BE9-84A1-4C3C104DDCA9}" destId="{F1F6E607-F7A1-41A2-8D3B-D243CB9C52EC}" srcOrd="0" destOrd="0" parTransId="{B2A6A2CE-8C1E-40CB-937A-87562BA1E761}" sibTransId="{63D13E4C-3461-49F6-8A21-7E29C6030A44}"/>
    <dgm:cxn modelId="{8B3E8AF6-DEB1-4280-82F6-C05E2739C008}" type="presParOf" srcId="{A5C3DC10-BB16-4877-8137-447F0FF7ADB4}" destId="{DCBC3756-EF15-4506-8847-7F3150DD2B1C}" srcOrd="0" destOrd="0" presId="urn:microsoft.com/office/officeart/2005/8/layout/hList1"/>
    <dgm:cxn modelId="{55FE2C8E-87B4-42B8-9B7C-C485A6832B34}" type="presParOf" srcId="{DCBC3756-EF15-4506-8847-7F3150DD2B1C}" destId="{14D7EC0A-C0EA-4A5B-B4B2-13FB3A8C6A64}" srcOrd="0" destOrd="0" presId="urn:microsoft.com/office/officeart/2005/8/layout/hList1"/>
    <dgm:cxn modelId="{7079137C-FBD5-4C83-8532-8DDC0CBDC736}" type="presParOf" srcId="{DCBC3756-EF15-4506-8847-7F3150DD2B1C}" destId="{3A24510C-BC83-4D55-AF03-E1A48D8016B5}" srcOrd="1" destOrd="0" presId="urn:microsoft.com/office/officeart/2005/8/layout/hList1"/>
    <dgm:cxn modelId="{8B23B091-04E7-4ECB-937E-E7D8EE87CB2F}" type="presParOf" srcId="{A5C3DC10-BB16-4877-8137-447F0FF7ADB4}" destId="{D75258C7-BD32-4D5F-9E26-19BEE37998E4}" srcOrd="1" destOrd="0" presId="urn:microsoft.com/office/officeart/2005/8/layout/hList1"/>
    <dgm:cxn modelId="{588C180F-952E-4737-886D-20746515DE89}" type="presParOf" srcId="{A5C3DC10-BB16-4877-8137-447F0FF7ADB4}" destId="{765CF23F-C69D-4642-903A-65E0858D7E21}" srcOrd="2" destOrd="0" presId="urn:microsoft.com/office/officeart/2005/8/layout/hList1"/>
    <dgm:cxn modelId="{FB69AEFD-F441-400C-95B1-A44DEDA3397D}" type="presParOf" srcId="{765CF23F-C69D-4642-903A-65E0858D7E21}" destId="{401D7F60-AB04-46AA-BA3C-1A06971990AF}" srcOrd="0" destOrd="0" presId="urn:microsoft.com/office/officeart/2005/8/layout/hList1"/>
    <dgm:cxn modelId="{4534531F-2630-4581-99CE-5CD7908B609A}" type="presParOf" srcId="{765CF23F-C69D-4642-903A-65E0858D7E21}" destId="{C2F7E090-C658-4CF6-9471-9CEA41275E0B}" srcOrd="1" destOrd="0" presId="urn:microsoft.com/office/officeart/2005/8/layout/hList1"/>
    <dgm:cxn modelId="{CD27D0ED-2100-4E8F-9EC2-8B7D2CA36053}" type="presParOf" srcId="{A5C3DC10-BB16-4877-8137-447F0FF7ADB4}" destId="{AA81585A-3BC7-424C-AAE9-CFF6D222A4E7}" srcOrd="3" destOrd="0" presId="urn:microsoft.com/office/officeart/2005/8/layout/hList1"/>
    <dgm:cxn modelId="{9B7DE4EA-AAF3-4E62-BDBF-0332DBACE548}" type="presParOf" srcId="{A5C3DC10-BB16-4877-8137-447F0FF7ADB4}" destId="{311F0FE6-605C-4D0A-B18A-8439D15035BF}" srcOrd="4" destOrd="0" presId="urn:microsoft.com/office/officeart/2005/8/layout/hList1"/>
    <dgm:cxn modelId="{FA34A9C5-2E85-46A7-BCDF-29C2D88CC3C9}" type="presParOf" srcId="{311F0FE6-605C-4D0A-B18A-8439D15035BF}" destId="{8EBC2FEF-51D4-48B4-8968-5B7F9FB75FF0}" srcOrd="0" destOrd="0" presId="urn:microsoft.com/office/officeart/2005/8/layout/hList1"/>
    <dgm:cxn modelId="{31149DA6-2C36-42E6-8D93-FB15F69FDA49}" type="presParOf" srcId="{311F0FE6-605C-4D0A-B18A-8439D15035BF}" destId="{01F73BE8-8609-4389-A7F9-B24738640435}" srcOrd="1" destOrd="0" presId="urn:microsoft.com/office/officeart/2005/8/layout/hList1"/>
    <dgm:cxn modelId="{F3C3008A-2C0B-44F7-902C-200D7EA37D5E}" type="presParOf" srcId="{A5C3DC10-BB16-4877-8137-447F0FF7ADB4}" destId="{A6C04213-298F-440E-A6F6-43D2803470D5}" srcOrd="5" destOrd="0" presId="urn:microsoft.com/office/officeart/2005/8/layout/hList1"/>
    <dgm:cxn modelId="{0ADFCBE3-7E41-4010-8102-C5476478D2CC}" type="presParOf" srcId="{A5C3DC10-BB16-4877-8137-447F0FF7ADB4}" destId="{B4D137AA-A33D-45D4-890F-017D9DC447F1}" srcOrd="6" destOrd="0" presId="urn:microsoft.com/office/officeart/2005/8/layout/hList1"/>
    <dgm:cxn modelId="{AA4B7664-8883-4974-A171-2FC4AE46C66C}" type="presParOf" srcId="{B4D137AA-A33D-45D4-890F-017D9DC447F1}" destId="{8B62B250-E6E6-4881-98A1-23769C5698EB}" srcOrd="0" destOrd="0" presId="urn:microsoft.com/office/officeart/2005/8/layout/hList1"/>
    <dgm:cxn modelId="{C55BAFAA-6328-4814-9465-E6A976F3D118}" type="presParOf" srcId="{B4D137AA-A33D-45D4-890F-017D9DC447F1}" destId="{7A34F8BD-6D4B-4F92-8276-F224536A5C55}" srcOrd="1" destOrd="0" presId="urn:microsoft.com/office/officeart/2005/8/layout/h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2758EA5-A1E6-4508-8270-44052DF2B5AC}"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de-DE"/>
        </a:p>
      </dgm:t>
    </dgm:pt>
    <dgm:pt modelId="{10FD13EC-2129-424F-8CDE-8F1FD6B681A5}">
      <dgm:prSet phldrT="[Text]"/>
      <dgm:spPr/>
      <dgm:t>
        <a:bodyPr/>
        <a:lstStyle/>
        <a:p>
          <a:pPr>
            <a:buNone/>
          </a:pPr>
          <a:r>
            <a:rPr lang="en-US" b="0" i="0" u="none"/>
            <a:t>Automated Accounting Advisor</a:t>
          </a:r>
          <a:endParaRPr lang="de-DE"/>
        </a:p>
      </dgm:t>
    </dgm:pt>
    <dgm:pt modelId="{C93C1471-4603-42B4-A366-D0011DB5B149}" type="parTrans" cxnId="{EA48A22C-D66F-4F34-888F-E404F798CC05}">
      <dgm:prSet/>
      <dgm:spPr/>
      <dgm:t>
        <a:bodyPr/>
        <a:lstStyle/>
        <a:p>
          <a:endParaRPr lang="de-DE"/>
        </a:p>
      </dgm:t>
    </dgm:pt>
    <dgm:pt modelId="{5AE7EF5A-A7CC-4088-8A47-F6E9A20D5F0B}" type="sibTrans" cxnId="{EA48A22C-D66F-4F34-888F-E404F798CC05}">
      <dgm:prSet/>
      <dgm:spPr/>
      <dgm:t>
        <a:bodyPr/>
        <a:lstStyle/>
        <a:p>
          <a:endParaRPr lang="de-DE"/>
        </a:p>
      </dgm:t>
    </dgm:pt>
    <dgm:pt modelId="{93173651-E962-456A-948C-E74D30316952}">
      <dgm:prSet/>
      <dgm:spPr/>
      <dgm:t>
        <a:bodyPr/>
        <a:lstStyle/>
        <a:p>
          <a:pPr>
            <a:buNone/>
          </a:pPr>
          <a:r>
            <a:rPr lang="en-US" b="0" i="0" u="none"/>
            <a:t>Invoice Posting Assistant</a:t>
          </a:r>
          <a:endParaRPr lang="de-DE" b="0" i="0" u="none"/>
        </a:p>
      </dgm:t>
    </dgm:pt>
    <dgm:pt modelId="{532B097C-A321-4CB0-92C7-A449039751D0}" type="parTrans" cxnId="{8548D0C3-11FD-4A60-BEE9-5361EF405EA9}">
      <dgm:prSet/>
      <dgm:spPr/>
      <dgm:t>
        <a:bodyPr/>
        <a:lstStyle/>
        <a:p>
          <a:endParaRPr lang="de-DE"/>
        </a:p>
      </dgm:t>
    </dgm:pt>
    <dgm:pt modelId="{C7563362-AC14-402F-BF0D-4AA494843901}" type="sibTrans" cxnId="{8548D0C3-11FD-4A60-BEE9-5361EF405EA9}">
      <dgm:prSet/>
      <dgm:spPr/>
      <dgm:t>
        <a:bodyPr/>
        <a:lstStyle/>
        <a:p>
          <a:endParaRPr lang="de-DE"/>
        </a:p>
      </dgm:t>
    </dgm:pt>
    <dgm:pt modelId="{364FF3ED-AFF3-4D1B-B749-48474F67E433}">
      <dgm:prSet/>
      <dgm:spPr/>
      <dgm:t>
        <a:bodyPr/>
        <a:lstStyle/>
        <a:p>
          <a:pPr>
            <a:buNone/>
          </a:pPr>
          <a:r>
            <a:rPr lang="en-US" b="0" i="0" u="none"/>
            <a:t>Autonomous Data Validation</a:t>
          </a:r>
          <a:endParaRPr lang="de-DE" b="0" i="0" u="none"/>
        </a:p>
      </dgm:t>
    </dgm:pt>
    <dgm:pt modelId="{F84076AA-7CA9-4999-9099-250843E08937}" type="parTrans" cxnId="{A4578B1D-ED36-4F7A-B43E-14907E44B4F4}">
      <dgm:prSet/>
      <dgm:spPr/>
      <dgm:t>
        <a:bodyPr/>
        <a:lstStyle/>
        <a:p>
          <a:endParaRPr lang="de-DE"/>
        </a:p>
      </dgm:t>
    </dgm:pt>
    <dgm:pt modelId="{535F874F-4DC6-49B9-AB25-446D5971487E}" type="sibTrans" cxnId="{A4578B1D-ED36-4F7A-B43E-14907E44B4F4}">
      <dgm:prSet/>
      <dgm:spPr/>
      <dgm:t>
        <a:bodyPr/>
        <a:lstStyle/>
        <a:p>
          <a:endParaRPr lang="de-DE"/>
        </a:p>
      </dgm:t>
    </dgm:pt>
    <dgm:pt modelId="{A707533E-4B4F-4338-A6DA-3EB63543844E}">
      <dgm:prSet/>
      <dgm:spPr/>
      <dgm:t>
        <a:bodyPr/>
        <a:lstStyle/>
        <a:p>
          <a:pPr>
            <a:buNone/>
          </a:pPr>
          <a:r>
            <a:rPr lang="en-US" b="0" i="0" u="none"/>
            <a:t>Ask your Data</a:t>
          </a:r>
          <a:endParaRPr lang="de-DE" b="0" i="0" u="none"/>
        </a:p>
      </dgm:t>
    </dgm:pt>
    <dgm:pt modelId="{2A4C6DDD-0CB5-440A-995E-2624D1161737}" type="parTrans" cxnId="{C37AC772-002B-4497-9903-D5963A096975}">
      <dgm:prSet/>
      <dgm:spPr/>
      <dgm:t>
        <a:bodyPr/>
        <a:lstStyle/>
        <a:p>
          <a:endParaRPr lang="de-DE"/>
        </a:p>
      </dgm:t>
    </dgm:pt>
    <dgm:pt modelId="{6D2B97FC-97F8-41EC-9155-9C8692F81112}" type="sibTrans" cxnId="{C37AC772-002B-4497-9903-D5963A096975}">
      <dgm:prSet/>
      <dgm:spPr/>
      <dgm:t>
        <a:bodyPr/>
        <a:lstStyle/>
        <a:p>
          <a:endParaRPr lang="de-DE"/>
        </a:p>
      </dgm:t>
    </dgm:pt>
    <dgm:pt modelId="{C1854E45-BDC9-4931-888F-E15D2F2AD98B}">
      <dgm:prSet/>
      <dgm:spPr/>
      <dgm:t>
        <a:bodyPr/>
        <a:lstStyle/>
        <a:p>
          <a:r>
            <a:rPr lang="en-US">
              <a:solidFill>
                <a:schemeClr val="bg1"/>
              </a:solidFill>
              <a:latin typeface="Calibri" panose="020F0502020204030204" pitchFamily="34" charset="0"/>
              <a:ea typeface="Calibri" panose="020F0502020204030204" pitchFamily="34" charset="0"/>
              <a:cs typeface="Calibri" panose="020F0502020204030204" pitchFamily="34" charset="0"/>
            </a:rPr>
            <a:t>User friendly chat interface, which translates natural language into SQL statement and executes it to display the results</a:t>
          </a:r>
          <a:endParaRPr lang="de-DE" b="0" i="0" u="none"/>
        </a:p>
      </dgm:t>
    </dgm:pt>
    <dgm:pt modelId="{A0E887F8-D1EE-457C-AA88-4A165A9AA6D7}" type="parTrans" cxnId="{F5F536CC-9609-4560-8558-0205AA7BCC9C}">
      <dgm:prSet/>
      <dgm:spPr/>
      <dgm:t>
        <a:bodyPr/>
        <a:lstStyle/>
        <a:p>
          <a:endParaRPr lang="de-DE"/>
        </a:p>
      </dgm:t>
    </dgm:pt>
    <dgm:pt modelId="{7E35214D-B814-4DF9-A0EA-6C84FDD524AE}" type="sibTrans" cxnId="{F5F536CC-9609-4560-8558-0205AA7BCC9C}">
      <dgm:prSet/>
      <dgm:spPr/>
      <dgm:t>
        <a:bodyPr/>
        <a:lstStyle/>
        <a:p>
          <a:endParaRPr lang="de-DE"/>
        </a:p>
      </dgm:t>
    </dgm:pt>
    <dgm:pt modelId="{27A59A8C-0C82-4023-AC6D-7B7896BC8898}">
      <dgm:prSet/>
      <dgm:spPr/>
      <dgm:t>
        <a:bodyPr/>
        <a:lstStyle/>
        <a:p>
          <a:r>
            <a:rPr lang="en-US">
              <a:solidFill>
                <a:schemeClr val="bg1"/>
              </a:solidFill>
              <a:latin typeface="Calibri" panose="020F0502020204030204" pitchFamily="34" charset="0"/>
              <a:ea typeface="Calibri" panose="020F0502020204030204" pitchFamily="34" charset="0"/>
              <a:cs typeface="Calibri" panose="020F0502020204030204" pitchFamily="34" charset="0"/>
            </a:rPr>
            <a:t>This tool accelerates data validation by using GenAI technology and help to find errors, understand big data sets and support decision making without the need of advanced technology knowledge</a:t>
          </a:r>
          <a:endParaRPr lang="de-DE" b="0" i="0" u="none"/>
        </a:p>
      </dgm:t>
    </dgm:pt>
    <dgm:pt modelId="{1815025E-7E68-4A49-B317-EF1886E3F73D}" type="parTrans" cxnId="{36B91A02-EAF3-4748-B118-9FCCE14264D0}">
      <dgm:prSet/>
      <dgm:spPr/>
      <dgm:t>
        <a:bodyPr/>
        <a:lstStyle/>
        <a:p>
          <a:endParaRPr lang="de-DE"/>
        </a:p>
      </dgm:t>
    </dgm:pt>
    <dgm:pt modelId="{B8370BE7-78F7-4017-B5B6-5B65B8F6430A}" type="sibTrans" cxnId="{36B91A02-EAF3-4748-B118-9FCCE14264D0}">
      <dgm:prSet/>
      <dgm:spPr/>
      <dgm:t>
        <a:bodyPr/>
        <a:lstStyle/>
        <a:p>
          <a:endParaRPr lang="de-DE"/>
        </a:p>
      </dgm:t>
    </dgm:pt>
    <dgm:pt modelId="{991F2DD8-8626-443B-8E7A-A656DE542B71}">
      <dgm:prSet/>
      <dgm:spPr/>
      <dgm:t>
        <a:bodyPr/>
        <a:lstStyle/>
        <a:p>
          <a:r>
            <a:rPr lang="en-US">
              <a:solidFill>
                <a:schemeClr val="bg1"/>
              </a:solidFill>
              <a:latin typeface="Calibri" panose="020F0502020204030204" pitchFamily="34" charset="0"/>
              <a:ea typeface="Calibri" panose="020F0502020204030204" pitchFamily="34" charset="0"/>
              <a:cs typeface="Calibri" panose="020F0502020204030204" pitchFamily="34" charset="0"/>
            </a:rPr>
            <a:t>Invoice management simplified to automate invoice reading and posting using Amazon Textract &amp; SAP</a:t>
          </a:r>
          <a:endParaRPr lang="de-DE" b="0" i="0" u="none"/>
        </a:p>
      </dgm:t>
    </dgm:pt>
    <dgm:pt modelId="{EDA7E2BD-9AA4-4AB4-8C29-4B2D9C10529D}" type="parTrans" cxnId="{39227ED4-470F-4095-9D54-A9548105725F}">
      <dgm:prSet/>
      <dgm:spPr/>
      <dgm:t>
        <a:bodyPr/>
        <a:lstStyle/>
        <a:p>
          <a:endParaRPr lang="de-DE"/>
        </a:p>
      </dgm:t>
    </dgm:pt>
    <dgm:pt modelId="{3BE11710-EE68-471C-87BD-F10B13D858D5}" type="sibTrans" cxnId="{39227ED4-470F-4095-9D54-A9548105725F}">
      <dgm:prSet/>
      <dgm:spPr/>
      <dgm:t>
        <a:bodyPr/>
        <a:lstStyle/>
        <a:p>
          <a:endParaRPr lang="de-DE"/>
        </a:p>
      </dgm:t>
    </dgm:pt>
    <dgm:pt modelId="{09EAE6FB-D00D-47FE-8CE5-8A586A38A875}">
      <dgm:prSet phldrT="[Text]"/>
      <dgm:spPr/>
      <dgm:t>
        <a:bodyPr/>
        <a:lstStyle/>
        <a:p>
          <a:r>
            <a:rPr lang="en-US">
              <a:solidFill>
                <a:schemeClr val="bg1"/>
              </a:solidFill>
              <a:latin typeface="Calibri" panose="020F0502020204030204" pitchFamily="34" charset="0"/>
              <a:ea typeface="Calibri" panose="020F0502020204030204" pitchFamily="34" charset="0"/>
              <a:cs typeface="Calibri" panose="020F0502020204030204" pitchFamily="34" charset="0"/>
            </a:rPr>
            <a:t>The tool uses company-specific accounting details and GenAI to provide fast posting proposals to accountants, while keeping the “human in the loop”</a:t>
          </a:r>
          <a:r>
            <a:rPr lang="en-US" b="0" i="0" u="none" strike="noStrike">
              <a:solidFill>
                <a:schemeClr val="bg1"/>
              </a:solidFill>
              <a:effectLst/>
              <a:latin typeface="Calibri" panose="020F0502020204030204" pitchFamily="34" charset="0"/>
              <a:ea typeface="Calibri" panose="020F0502020204030204" pitchFamily="34" charset="0"/>
              <a:cs typeface="Calibri" panose="020F0502020204030204" pitchFamily="34" charset="0"/>
            </a:rPr>
            <a:t> and update the ERP system automatically</a:t>
          </a:r>
          <a:endParaRPr lang="de-DE"/>
        </a:p>
      </dgm:t>
    </dgm:pt>
    <dgm:pt modelId="{9812E077-0DA5-430C-BA0C-053B4813D525}" type="parTrans" cxnId="{386E37DB-D193-422F-9EEC-85BDFEB7314D}">
      <dgm:prSet/>
      <dgm:spPr/>
      <dgm:t>
        <a:bodyPr/>
        <a:lstStyle/>
        <a:p>
          <a:endParaRPr lang="de-DE"/>
        </a:p>
      </dgm:t>
    </dgm:pt>
    <dgm:pt modelId="{81CA919C-2AE8-4914-8A58-BB023D9E6D42}" type="sibTrans" cxnId="{386E37DB-D193-422F-9EEC-85BDFEB7314D}">
      <dgm:prSet/>
      <dgm:spPr/>
      <dgm:t>
        <a:bodyPr/>
        <a:lstStyle/>
        <a:p>
          <a:endParaRPr lang="de-DE"/>
        </a:p>
      </dgm:t>
    </dgm:pt>
    <dgm:pt modelId="{A5C3DC10-BB16-4877-8137-447F0FF7ADB4}" type="pres">
      <dgm:prSet presAssocID="{F2758EA5-A1E6-4508-8270-44052DF2B5AC}" presName="Name0" presStyleCnt="0">
        <dgm:presLayoutVars>
          <dgm:dir/>
          <dgm:animLvl val="lvl"/>
          <dgm:resizeHandles val="exact"/>
        </dgm:presLayoutVars>
      </dgm:prSet>
      <dgm:spPr/>
    </dgm:pt>
    <dgm:pt modelId="{FDC8726B-2701-45BE-8895-D7325E4094A7}" type="pres">
      <dgm:prSet presAssocID="{10FD13EC-2129-424F-8CDE-8F1FD6B681A5}" presName="composite" presStyleCnt="0"/>
      <dgm:spPr/>
    </dgm:pt>
    <dgm:pt modelId="{F865631F-9991-4547-943E-9E86AE466AFC}" type="pres">
      <dgm:prSet presAssocID="{10FD13EC-2129-424F-8CDE-8F1FD6B681A5}" presName="parTx" presStyleLbl="alignNode1" presStyleIdx="0" presStyleCnt="4">
        <dgm:presLayoutVars>
          <dgm:chMax val="0"/>
          <dgm:chPref val="0"/>
          <dgm:bulletEnabled val="1"/>
        </dgm:presLayoutVars>
      </dgm:prSet>
      <dgm:spPr/>
    </dgm:pt>
    <dgm:pt modelId="{2659C366-439D-41D0-9005-D493CDCFB01A}" type="pres">
      <dgm:prSet presAssocID="{10FD13EC-2129-424F-8CDE-8F1FD6B681A5}" presName="desTx" presStyleLbl="alignAccFollowNode1" presStyleIdx="0" presStyleCnt="4">
        <dgm:presLayoutVars>
          <dgm:bulletEnabled val="1"/>
        </dgm:presLayoutVars>
      </dgm:prSet>
      <dgm:spPr/>
    </dgm:pt>
    <dgm:pt modelId="{B13996A5-6CC0-4627-B074-1F29D2863E66}" type="pres">
      <dgm:prSet presAssocID="{5AE7EF5A-A7CC-4088-8A47-F6E9A20D5F0B}" presName="space" presStyleCnt="0"/>
      <dgm:spPr/>
    </dgm:pt>
    <dgm:pt modelId="{FFABFFCD-601E-4A67-88EF-EF27DB12C692}" type="pres">
      <dgm:prSet presAssocID="{93173651-E962-456A-948C-E74D30316952}" presName="composite" presStyleCnt="0"/>
      <dgm:spPr/>
    </dgm:pt>
    <dgm:pt modelId="{1E16A240-BA3A-4CF7-B8AC-41CE996B6079}" type="pres">
      <dgm:prSet presAssocID="{93173651-E962-456A-948C-E74D30316952}" presName="parTx" presStyleLbl="alignNode1" presStyleIdx="1" presStyleCnt="4">
        <dgm:presLayoutVars>
          <dgm:chMax val="0"/>
          <dgm:chPref val="0"/>
          <dgm:bulletEnabled val="1"/>
        </dgm:presLayoutVars>
      </dgm:prSet>
      <dgm:spPr/>
    </dgm:pt>
    <dgm:pt modelId="{3CA43B24-89A0-4143-BB1C-60C86D8EFE82}" type="pres">
      <dgm:prSet presAssocID="{93173651-E962-456A-948C-E74D30316952}" presName="desTx" presStyleLbl="alignAccFollowNode1" presStyleIdx="1" presStyleCnt="4">
        <dgm:presLayoutVars>
          <dgm:bulletEnabled val="1"/>
        </dgm:presLayoutVars>
      </dgm:prSet>
      <dgm:spPr/>
    </dgm:pt>
    <dgm:pt modelId="{EDC28B53-5532-4DD5-A41C-3528F8FB7FA9}" type="pres">
      <dgm:prSet presAssocID="{C7563362-AC14-402F-BF0D-4AA494843901}" presName="space" presStyleCnt="0"/>
      <dgm:spPr/>
    </dgm:pt>
    <dgm:pt modelId="{93C692D2-2910-4D31-9F8A-7E466E8337D8}" type="pres">
      <dgm:prSet presAssocID="{364FF3ED-AFF3-4D1B-B749-48474F67E433}" presName="composite" presStyleCnt="0"/>
      <dgm:spPr/>
    </dgm:pt>
    <dgm:pt modelId="{892139F1-CAA1-4315-A111-2BE1A0F2D980}" type="pres">
      <dgm:prSet presAssocID="{364FF3ED-AFF3-4D1B-B749-48474F67E433}" presName="parTx" presStyleLbl="alignNode1" presStyleIdx="2" presStyleCnt="4">
        <dgm:presLayoutVars>
          <dgm:chMax val="0"/>
          <dgm:chPref val="0"/>
          <dgm:bulletEnabled val="1"/>
        </dgm:presLayoutVars>
      </dgm:prSet>
      <dgm:spPr/>
    </dgm:pt>
    <dgm:pt modelId="{1131A8DD-44C4-480B-8DDD-D901C58C8B04}" type="pres">
      <dgm:prSet presAssocID="{364FF3ED-AFF3-4D1B-B749-48474F67E433}" presName="desTx" presStyleLbl="alignAccFollowNode1" presStyleIdx="2" presStyleCnt="4">
        <dgm:presLayoutVars>
          <dgm:bulletEnabled val="1"/>
        </dgm:presLayoutVars>
      </dgm:prSet>
      <dgm:spPr/>
    </dgm:pt>
    <dgm:pt modelId="{4B865712-0E2F-4796-A916-821296555596}" type="pres">
      <dgm:prSet presAssocID="{535F874F-4DC6-49B9-AB25-446D5971487E}" presName="space" presStyleCnt="0"/>
      <dgm:spPr/>
    </dgm:pt>
    <dgm:pt modelId="{06F64FEC-937F-4D1E-8B50-8B25B353C47F}" type="pres">
      <dgm:prSet presAssocID="{A707533E-4B4F-4338-A6DA-3EB63543844E}" presName="composite" presStyleCnt="0"/>
      <dgm:spPr/>
    </dgm:pt>
    <dgm:pt modelId="{5D458E2B-CA3D-4E54-A470-70B1D044418E}" type="pres">
      <dgm:prSet presAssocID="{A707533E-4B4F-4338-A6DA-3EB63543844E}" presName="parTx" presStyleLbl="alignNode1" presStyleIdx="3" presStyleCnt="4">
        <dgm:presLayoutVars>
          <dgm:chMax val="0"/>
          <dgm:chPref val="0"/>
          <dgm:bulletEnabled val="1"/>
        </dgm:presLayoutVars>
      </dgm:prSet>
      <dgm:spPr/>
    </dgm:pt>
    <dgm:pt modelId="{15DAA4CB-8D97-422F-A5C1-1E7FCF4AAAAF}" type="pres">
      <dgm:prSet presAssocID="{A707533E-4B4F-4338-A6DA-3EB63543844E}" presName="desTx" presStyleLbl="alignAccFollowNode1" presStyleIdx="3" presStyleCnt="4">
        <dgm:presLayoutVars>
          <dgm:bulletEnabled val="1"/>
        </dgm:presLayoutVars>
      </dgm:prSet>
      <dgm:spPr/>
    </dgm:pt>
  </dgm:ptLst>
  <dgm:cxnLst>
    <dgm:cxn modelId="{36B91A02-EAF3-4748-B118-9FCCE14264D0}" srcId="{364FF3ED-AFF3-4D1B-B749-48474F67E433}" destId="{27A59A8C-0C82-4023-AC6D-7B7896BC8898}" srcOrd="0" destOrd="0" parTransId="{1815025E-7E68-4A49-B317-EF1886E3F73D}" sibTransId="{B8370BE7-78F7-4017-B5B6-5B65B8F6430A}"/>
    <dgm:cxn modelId="{5172E408-9DA4-4E1B-9D18-F8C208DFC4FE}" type="presOf" srcId="{09EAE6FB-D00D-47FE-8CE5-8A586A38A875}" destId="{2659C366-439D-41D0-9005-D493CDCFB01A}" srcOrd="0" destOrd="0" presId="urn:microsoft.com/office/officeart/2005/8/layout/hList1"/>
    <dgm:cxn modelId="{A4578B1D-ED36-4F7A-B43E-14907E44B4F4}" srcId="{F2758EA5-A1E6-4508-8270-44052DF2B5AC}" destId="{364FF3ED-AFF3-4D1B-B749-48474F67E433}" srcOrd="2" destOrd="0" parTransId="{F84076AA-7CA9-4999-9099-250843E08937}" sibTransId="{535F874F-4DC6-49B9-AB25-446D5971487E}"/>
    <dgm:cxn modelId="{A8B36B2A-F145-4838-9F12-5FAE6D664B02}" type="presOf" srcId="{C1854E45-BDC9-4931-888F-E15D2F2AD98B}" destId="{15DAA4CB-8D97-422F-A5C1-1E7FCF4AAAAF}" srcOrd="0" destOrd="0" presId="urn:microsoft.com/office/officeart/2005/8/layout/hList1"/>
    <dgm:cxn modelId="{D23FEF2B-E289-4417-93F8-ED701A04FB5A}" type="presOf" srcId="{A707533E-4B4F-4338-A6DA-3EB63543844E}" destId="{5D458E2B-CA3D-4E54-A470-70B1D044418E}" srcOrd="0" destOrd="0" presId="urn:microsoft.com/office/officeart/2005/8/layout/hList1"/>
    <dgm:cxn modelId="{EA48A22C-D66F-4F34-888F-E404F798CC05}" srcId="{F2758EA5-A1E6-4508-8270-44052DF2B5AC}" destId="{10FD13EC-2129-424F-8CDE-8F1FD6B681A5}" srcOrd="0" destOrd="0" parTransId="{C93C1471-4603-42B4-A366-D0011DB5B149}" sibTransId="{5AE7EF5A-A7CC-4088-8A47-F6E9A20D5F0B}"/>
    <dgm:cxn modelId="{6A9A4D30-6553-4186-81F8-130C929F144E}" type="presOf" srcId="{27A59A8C-0C82-4023-AC6D-7B7896BC8898}" destId="{1131A8DD-44C4-480B-8DDD-D901C58C8B04}" srcOrd="0" destOrd="0" presId="urn:microsoft.com/office/officeart/2005/8/layout/hList1"/>
    <dgm:cxn modelId="{3CFF4860-610B-4925-974F-FC99357E0E51}" type="presOf" srcId="{364FF3ED-AFF3-4D1B-B749-48474F67E433}" destId="{892139F1-CAA1-4315-A111-2BE1A0F2D980}" srcOrd="0" destOrd="0" presId="urn:microsoft.com/office/officeart/2005/8/layout/hList1"/>
    <dgm:cxn modelId="{C37AC772-002B-4497-9903-D5963A096975}" srcId="{F2758EA5-A1E6-4508-8270-44052DF2B5AC}" destId="{A707533E-4B4F-4338-A6DA-3EB63543844E}" srcOrd="3" destOrd="0" parTransId="{2A4C6DDD-0CB5-440A-995E-2624D1161737}" sibTransId="{6D2B97FC-97F8-41EC-9155-9C8692F81112}"/>
    <dgm:cxn modelId="{2712BC5A-C174-4F8B-8228-E812B6A34B01}" type="presOf" srcId="{10FD13EC-2129-424F-8CDE-8F1FD6B681A5}" destId="{F865631F-9991-4547-943E-9E86AE466AFC}" srcOrd="0" destOrd="0" presId="urn:microsoft.com/office/officeart/2005/8/layout/hList1"/>
    <dgm:cxn modelId="{8548D0C3-11FD-4A60-BEE9-5361EF405EA9}" srcId="{F2758EA5-A1E6-4508-8270-44052DF2B5AC}" destId="{93173651-E962-456A-948C-E74D30316952}" srcOrd="1" destOrd="0" parTransId="{532B097C-A321-4CB0-92C7-A449039751D0}" sibTransId="{C7563362-AC14-402F-BF0D-4AA494843901}"/>
    <dgm:cxn modelId="{4078A9C6-812A-4A7D-BD99-498F7FE46EFD}" type="presOf" srcId="{F2758EA5-A1E6-4508-8270-44052DF2B5AC}" destId="{A5C3DC10-BB16-4877-8137-447F0FF7ADB4}" srcOrd="0" destOrd="0" presId="urn:microsoft.com/office/officeart/2005/8/layout/hList1"/>
    <dgm:cxn modelId="{F5F536CC-9609-4560-8558-0205AA7BCC9C}" srcId="{A707533E-4B4F-4338-A6DA-3EB63543844E}" destId="{C1854E45-BDC9-4931-888F-E15D2F2AD98B}" srcOrd="0" destOrd="0" parTransId="{A0E887F8-D1EE-457C-AA88-4A165A9AA6D7}" sibTransId="{7E35214D-B814-4DF9-A0EA-6C84FDD524AE}"/>
    <dgm:cxn modelId="{D599D2CE-3E03-4EA0-9046-4B84672E6DFB}" type="presOf" srcId="{93173651-E962-456A-948C-E74D30316952}" destId="{1E16A240-BA3A-4CF7-B8AC-41CE996B6079}" srcOrd="0" destOrd="0" presId="urn:microsoft.com/office/officeart/2005/8/layout/hList1"/>
    <dgm:cxn modelId="{39227ED4-470F-4095-9D54-A9548105725F}" srcId="{93173651-E962-456A-948C-E74D30316952}" destId="{991F2DD8-8626-443B-8E7A-A656DE542B71}" srcOrd="0" destOrd="0" parTransId="{EDA7E2BD-9AA4-4AB4-8C29-4B2D9C10529D}" sibTransId="{3BE11710-EE68-471C-87BD-F10B13D858D5}"/>
    <dgm:cxn modelId="{386E37DB-D193-422F-9EEC-85BDFEB7314D}" srcId="{10FD13EC-2129-424F-8CDE-8F1FD6B681A5}" destId="{09EAE6FB-D00D-47FE-8CE5-8A586A38A875}" srcOrd="0" destOrd="0" parTransId="{9812E077-0DA5-430C-BA0C-053B4813D525}" sibTransId="{81CA919C-2AE8-4914-8A58-BB023D9E6D42}"/>
    <dgm:cxn modelId="{09E346E0-07BD-4CA4-A93C-7834A678473A}" type="presOf" srcId="{991F2DD8-8626-443B-8E7A-A656DE542B71}" destId="{3CA43B24-89A0-4143-BB1C-60C86D8EFE82}" srcOrd="0" destOrd="0" presId="urn:microsoft.com/office/officeart/2005/8/layout/hList1"/>
    <dgm:cxn modelId="{AD5B7FA1-C7D3-4F56-8A05-650F2A3049C4}" type="presParOf" srcId="{A5C3DC10-BB16-4877-8137-447F0FF7ADB4}" destId="{FDC8726B-2701-45BE-8895-D7325E4094A7}" srcOrd="0" destOrd="0" presId="urn:microsoft.com/office/officeart/2005/8/layout/hList1"/>
    <dgm:cxn modelId="{67FAE06C-AB59-40E3-B301-90FD2CEE4C64}" type="presParOf" srcId="{FDC8726B-2701-45BE-8895-D7325E4094A7}" destId="{F865631F-9991-4547-943E-9E86AE466AFC}" srcOrd="0" destOrd="0" presId="urn:microsoft.com/office/officeart/2005/8/layout/hList1"/>
    <dgm:cxn modelId="{C79FB0C7-F865-4B79-873A-70BDDE1FF6F1}" type="presParOf" srcId="{FDC8726B-2701-45BE-8895-D7325E4094A7}" destId="{2659C366-439D-41D0-9005-D493CDCFB01A}" srcOrd="1" destOrd="0" presId="urn:microsoft.com/office/officeart/2005/8/layout/hList1"/>
    <dgm:cxn modelId="{2B736DE8-EFA6-4AC1-BFE5-21C3A3A08868}" type="presParOf" srcId="{A5C3DC10-BB16-4877-8137-447F0FF7ADB4}" destId="{B13996A5-6CC0-4627-B074-1F29D2863E66}" srcOrd="1" destOrd="0" presId="urn:microsoft.com/office/officeart/2005/8/layout/hList1"/>
    <dgm:cxn modelId="{E5B74423-81E7-4881-A6B4-43C5080BB1C2}" type="presParOf" srcId="{A5C3DC10-BB16-4877-8137-447F0FF7ADB4}" destId="{FFABFFCD-601E-4A67-88EF-EF27DB12C692}" srcOrd="2" destOrd="0" presId="urn:microsoft.com/office/officeart/2005/8/layout/hList1"/>
    <dgm:cxn modelId="{ECCFC3C3-2AA7-4660-AA54-0F256B4F122E}" type="presParOf" srcId="{FFABFFCD-601E-4A67-88EF-EF27DB12C692}" destId="{1E16A240-BA3A-4CF7-B8AC-41CE996B6079}" srcOrd="0" destOrd="0" presId="urn:microsoft.com/office/officeart/2005/8/layout/hList1"/>
    <dgm:cxn modelId="{809D5230-4FB9-4BEA-B702-568DBB226B21}" type="presParOf" srcId="{FFABFFCD-601E-4A67-88EF-EF27DB12C692}" destId="{3CA43B24-89A0-4143-BB1C-60C86D8EFE82}" srcOrd="1" destOrd="0" presId="urn:microsoft.com/office/officeart/2005/8/layout/hList1"/>
    <dgm:cxn modelId="{842E61B0-B541-42CA-AD23-3FDE5D882153}" type="presParOf" srcId="{A5C3DC10-BB16-4877-8137-447F0FF7ADB4}" destId="{EDC28B53-5532-4DD5-A41C-3528F8FB7FA9}" srcOrd="3" destOrd="0" presId="urn:microsoft.com/office/officeart/2005/8/layout/hList1"/>
    <dgm:cxn modelId="{1F42DD02-2B9B-4E80-89D4-87F487E78E43}" type="presParOf" srcId="{A5C3DC10-BB16-4877-8137-447F0FF7ADB4}" destId="{93C692D2-2910-4D31-9F8A-7E466E8337D8}" srcOrd="4" destOrd="0" presId="urn:microsoft.com/office/officeart/2005/8/layout/hList1"/>
    <dgm:cxn modelId="{803EA8D7-64D2-4489-A453-E238C5B72C7D}" type="presParOf" srcId="{93C692D2-2910-4D31-9F8A-7E466E8337D8}" destId="{892139F1-CAA1-4315-A111-2BE1A0F2D980}" srcOrd="0" destOrd="0" presId="urn:microsoft.com/office/officeart/2005/8/layout/hList1"/>
    <dgm:cxn modelId="{05B273C2-9A1D-449C-B2EE-187216B5BABD}" type="presParOf" srcId="{93C692D2-2910-4D31-9F8A-7E466E8337D8}" destId="{1131A8DD-44C4-480B-8DDD-D901C58C8B04}" srcOrd="1" destOrd="0" presId="urn:microsoft.com/office/officeart/2005/8/layout/hList1"/>
    <dgm:cxn modelId="{E9AAD9A8-7BCE-4C9A-BFB3-65B384306D5E}" type="presParOf" srcId="{A5C3DC10-BB16-4877-8137-447F0FF7ADB4}" destId="{4B865712-0E2F-4796-A916-821296555596}" srcOrd="5" destOrd="0" presId="urn:microsoft.com/office/officeart/2005/8/layout/hList1"/>
    <dgm:cxn modelId="{3B68438E-98C9-4ECA-9B51-08500CD2A5EE}" type="presParOf" srcId="{A5C3DC10-BB16-4877-8137-447F0FF7ADB4}" destId="{06F64FEC-937F-4D1E-8B50-8B25B353C47F}" srcOrd="6" destOrd="0" presId="urn:microsoft.com/office/officeart/2005/8/layout/hList1"/>
    <dgm:cxn modelId="{1EFCB10C-8357-4AC7-BC1E-BC3407933A0F}" type="presParOf" srcId="{06F64FEC-937F-4D1E-8B50-8B25B353C47F}" destId="{5D458E2B-CA3D-4E54-A470-70B1D044418E}" srcOrd="0" destOrd="0" presId="urn:microsoft.com/office/officeart/2005/8/layout/hList1"/>
    <dgm:cxn modelId="{1F9D6FB2-84DF-47E9-9D7E-7F0DAA92524C}" type="presParOf" srcId="{06F64FEC-937F-4D1E-8B50-8B25B353C47F}" destId="{15DAA4CB-8D97-422F-A5C1-1E7FCF4AAAAF}" srcOrd="1" destOrd="0" presId="urn:microsoft.com/office/officeart/2005/8/layout/hList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D7EC0A-C0EA-4A5B-B4B2-13FB3A8C6A64}">
      <dsp:nvSpPr>
        <dsp:cNvPr id="0" name=""/>
        <dsp:cNvSpPr/>
      </dsp:nvSpPr>
      <dsp:spPr>
        <a:xfrm>
          <a:off x="3055" y="63313"/>
          <a:ext cx="1837531" cy="44295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0" i="0" u="none" kern="1200"/>
            <a:t>Spare Parts Recognition</a:t>
          </a:r>
          <a:endParaRPr lang="de-DE" sz="1200" b="0" i="0" u="none" kern="1200"/>
        </a:p>
      </dsp:txBody>
      <dsp:txXfrm>
        <a:off x="3055" y="63313"/>
        <a:ext cx="1837531" cy="442953"/>
      </dsp:txXfrm>
    </dsp:sp>
    <dsp:sp modelId="{3A24510C-BC83-4D55-AF03-E1A48D8016B5}">
      <dsp:nvSpPr>
        <dsp:cNvPr id="0" name=""/>
        <dsp:cNvSpPr/>
      </dsp:nvSpPr>
      <dsp:spPr>
        <a:xfrm>
          <a:off x="3055" y="506266"/>
          <a:ext cx="1837531" cy="167772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solidFill>
                <a:schemeClr val="bg1"/>
              </a:solidFill>
              <a:latin typeface="Calibri" panose="020F0502020204030204" pitchFamily="34" charset="0"/>
              <a:ea typeface="Calibri" panose="020F0502020204030204" pitchFamily="34" charset="0"/>
              <a:cs typeface="Calibri" panose="020F0502020204030204" pitchFamily="34" charset="0"/>
            </a:rPr>
            <a:t>Advance image recognition to register and identify personal &amp; spare parts to optimize service processes</a:t>
          </a:r>
          <a:endParaRPr lang="de-DE" sz="1200" b="0" i="0" u="none" kern="1200"/>
        </a:p>
      </dsp:txBody>
      <dsp:txXfrm>
        <a:off x="3055" y="506266"/>
        <a:ext cx="1837531" cy="1677720"/>
      </dsp:txXfrm>
    </dsp:sp>
    <dsp:sp modelId="{401D7F60-AB04-46AA-BA3C-1A06971990AF}">
      <dsp:nvSpPr>
        <dsp:cNvPr id="0" name=""/>
        <dsp:cNvSpPr/>
      </dsp:nvSpPr>
      <dsp:spPr>
        <a:xfrm>
          <a:off x="2097841" y="63313"/>
          <a:ext cx="1837531" cy="44295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0" i="0" u="none" kern="1200"/>
            <a:t>Business Comment Aggregation</a:t>
          </a:r>
          <a:endParaRPr lang="de-DE" sz="1200" b="0" i="0" u="none" kern="1200"/>
        </a:p>
      </dsp:txBody>
      <dsp:txXfrm>
        <a:off x="2097841" y="63313"/>
        <a:ext cx="1837531" cy="442953"/>
      </dsp:txXfrm>
    </dsp:sp>
    <dsp:sp modelId="{C2F7E090-C658-4CF6-9471-9CEA41275E0B}">
      <dsp:nvSpPr>
        <dsp:cNvPr id="0" name=""/>
        <dsp:cNvSpPr/>
      </dsp:nvSpPr>
      <dsp:spPr>
        <a:xfrm>
          <a:off x="2097841" y="506266"/>
          <a:ext cx="1837531" cy="167772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solidFill>
                <a:schemeClr val="bg1"/>
              </a:solidFill>
              <a:latin typeface="Calibri" panose="020F0502020204030204" pitchFamily="34" charset="0"/>
              <a:ea typeface="Calibri" panose="020F0502020204030204" pitchFamily="34" charset="0"/>
              <a:cs typeface="Calibri" panose="020F0502020204030204" pitchFamily="34" charset="0"/>
            </a:rPr>
            <a:t>Reading comments from SAC data models and provide a structured summary, highlight important facts and extract action points</a:t>
          </a:r>
          <a:endParaRPr lang="de-DE" sz="1200" b="0" i="0" u="none" kern="1200"/>
        </a:p>
      </dsp:txBody>
      <dsp:txXfrm>
        <a:off x="2097841" y="506266"/>
        <a:ext cx="1837531" cy="1677720"/>
      </dsp:txXfrm>
    </dsp:sp>
    <dsp:sp modelId="{8EBC2FEF-51D4-48B4-8968-5B7F9FB75FF0}">
      <dsp:nvSpPr>
        <dsp:cNvPr id="0" name=""/>
        <dsp:cNvSpPr/>
      </dsp:nvSpPr>
      <dsp:spPr>
        <a:xfrm>
          <a:off x="4192627" y="63313"/>
          <a:ext cx="1837531" cy="44295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GB" sz="1200" b="0" i="0" u="none" kern="1200" err="1"/>
            <a:t>SkillBridge</a:t>
          </a:r>
          <a:endParaRPr lang="de-DE" sz="1200" b="0" i="0" u="none" kern="1200"/>
        </a:p>
      </dsp:txBody>
      <dsp:txXfrm>
        <a:off x="4192627" y="63313"/>
        <a:ext cx="1837531" cy="442953"/>
      </dsp:txXfrm>
    </dsp:sp>
    <dsp:sp modelId="{01F73BE8-8609-4389-A7F9-B24738640435}">
      <dsp:nvSpPr>
        <dsp:cNvPr id="0" name=""/>
        <dsp:cNvSpPr/>
      </dsp:nvSpPr>
      <dsp:spPr>
        <a:xfrm>
          <a:off x="4192627" y="506266"/>
          <a:ext cx="1837531" cy="167772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GB" sz="1200" kern="1200">
              <a:solidFill>
                <a:schemeClr val="bg1"/>
              </a:solidFill>
              <a:latin typeface="Calibri" panose="020F0502020204030204" pitchFamily="34" charset="0"/>
              <a:ea typeface="Calibri" panose="020F0502020204030204" pitchFamily="34" charset="0"/>
              <a:cs typeface="Calibri" panose="020F0502020204030204" pitchFamily="34" charset="0"/>
            </a:rPr>
            <a:t>Perform skill gap analysis and recommendations to evaluate skills employees currently possess, the skills required for their roles and recommendations on how to bridge the gap based on company’s data</a:t>
          </a:r>
          <a:endParaRPr lang="de-DE" sz="1200" b="0" i="0" u="none" kern="1200"/>
        </a:p>
      </dsp:txBody>
      <dsp:txXfrm>
        <a:off x="4192627" y="506266"/>
        <a:ext cx="1837531" cy="1677720"/>
      </dsp:txXfrm>
    </dsp:sp>
    <dsp:sp modelId="{8B62B250-E6E6-4881-98A1-23769C5698EB}">
      <dsp:nvSpPr>
        <dsp:cNvPr id="0" name=""/>
        <dsp:cNvSpPr/>
      </dsp:nvSpPr>
      <dsp:spPr>
        <a:xfrm>
          <a:off x="6287412" y="63313"/>
          <a:ext cx="1837531" cy="44295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de-DE" sz="1200" b="0" i="0" u="none" kern="1200"/>
            <a:t>XXX</a:t>
          </a:r>
        </a:p>
      </dsp:txBody>
      <dsp:txXfrm>
        <a:off x="6287412" y="63313"/>
        <a:ext cx="1837531" cy="442953"/>
      </dsp:txXfrm>
    </dsp:sp>
    <dsp:sp modelId="{7A34F8BD-6D4B-4F92-8276-F224536A5C55}">
      <dsp:nvSpPr>
        <dsp:cNvPr id="0" name=""/>
        <dsp:cNvSpPr/>
      </dsp:nvSpPr>
      <dsp:spPr>
        <a:xfrm>
          <a:off x="6287412" y="506266"/>
          <a:ext cx="1837531" cy="167772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65631F-9991-4547-943E-9E86AE466AFC}">
      <dsp:nvSpPr>
        <dsp:cNvPr id="0" name=""/>
        <dsp:cNvSpPr/>
      </dsp:nvSpPr>
      <dsp:spPr>
        <a:xfrm>
          <a:off x="3333" y="6737"/>
          <a:ext cx="2004664" cy="44540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0" i="0" u="none" kern="1200"/>
            <a:t>Automated Accounting Advisor</a:t>
          </a:r>
          <a:endParaRPr lang="de-DE" sz="1200" kern="1200"/>
        </a:p>
      </dsp:txBody>
      <dsp:txXfrm>
        <a:off x="3333" y="6737"/>
        <a:ext cx="2004664" cy="445408"/>
      </dsp:txXfrm>
    </dsp:sp>
    <dsp:sp modelId="{2659C366-439D-41D0-9005-D493CDCFB01A}">
      <dsp:nvSpPr>
        <dsp:cNvPr id="0" name=""/>
        <dsp:cNvSpPr/>
      </dsp:nvSpPr>
      <dsp:spPr>
        <a:xfrm>
          <a:off x="3333" y="452145"/>
          <a:ext cx="2004664" cy="151524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solidFill>
                <a:schemeClr val="bg1"/>
              </a:solidFill>
              <a:latin typeface="Calibri" panose="020F0502020204030204" pitchFamily="34" charset="0"/>
              <a:ea typeface="Calibri" panose="020F0502020204030204" pitchFamily="34" charset="0"/>
              <a:cs typeface="Calibri" panose="020F0502020204030204" pitchFamily="34" charset="0"/>
            </a:rPr>
            <a:t>The tool uses company-specific accounting details and GenAI to provide fast posting proposals to accountants, while keeping the “human in the loop”</a:t>
          </a:r>
          <a:r>
            <a:rPr lang="en-US" sz="1200" b="0" i="0" u="none" strike="noStrike" kern="1200">
              <a:solidFill>
                <a:schemeClr val="bg1"/>
              </a:solidFill>
              <a:effectLst/>
              <a:latin typeface="Calibri" panose="020F0502020204030204" pitchFamily="34" charset="0"/>
              <a:ea typeface="Calibri" panose="020F0502020204030204" pitchFamily="34" charset="0"/>
              <a:cs typeface="Calibri" panose="020F0502020204030204" pitchFamily="34" charset="0"/>
            </a:rPr>
            <a:t> and update the ERP system automatically</a:t>
          </a:r>
          <a:endParaRPr lang="de-DE" sz="1200" kern="1200"/>
        </a:p>
      </dsp:txBody>
      <dsp:txXfrm>
        <a:off x="3333" y="452145"/>
        <a:ext cx="2004664" cy="1515240"/>
      </dsp:txXfrm>
    </dsp:sp>
    <dsp:sp modelId="{1E16A240-BA3A-4CF7-B8AC-41CE996B6079}">
      <dsp:nvSpPr>
        <dsp:cNvPr id="0" name=""/>
        <dsp:cNvSpPr/>
      </dsp:nvSpPr>
      <dsp:spPr>
        <a:xfrm>
          <a:off x="2288651" y="6737"/>
          <a:ext cx="2004664" cy="44540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0" i="0" u="none" kern="1200"/>
            <a:t>Invoice Posting Assistant</a:t>
          </a:r>
          <a:endParaRPr lang="de-DE" sz="1200" b="0" i="0" u="none" kern="1200"/>
        </a:p>
      </dsp:txBody>
      <dsp:txXfrm>
        <a:off x="2288651" y="6737"/>
        <a:ext cx="2004664" cy="445408"/>
      </dsp:txXfrm>
    </dsp:sp>
    <dsp:sp modelId="{3CA43B24-89A0-4143-BB1C-60C86D8EFE82}">
      <dsp:nvSpPr>
        <dsp:cNvPr id="0" name=""/>
        <dsp:cNvSpPr/>
      </dsp:nvSpPr>
      <dsp:spPr>
        <a:xfrm>
          <a:off x="2288651" y="452145"/>
          <a:ext cx="2004664" cy="151524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solidFill>
                <a:schemeClr val="bg1"/>
              </a:solidFill>
              <a:latin typeface="Calibri" panose="020F0502020204030204" pitchFamily="34" charset="0"/>
              <a:ea typeface="Calibri" panose="020F0502020204030204" pitchFamily="34" charset="0"/>
              <a:cs typeface="Calibri" panose="020F0502020204030204" pitchFamily="34" charset="0"/>
            </a:rPr>
            <a:t>Invoice management simplified to automate invoice reading and posting using Amazon Textract &amp; SAP</a:t>
          </a:r>
          <a:endParaRPr lang="de-DE" sz="1200" b="0" i="0" u="none" kern="1200"/>
        </a:p>
      </dsp:txBody>
      <dsp:txXfrm>
        <a:off x="2288651" y="452145"/>
        <a:ext cx="2004664" cy="1515240"/>
      </dsp:txXfrm>
    </dsp:sp>
    <dsp:sp modelId="{892139F1-CAA1-4315-A111-2BE1A0F2D980}">
      <dsp:nvSpPr>
        <dsp:cNvPr id="0" name=""/>
        <dsp:cNvSpPr/>
      </dsp:nvSpPr>
      <dsp:spPr>
        <a:xfrm>
          <a:off x="4573970" y="6737"/>
          <a:ext cx="2004664" cy="44540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0" i="0" u="none" kern="1200"/>
            <a:t>Autonomous Data Validation</a:t>
          </a:r>
          <a:endParaRPr lang="de-DE" sz="1200" b="0" i="0" u="none" kern="1200"/>
        </a:p>
      </dsp:txBody>
      <dsp:txXfrm>
        <a:off x="4573970" y="6737"/>
        <a:ext cx="2004664" cy="445408"/>
      </dsp:txXfrm>
    </dsp:sp>
    <dsp:sp modelId="{1131A8DD-44C4-480B-8DDD-D901C58C8B04}">
      <dsp:nvSpPr>
        <dsp:cNvPr id="0" name=""/>
        <dsp:cNvSpPr/>
      </dsp:nvSpPr>
      <dsp:spPr>
        <a:xfrm>
          <a:off x="4573970" y="452145"/>
          <a:ext cx="2004664" cy="151524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solidFill>
                <a:schemeClr val="bg1"/>
              </a:solidFill>
              <a:latin typeface="Calibri" panose="020F0502020204030204" pitchFamily="34" charset="0"/>
              <a:ea typeface="Calibri" panose="020F0502020204030204" pitchFamily="34" charset="0"/>
              <a:cs typeface="Calibri" panose="020F0502020204030204" pitchFamily="34" charset="0"/>
            </a:rPr>
            <a:t>This tool accelerates data validation by using GenAI technology and help to find errors, understand big data sets and support decision making without the need of advanced technology knowledge</a:t>
          </a:r>
          <a:endParaRPr lang="de-DE" sz="1200" b="0" i="0" u="none" kern="1200"/>
        </a:p>
      </dsp:txBody>
      <dsp:txXfrm>
        <a:off x="4573970" y="452145"/>
        <a:ext cx="2004664" cy="1515240"/>
      </dsp:txXfrm>
    </dsp:sp>
    <dsp:sp modelId="{5D458E2B-CA3D-4E54-A470-70B1D044418E}">
      <dsp:nvSpPr>
        <dsp:cNvPr id="0" name=""/>
        <dsp:cNvSpPr/>
      </dsp:nvSpPr>
      <dsp:spPr>
        <a:xfrm>
          <a:off x="6859288" y="6737"/>
          <a:ext cx="2004664" cy="44540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0" i="0" u="none" kern="1200"/>
            <a:t>Ask your Data</a:t>
          </a:r>
          <a:endParaRPr lang="de-DE" sz="1200" b="0" i="0" u="none" kern="1200"/>
        </a:p>
      </dsp:txBody>
      <dsp:txXfrm>
        <a:off x="6859288" y="6737"/>
        <a:ext cx="2004664" cy="445408"/>
      </dsp:txXfrm>
    </dsp:sp>
    <dsp:sp modelId="{15DAA4CB-8D97-422F-A5C1-1E7FCF4AAAAF}">
      <dsp:nvSpPr>
        <dsp:cNvPr id="0" name=""/>
        <dsp:cNvSpPr/>
      </dsp:nvSpPr>
      <dsp:spPr>
        <a:xfrm>
          <a:off x="6859288" y="452145"/>
          <a:ext cx="2004664" cy="151524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solidFill>
                <a:schemeClr val="bg1"/>
              </a:solidFill>
              <a:latin typeface="Calibri" panose="020F0502020204030204" pitchFamily="34" charset="0"/>
              <a:ea typeface="Calibri" panose="020F0502020204030204" pitchFamily="34" charset="0"/>
              <a:cs typeface="Calibri" panose="020F0502020204030204" pitchFamily="34" charset="0"/>
            </a:rPr>
            <a:t>User friendly chat interface, which translates natural language into SQL statement and executes it to display the results</a:t>
          </a:r>
          <a:endParaRPr lang="de-DE" sz="1200" b="0" i="0" u="none" kern="1200"/>
        </a:p>
      </dsp:txBody>
      <dsp:txXfrm>
        <a:off x="6859288" y="452145"/>
        <a:ext cx="2004664" cy="15152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5/2025</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5/2025</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90DFC3-EFBB-2079-74B9-9EF627DD0C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F7C73-217A-595B-3AD4-831DCF316F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CAB4E0-D80B-03DE-0BE5-119746B6324B}"/>
              </a:ext>
            </a:extLst>
          </p:cNvPr>
          <p:cNvSpPr>
            <a:spLocks noGrp="1"/>
          </p:cNvSpPr>
          <p:nvPr>
            <p:ph type="body" idx="1"/>
          </p:nvPr>
        </p:nvSpPr>
        <p:spPr/>
        <p:txBody>
          <a:bodyPr/>
          <a:lstStyle/>
          <a:p>
            <a:r>
              <a:rPr lang="de-DE" err="1"/>
              <a:t>Hourly</a:t>
            </a:r>
            <a:r>
              <a:rPr lang="de-DE"/>
              <a:t> rate </a:t>
            </a:r>
          </a:p>
          <a:p>
            <a:endParaRPr lang="de-DE"/>
          </a:p>
        </p:txBody>
      </p:sp>
      <p:sp>
        <p:nvSpPr>
          <p:cNvPr id="4" name="Slide Number Placeholder 3">
            <a:extLst>
              <a:ext uri="{FF2B5EF4-FFF2-40B4-BE49-F238E27FC236}">
                <a16:creationId xmlns:a16="http://schemas.microsoft.com/office/drawing/2014/main" id="{E4972483-B40D-05FD-99C9-E1ED4EDE096E}"/>
              </a:ext>
            </a:extLst>
          </p:cNvPr>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2274223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5E8B94-553F-187B-6B4C-F3B3C67EA9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A85D0D-7EFF-C6E6-8398-24182F3F9E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C1DADD-7900-6A00-AF67-5650AF05F726}"/>
              </a:ext>
            </a:extLst>
          </p:cNvPr>
          <p:cNvSpPr>
            <a:spLocks noGrp="1"/>
          </p:cNvSpPr>
          <p:nvPr>
            <p:ph type="body" idx="1"/>
          </p:nvPr>
        </p:nvSpPr>
        <p:spPr/>
        <p:txBody>
          <a:bodyPr/>
          <a:lstStyle/>
          <a:p>
            <a:r>
              <a:rPr lang="de-DE" err="1"/>
              <a:t>Hourly</a:t>
            </a:r>
            <a:r>
              <a:rPr lang="de-DE"/>
              <a:t> rate </a:t>
            </a:r>
          </a:p>
          <a:p>
            <a:endParaRPr lang="de-DE"/>
          </a:p>
        </p:txBody>
      </p:sp>
      <p:sp>
        <p:nvSpPr>
          <p:cNvPr id="4" name="Slide Number Placeholder 3">
            <a:extLst>
              <a:ext uri="{FF2B5EF4-FFF2-40B4-BE49-F238E27FC236}">
                <a16:creationId xmlns:a16="http://schemas.microsoft.com/office/drawing/2014/main" id="{9AAE9DE0-9EDC-02F0-2494-A32FFAC16C26}"/>
              </a:ext>
            </a:extLst>
          </p:cNvPr>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23342677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2310415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0938F-B3E8-4A33-4FDB-FDBAD12AA4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FEF3BE-38A0-206B-F432-9130C6D287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650283-D200-1019-CC4B-107FED970C75}"/>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3E9BB638-04AF-E358-E685-CC6753DE2FE1}"/>
              </a:ext>
            </a:extLst>
          </p:cNvPr>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79473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err="1"/>
              <a:t>Have</a:t>
            </a:r>
            <a:r>
              <a:rPr lang="de-DE"/>
              <a:t> </a:t>
            </a:r>
            <a:r>
              <a:rPr lang="de-DE" err="1"/>
              <a:t>to</a:t>
            </a:r>
            <a:r>
              <a:rPr lang="de-DE"/>
              <a:t> </a:t>
            </a:r>
            <a:r>
              <a:rPr lang="de-DE" err="1"/>
              <a:t>be</a:t>
            </a:r>
            <a:r>
              <a:rPr lang="de-DE"/>
              <a:t> </a:t>
            </a:r>
            <a:r>
              <a:rPr lang="de-DE" err="1"/>
              <a:t>fiori</a:t>
            </a:r>
            <a:r>
              <a:rPr lang="de-DE"/>
              <a:t> </a:t>
            </a:r>
            <a:r>
              <a:rPr lang="de-DE" err="1"/>
              <a:t>launchpad</a:t>
            </a:r>
            <a:r>
              <a:rPr lang="de-DE"/>
              <a:t>,</a:t>
            </a:r>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1520823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628144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1 Stream 2</a:t>
            </a:r>
          </a:p>
          <a:p>
            <a:r>
              <a:rPr lang="de-DE"/>
              <a:t>2 Stream 2</a:t>
            </a:r>
          </a:p>
          <a:p>
            <a:r>
              <a:rPr lang="de-DE"/>
              <a:t>3a Baker mit Evgeni</a:t>
            </a:r>
          </a:p>
          <a:p>
            <a:r>
              <a:rPr lang="de-DE"/>
              <a:t>3b Stream 2 </a:t>
            </a:r>
          </a:p>
          <a:p>
            <a:r>
              <a:rPr lang="de-DE"/>
              <a:t>4 </a:t>
            </a:r>
            <a:r>
              <a:rPr lang="de-DE" err="1"/>
              <a:t>Agetns</a:t>
            </a:r>
            <a:r>
              <a:rPr lang="de-DE"/>
              <a:t> Cora </a:t>
            </a:r>
            <a:r>
              <a:rPr lang="de-DE" err="1"/>
              <a:t>darstellung</a:t>
            </a:r>
            <a:r>
              <a:rPr lang="de-DE"/>
              <a:t> mit den Wegen </a:t>
            </a:r>
            <a:r>
              <a:rPr lang="de-DE">
                <a:sym typeface="Wingdings" panose="05000000000000000000" pitchFamily="2" charset="2"/>
              </a:rPr>
              <a:t> wer macht das? Landing Page Cora  </a:t>
            </a:r>
            <a:r>
              <a:rPr lang="de-DE" err="1">
                <a:sym typeface="Wingdings" panose="05000000000000000000" pitchFamily="2" charset="2"/>
              </a:rPr>
              <a:t>Umsetung</a:t>
            </a:r>
            <a:r>
              <a:rPr lang="de-DE">
                <a:sym typeface="Wingdings" panose="05000000000000000000" pitchFamily="2" charset="2"/>
              </a:rPr>
              <a:t> Stream 2 – Vorlage Ralf / Andreas</a:t>
            </a:r>
          </a:p>
          <a:p>
            <a:r>
              <a:rPr lang="de-DE">
                <a:sym typeface="Wingdings" panose="05000000000000000000" pitchFamily="2" charset="2"/>
              </a:rPr>
              <a:t>5 3 Landing Pages und Absprung Ralf  Umsetzung Stream2</a:t>
            </a:r>
          </a:p>
          <a:p>
            <a:r>
              <a:rPr lang="de-DE">
                <a:sym typeface="Wingdings" panose="05000000000000000000" pitchFamily="2" charset="2"/>
              </a:rPr>
              <a:t>BASE Agent Konzept</a:t>
            </a:r>
          </a:p>
          <a:p>
            <a:endParaRPr lang="de-DE">
              <a:sym typeface="Wingdings" panose="05000000000000000000" pitchFamily="2" charset="2"/>
            </a:endParaRPr>
          </a:p>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B1F781-AB18-4720-935A-B02180A10B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7033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241.xml"/><Relationship Id="rId3" Type="http://schemas.openxmlformats.org/officeDocument/2006/relationships/tags" Target="../tags/tag236.xml"/><Relationship Id="rId7" Type="http://schemas.openxmlformats.org/officeDocument/2006/relationships/tags" Target="../tags/tag240.xml"/><Relationship Id="rId12" Type="http://schemas.openxmlformats.org/officeDocument/2006/relationships/image" Target="../media/image37.emf"/><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oleObject" Target="../embeddings/oleObject68.bin"/><Relationship Id="rId5" Type="http://schemas.openxmlformats.org/officeDocument/2006/relationships/tags" Target="../tags/tag238.xml"/><Relationship Id="rId10" Type="http://schemas.openxmlformats.org/officeDocument/2006/relationships/slideMaster" Target="../slideMasters/slideMaster4.xml"/><Relationship Id="rId4" Type="http://schemas.openxmlformats.org/officeDocument/2006/relationships/tags" Target="../tags/tag237.xml"/><Relationship Id="rId9" Type="http://schemas.openxmlformats.org/officeDocument/2006/relationships/tags" Target="../tags/tag242.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45.xml"/><Relationship Id="rId7" Type="http://schemas.openxmlformats.org/officeDocument/2006/relationships/tags" Target="../tags/tag249.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tags" Target="../tags/tag248.xml"/><Relationship Id="rId5" Type="http://schemas.openxmlformats.org/officeDocument/2006/relationships/tags" Target="../tags/tag247.xml"/><Relationship Id="rId10" Type="http://schemas.openxmlformats.org/officeDocument/2006/relationships/image" Target="../media/image37.emf"/><Relationship Id="rId4" Type="http://schemas.openxmlformats.org/officeDocument/2006/relationships/tags" Target="../tags/tag246.xml"/><Relationship Id="rId9" Type="http://schemas.openxmlformats.org/officeDocument/2006/relationships/oleObject" Target="../embeddings/oleObject69.bin"/></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257.xml"/><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image" Target="../media/image37.emf"/><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tags" Target="../tags/tag255.xml"/><Relationship Id="rId11" Type="http://schemas.openxmlformats.org/officeDocument/2006/relationships/oleObject" Target="../embeddings/oleObject70.bin"/><Relationship Id="rId5" Type="http://schemas.openxmlformats.org/officeDocument/2006/relationships/tags" Target="../tags/tag254.xml"/><Relationship Id="rId10" Type="http://schemas.openxmlformats.org/officeDocument/2006/relationships/slideMaster" Target="../slideMasters/slideMaster4.xml"/><Relationship Id="rId4" Type="http://schemas.openxmlformats.org/officeDocument/2006/relationships/tags" Target="../tags/tag253.xml"/><Relationship Id="rId9" Type="http://schemas.openxmlformats.org/officeDocument/2006/relationships/tags" Target="../tags/tag258.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266.xml"/><Relationship Id="rId13" Type="http://schemas.openxmlformats.org/officeDocument/2006/relationships/tags" Target="../tags/tag271.xml"/><Relationship Id="rId18" Type="http://schemas.openxmlformats.org/officeDocument/2006/relationships/image" Target="../media/image37.emf"/><Relationship Id="rId3" Type="http://schemas.openxmlformats.org/officeDocument/2006/relationships/tags" Target="../tags/tag261.xml"/><Relationship Id="rId7" Type="http://schemas.openxmlformats.org/officeDocument/2006/relationships/tags" Target="../tags/tag265.xml"/><Relationship Id="rId12" Type="http://schemas.openxmlformats.org/officeDocument/2006/relationships/tags" Target="../tags/tag270.xml"/><Relationship Id="rId17" Type="http://schemas.openxmlformats.org/officeDocument/2006/relationships/oleObject" Target="../embeddings/oleObject71.bin"/><Relationship Id="rId2" Type="http://schemas.openxmlformats.org/officeDocument/2006/relationships/tags" Target="../tags/tag260.xml"/><Relationship Id="rId16" Type="http://schemas.openxmlformats.org/officeDocument/2006/relationships/slideMaster" Target="../slideMasters/slideMaster4.xml"/><Relationship Id="rId1" Type="http://schemas.openxmlformats.org/officeDocument/2006/relationships/tags" Target="../tags/tag259.xml"/><Relationship Id="rId6" Type="http://schemas.openxmlformats.org/officeDocument/2006/relationships/tags" Target="../tags/tag264.xml"/><Relationship Id="rId11" Type="http://schemas.openxmlformats.org/officeDocument/2006/relationships/tags" Target="../tags/tag269.xml"/><Relationship Id="rId5" Type="http://schemas.openxmlformats.org/officeDocument/2006/relationships/tags" Target="../tags/tag263.xml"/><Relationship Id="rId15" Type="http://schemas.openxmlformats.org/officeDocument/2006/relationships/tags" Target="../tags/tag273.xml"/><Relationship Id="rId10" Type="http://schemas.openxmlformats.org/officeDocument/2006/relationships/tags" Target="../tags/tag268.xml"/><Relationship Id="rId4" Type="http://schemas.openxmlformats.org/officeDocument/2006/relationships/tags" Target="../tags/tag262.xml"/><Relationship Id="rId9" Type="http://schemas.openxmlformats.org/officeDocument/2006/relationships/tags" Target="../tags/tag267.xml"/><Relationship Id="rId14" Type="http://schemas.openxmlformats.org/officeDocument/2006/relationships/tags" Target="../tags/tag272.xml"/></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276.xml"/><Relationship Id="rId7" Type="http://schemas.openxmlformats.org/officeDocument/2006/relationships/oleObject" Target="../embeddings/oleObject72.bin"/><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slideMaster" Target="../slideMasters/slideMaster4.xml"/><Relationship Id="rId5" Type="http://schemas.openxmlformats.org/officeDocument/2006/relationships/tags" Target="../tags/tag278.xml"/><Relationship Id="rId4" Type="http://schemas.openxmlformats.org/officeDocument/2006/relationships/tags" Target="../tags/tag277.xml"/><Relationship Id="rId9" Type="http://schemas.openxmlformats.org/officeDocument/2006/relationships/image" Target="../media/image39.png"/></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281.xml"/><Relationship Id="rId7" Type="http://schemas.openxmlformats.org/officeDocument/2006/relationships/oleObject" Target="../embeddings/oleObject73.bin"/><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slideMaster" Target="../slideMasters/slideMaster4.xml"/><Relationship Id="rId5" Type="http://schemas.openxmlformats.org/officeDocument/2006/relationships/tags" Target="../tags/tag283.xml"/><Relationship Id="rId4" Type="http://schemas.openxmlformats.org/officeDocument/2006/relationships/tags" Target="../tags/tag282.xml"/><Relationship Id="rId9" Type="http://schemas.openxmlformats.org/officeDocument/2006/relationships/image" Target="../media/image42.png"/></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5.xml"/><Relationship Id="rId1" Type="http://schemas.openxmlformats.org/officeDocument/2006/relationships/tags" Target="../tags/tag284.xml"/><Relationship Id="rId5" Type="http://schemas.openxmlformats.org/officeDocument/2006/relationships/image" Target="../media/image37.emf"/><Relationship Id="rId4" Type="http://schemas.openxmlformats.org/officeDocument/2006/relationships/oleObject" Target="../embeddings/oleObject74.bin"/></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88.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37.emf"/><Relationship Id="rId5" Type="http://schemas.openxmlformats.org/officeDocument/2006/relationships/oleObject" Target="../embeddings/oleObject75.bin"/><Relationship Id="rId4"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91.xml"/><Relationship Id="rId7" Type="http://schemas.openxmlformats.org/officeDocument/2006/relationships/image" Target="../media/image37.emf"/><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oleObject" Target="../embeddings/oleObject76.bin"/><Relationship Id="rId5" Type="http://schemas.openxmlformats.org/officeDocument/2006/relationships/slideMaster" Target="../slideMasters/slideMaster4.xml"/><Relationship Id="rId4" Type="http://schemas.openxmlformats.org/officeDocument/2006/relationships/tags" Target="../tags/tag292.xml"/></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295.xml"/><Relationship Id="rId7" Type="http://schemas.openxmlformats.org/officeDocument/2006/relationships/slideMaster" Target="../slideMasters/slideMaster4.xml"/><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5" Type="http://schemas.openxmlformats.org/officeDocument/2006/relationships/tags" Target="../tags/tag297.xml"/><Relationship Id="rId4" Type="http://schemas.openxmlformats.org/officeDocument/2006/relationships/tags" Target="../tags/tag296.xml"/><Relationship Id="rId9" Type="http://schemas.openxmlformats.org/officeDocument/2006/relationships/image" Target="../media/image37.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306.xml"/><Relationship Id="rId3" Type="http://schemas.openxmlformats.org/officeDocument/2006/relationships/tags" Target="../tags/tag301.xml"/><Relationship Id="rId7" Type="http://schemas.openxmlformats.org/officeDocument/2006/relationships/tags" Target="../tags/tag305.xml"/><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tags" Target="../tags/tag304.xml"/><Relationship Id="rId11" Type="http://schemas.openxmlformats.org/officeDocument/2006/relationships/image" Target="../media/image37.emf"/><Relationship Id="rId5" Type="http://schemas.openxmlformats.org/officeDocument/2006/relationships/tags" Target="../tags/tag303.xml"/><Relationship Id="rId10" Type="http://schemas.openxmlformats.org/officeDocument/2006/relationships/oleObject" Target="../embeddings/oleObject78.bin"/><Relationship Id="rId4" Type="http://schemas.openxmlformats.org/officeDocument/2006/relationships/tags" Target="../tags/tag302.xml"/><Relationship Id="rId9"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image" Target="../media/image37.emf"/><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oleObject" Target="../embeddings/oleObject79.bin"/><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slideMaster" Target="../slideMasters/slideMaster4.xml"/><Relationship Id="rId5" Type="http://schemas.openxmlformats.org/officeDocument/2006/relationships/tags" Target="../tags/tag311.xml"/><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image" Target="../media/image34.emf"/><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oleObject" Target="../embeddings/oleObject80.bin"/><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slideMaster" Target="../slideMasters/slideMaster4.xml"/><Relationship Id="rId5" Type="http://schemas.openxmlformats.org/officeDocument/2006/relationships/tags" Target="../tags/tag321.xml"/><Relationship Id="rId10" Type="http://schemas.openxmlformats.org/officeDocument/2006/relationships/tags" Target="../tags/tag326.xml"/><Relationship Id="rId4" Type="http://schemas.openxmlformats.org/officeDocument/2006/relationships/tags" Target="../tags/tag320.xml"/><Relationship Id="rId9" Type="http://schemas.openxmlformats.org/officeDocument/2006/relationships/tags" Target="../tags/tag325.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29.xml"/><Relationship Id="rId7" Type="http://schemas.openxmlformats.org/officeDocument/2006/relationships/image" Target="../media/image7.emf"/><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oleObject" Target="../embeddings/oleObject81.bin"/><Relationship Id="rId5" Type="http://schemas.openxmlformats.org/officeDocument/2006/relationships/slideMaster" Target="../slideMasters/slideMaster4.xml"/><Relationship Id="rId4" Type="http://schemas.openxmlformats.org/officeDocument/2006/relationships/tags" Target="../tags/tag33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33.xml"/><Relationship Id="rId2" Type="http://schemas.openxmlformats.org/officeDocument/2006/relationships/tags" Target="../tags/tag332.xml"/><Relationship Id="rId1" Type="http://schemas.openxmlformats.org/officeDocument/2006/relationships/tags" Target="../tags/tag331.xml"/><Relationship Id="rId5" Type="http://schemas.openxmlformats.org/officeDocument/2006/relationships/slideMaster" Target="../slideMasters/slideMaster4.xml"/><Relationship Id="rId4" Type="http://schemas.openxmlformats.org/officeDocument/2006/relationships/tags" Target="../tags/tag334.xml"/></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37.xml"/><Relationship Id="rId7" Type="http://schemas.openxmlformats.org/officeDocument/2006/relationships/tags" Target="../tags/tag341.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tags" Target="../tags/tag340.xml"/><Relationship Id="rId5" Type="http://schemas.openxmlformats.org/officeDocument/2006/relationships/tags" Target="../tags/tag339.xml"/><Relationship Id="rId10" Type="http://schemas.openxmlformats.org/officeDocument/2006/relationships/image" Target="../media/image43.emf"/><Relationship Id="rId4" Type="http://schemas.openxmlformats.org/officeDocument/2006/relationships/tags" Target="../tags/tag338.xml"/><Relationship Id="rId9" Type="http://schemas.openxmlformats.org/officeDocument/2006/relationships/oleObject" Target="../embeddings/oleObject82.bin"/></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5.xml"/><Relationship Id="rId1" Type="http://schemas.openxmlformats.org/officeDocument/2006/relationships/tags" Target="../tags/tag343.xml"/><Relationship Id="rId5" Type="http://schemas.openxmlformats.org/officeDocument/2006/relationships/image" Target="../media/image22.png"/><Relationship Id="rId4" Type="http://schemas.openxmlformats.org/officeDocument/2006/relationships/image" Target="../media/image45.emf"/></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slideMaster" Target="../slideMasters/slideMaster5.xml"/><Relationship Id="rId1" Type="http://schemas.openxmlformats.org/officeDocument/2006/relationships/tags" Target="../tags/tag344.xml"/><Relationship Id="rId5" Type="http://schemas.openxmlformats.org/officeDocument/2006/relationships/image" Target="../media/image45.emf"/><Relationship Id="rId4" Type="http://schemas.openxmlformats.org/officeDocument/2006/relationships/oleObject" Target="../embeddings/oleObject85.bin"/></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slideMaster" Target="../slideMasters/slideMaster5.xml"/><Relationship Id="rId1" Type="http://schemas.openxmlformats.org/officeDocument/2006/relationships/tags" Target="../tags/tag345.xml"/><Relationship Id="rId5" Type="http://schemas.openxmlformats.org/officeDocument/2006/relationships/image" Target="../media/image44.emf"/><Relationship Id="rId4" Type="http://schemas.openxmlformats.org/officeDocument/2006/relationships/oleObject" Target="../embeddings/oleObject86.bin"/></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0.xml"/><Relationship Id="rId1" Type="http://schemas.openxmlformats.org/officeDocument/2006/relationships/tags" Target="../tags/tag349.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2.xml"/><Relationship Id="rId1" Type="http://schemas.openxmlformats.org/officeDocument/2006/relationships/tags" Target="../tags/tag351.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4.xml"/><Relationship Id="rId1" Type="http://schemas.openxmlformats.org/officeDocument/2006/relationships/tags" Target="../tags/tag35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6.xml"/><Relationship Id="rId1" Type="http://schemas.openxmlformats.org/officeDocument/2006/relationships/tags" Target="../tags/tag355.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8.xml"/><Relationship Id="rId1" Type="http://schemas.openxmlformats.org/officeDocument/2006/relationships/tags" Target="../tags/tag357.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0.xml"/><Relationship Id="rId1" Type="http://schemas.openxmlformats.org/officeDocument/2006/relationships/tags" Target="../tags/tag359.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2.xml"/><Relationship Id="rId1" Type="http://schemas.openxmlformats.org/officeDocument/2006/relationships/tags" Target="../tags/tag361.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4.xml"/><Relationship Id="rId1" Type="http://schemas.openxmlformats.org/officeDocument/2006/relationships/tags" Target="../tags/tag363.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6.xml"/><Relationship Id="rId1" Type="http://schemas.openxmlformats.org/officeDocument/2006/relationships/tags" Target="../tags/tag36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8.xml"/><Relationship Id="rId1" Type="http://schemas.openxmlformats.org/officeDocument/2006/relationships/tags" Target="../tags/tag36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2.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2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2.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2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2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2.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3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5.emf"/><Relationship Id="rId4" Type="http://schemas.openxmlformats.org/officeDocument/2006/relationships/oleObject" Target="../embeddings/oleObject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35.emf"/><Relationship Id="rId4" Type="http://schemas.openxmlformats.org/officeDocument/2006/relationships/oleObject" Target="../embeddings/oleObject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5.emf"/><Relationship Id="rId4" Type="http://schemas.openxmlformats.org/officeDocument/2006/relationships/oleObject" Target="../embeddings/oleObject9.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4.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5.emf"/><Relationship Id="rId4" Type="http://schemas.openxmlformats.org/officeDocument/2006/relationships/oleObject" Target="../embeddings/oleObject11.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34.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5.emf"/><Relationship Id="rId4" Type="http://schemas.openxmlformats.org/officeDocument/2006/relationships/oleObject" Target="../embeddings/oleObject13.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3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3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3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3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3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3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3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3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3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3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3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3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3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34.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34.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3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34.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34.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3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3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34.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3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34.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34.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3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34.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33.emf"/><Relationship Id="rId4" Type="http://schemas.openxmlformats.org/officeDocument/2006/relationships/oleObject" Target="../embeddings/oleObject25.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58.xml"/><Relationship Id="rId7"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image" Target="../media/image39.png"/><Relationship Id="rId5" Type="http://schemas.openxmlformats.org/officeDocument/2006/relationships/tags" Target="../tags/tag60.xml"/><Relationship Id="rId10" Type="http://schemas.openxmlformats.org/officeDocument/2006/relationships/image" Target="../media/image38.png"/><Relationship Id="rId4" Type="http://schemas.openxmlformats.org/officeDocument/2006/relationships/tags" Target="../tags/tag59.xml"/><Relationship Id="rId9" Type="http://schemas.openxmlformats.org/officeDocument/2006/relationships/image" Target="../media/image37.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64.xml"/><Relationship Id="rId7" Type="http://schemas.openxmlformats.org/officeDocument/2006/relationships/oleObject" Target="../embeddings/oleObject36.bin"/><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slideMaster" Target="../slideMasters/slideMaster4.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39.png"/></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2.png"/><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41.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40.jpeg"/><Relationship Id="rId5" Type="http://schemas.openxmlformats.org/officeDocument/2006/relationships/tags" Target="../tags/tag71.xml"/><Relationship Id="rId10" Type="http://schemas.openxmlformats.org/officeDocument/2006/relationships/image" Target="../media/image37.emf"/><Relationship Id="rId4" Type="http://schemas.openxmlformats.org/officeDocument/2006/relationships/tags" Target="../tags/tag70.xml"/><Relationship Id="rId9" Type="http://schemas.openxmlformats.org/officeDocument/2006/relationships/oleObject" Target="../embeddings/oleObject3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76.xml"/><Relationship Id="rId7"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42.png"/><Relationship Id="rId5" Type="http://schemas.openxmlformats.org/officeDocument/2006/relationships/tags" Target="../tags/tag78.xml"/><Relationship Id="rId10" Type="http://schemas.openxmlformats.org/officeDocument/2006/relationships/image" Target="../media/image41.png"/><Relationship Id="rId4" Type="http://schemas.openxmlformats.org/officeDocument/2006/relationships/tags" Target="../tags/tag77.xml"/><Relationship Id="rId9" Type="http://schemas.openxmlformats.org/officeDocument/2006/relationships/image" Target="../media/image37.emf"/></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82.xml"/><Relationship Id="rId7"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image" Target="../media/image39.png"/><Relationship Id="rId5" Type="http://schemas.openxmlformats.org/officeDocument/2006/relationships/tags" Target="../tags/tag84.xml"/><Relationship Id="rId10" Type="http://schemas.openxmlformats.org/officeDocument/2006/relationships/image" Target="../media/image38.png"/><Relationship Id="rId4" Type="http://schemas.openxmlformats.org/officeDocument/2006/relationships/tags" Target="../tags/tag83.xml"/><Relationship Id="rId9" Type="http://schemas.openxmlformats.org/officeDocument/2006/relationships/image" Target="../media/image37.emf"/></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37.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91.xml"/><Relationship Id="rId7" Type="http://schemas.openxmlformats.org/officeDocument/2006/relationships/oleObject" Target="../embeddings/oleObject41.bin"/><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slideMaster" Target="../slideMasters/slideMaster4.xml"/><Relationship Id="rId5" Type="http://schemas.openxmlformats.org/officeDocument/2006/relationships/tags" Target="../tags/tag93.xml"/><Relationship Id="rId4" Type="http://schemas.openxmlformats.org/officeDocument/2006/relationships/tags" Target="../tags/tag92.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96.xml"/><Relationship Id="rId7" Type="http://schemas.openxmlformats.org/officeDocument/2006/relationships/oleObject" Target="../embeddings/oleObject42.bin"/><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01.xml"/><Relationship Id="rId7" Type="http://schemas.openxmlformats.org/officeDocument/2006/relationships/oleObject" Target="../embeddings/oleObject43.bin"/><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slideMaster" Target="../slideMasters/slideMaster4.xml"/><Relationship Id="rId5" Type="http://schemas.openxmlformats.org/officeDocument/2006/relationships/tags" Target="../tags/tag103.xml"/><Relationship Id="rId4" Type="http://schemas.openxmlformats.org/officeDocument/2006/relationships/tags" Target="../tags/tag102.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06.xml"/><Relationship Id="rId7" Type="http://schemas.openxmlformats.org/officeDocument/2006/relationships/oleObject" Target="../embeddings/oleObject44.bin"/><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4.xml"/><Relationship Id="rId5" Type="http://schemas.openxmlformats.org/officeDocument/2006/relationships/tags" Target="../tags/tag108.xml"/><Relationship Id="rId4" Type="http://schemas.openxmlformats.org/officeDocument/2006/relationships/tags" Target="../tags/tag107.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11.xml"/><Relationship Id="rId7" Type="http://schemas.openxmlformats.org/officeDocument/2006/relationships/oleObject" Target="../embeddings/oleObject45.bin"/><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slideMaster" Target="../slideMasters/slideMaster4.xml"/><Relationship Id="rId5" Type="http://schemas.openxmlformats.org/officeDocument/2006/relationships/tags" Target="../tags/tag113.xml"/><Relationship Id="rId4" Type="http://schemas.openxmlformats.org/officeDocument/2006/relationships/tags" Target="../tags/tag11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37.emf"/><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oleObject" Target="../embeddings/oleObject46.bin"/><Relationship Id="rId5" Type="http://schemas.openxmlformats.org/officeDocument/2006/relationships/slideMaster" Target="../slideMasters/slideMaster4.xml"/><Relationship Id="rId4" Type="http://schemas.openxmlformats.org/officeDocument/2006/relationships/tags" Target="../tags/tag117.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37.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oleObject" Target="../embeddings/oleObject47.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37.em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oleObject" Target="../embeddings/oleObject48.bin"/><Relationship Id="rId5" Type="http://schemas.openxmlformats.org/officeDocument/2006/relationships/slideMaster" Target="../slideMasters/slideMaster4.xml"/><Relationship Id="rId4" Type="http://schemas.openxmlformats.org/officeDocument/2006/relationships/tags" Target="../tags/tag125.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37.emf"/><Relationship Id="rId5" Type="http://schemas.openxmlformats.org/officeDocument/2006/relationships/oleObject" Target="../embeddings/oleObject49.bin"/><Relationship Id="rId4"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37.emf"/><Relationship Id="rId4" Type="http://schemas.openxmlformats.org/officeDocument/2006/relationships/oleObject" Target="../embeddings/oleObject50.bin"/></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37.emf"/><Relationship Id="rId5" Type="http://schemas.openxmlformats.org/officeDocument/2006/relationships/oleObject" Target="../embeddings/oleObject51.bin"/><Relationship Id="rId4"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37.emf"/><Relationship Id="rId5" Type="http://schemas.openxmlformats.org/officeDocument/2006/relationships/oleObject" Target="../embeddings/oleObject52.bin"/><Relationship Id="rId4"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39.xml"/><Relationship Id="rId7" Type="http://schemas.openxmlformats.org/officeDocument/2006/relationships/oleObject" Target="../embeddings/oleObject53.bin"/><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slideMaster" Target="../slideMasters/slideMaster4.xml"/><Relationship Id="rId5" Type="http://schemas.openxmlformats.org/officeDocument/2006/relationships/tags" Target="../tags/tag141.xml"/><Relationship Id="rId4" Type="http://schemas.openxmlformats.org/officeDocument/2006/relationships/tags" Target="../tags/tag140.xml"/><Relationship Id="rId9" Type="http://schemas.openxmlformats.org/officeDocument/2006/relationships/image" Target="../media/image39.png"/></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37.emf"/><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oleObject" Target="../embeddings/oleObject54.bin"/><Relationship Id="rId5" Type="http://schemas.openxmlformats.org/officeDocument/2006/relationships/slideMaster" Target="../slideMasters/slideMaster4.xml"/><Relationship Id="rId4" Type="http://schemas.openxmlformats.org/officeDocument/2006/relationships/tags" Target="../tags/tag145.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48.xml"/><Relationship Id="rId7" Type="http://schemas.openxmlformats.org/officeDocument/2006/relationships/oleObject" Target="../embeddings/oleObject55.bin"/><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slideMaster" Target="../slideMasters/slideMaster4.xml"/><Relationship Id="rId5" Type="http://schemas.openxmlformats.org/officeDocument/2006/relationships/tags" Target="../tags/tag150.xml"/><Relationship Id="rId4" Type="http://schemas.openxmlformats.org/officeDocument/2006/relationships/tags" Target="../tags/tag149.xml"/></Relationships>
</file>

<file path=ppt/slideLayouts/_rels/slideLayout8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53.xml"/><Relationship Id="rId7" Type="http://schemas.openxmlformats.org/officeDocument/2006/relationships/tags" Target="../tags/tag157.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5" Type="http://schemas.openxmlformats.org/officeDocument/2006/relationships/tags" Target="../tags/tag155.xml"/><Relationship Id="rId10" Type="http://schemas.openxmlformats.org/officeDocument/2006/relationships/image" Target="../media/image37.emf"/><Relationship Id="rId4" Type="http://schemas.openxmlformats.org/officeDocument/2006/relationships/tags" Target="../tags/tag154.xml"/><Relationship Id="rId9" Type="http://schemas.openxmlformats.org/officeDocument/2006/relationships/oleObject" Target="../embeddings/oleObject56.bin"/></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165.xml"/><Relationship Id="rId3" Type="http://schemas.openxmlformats.org/officeDocument/2006/relationships/tags" Target="../tags/tag160.xml"/><Relationship Id="rId7" Type="http://schemas.openxmlformats.org/officeDocument/2006/relationships/tags" Target="../tags/tag164.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image" Target="../media/image37.emf"/><Relationship Id="rId5" Type="http://schemas.openxmlformats.org/officeDocument/2006/relationships/tags" Target="../tags/tag162.xml"/><Relationship Id="rId10" Type="http://schemas.openxmlformats.org/officeDocument/2006/relationships/oleObject" Target="../embeddings/oleObject57.bin"/><Relationship Id="rId4" Type="http://schemas.openxmlformats.org/officeDocument/2006/relationships/tags" Target="../tags/tag161.xml"/><Relationship Id="rId9"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68.xml"/><Relationship Id="rId7" Type="http://schemas.openxmlformats.org/officeDocument/2006/relationships/oleObject" Target="../embeddings/oleObject58.bin"/><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slideMaster" Target="../slideMasters/slideMaster4.xml"/><Relationship Id="rId5" Type="http://schemas.openxmlformats.org/officeDocument/2006/relationships/tags" Target="../tags/tag170.xml"/><Relationship Id="rId4" Type="http://schemas.openxmlformats.org/officeDocument/2006/relationships/tags" Target="../tags/tag169.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73.xml"/><Relationship Id="rId7" Type="http://schemas.openxmlformats.org/officeDocument/2006/relationships/oleObject" Target="../embeddings/oleObject59.bin"/><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slideMaster" Target="../slideMasters/slideMaster4.xml"/><Relationship Id="rId5" Type="http://schemas.openxmlformats.org/officeDocument/2006/relationships/tags" Target="../tags/tag175.xml"/><Relationship Id="rId4" Type="http://schemas.openxmlformats.org/officeDocument/2006/relationships/tags" Target="../tags/tag174.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image" Target="../media/image37.emf"/><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oleObject" Target="../embeddings/oleObject60.bin"/><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slideMaster" Target="../slideMasters/slideMaster4.xml"/><Relationship Id="rId5" Type="http://schemas.openxmlformats.org/officeDocument/2006/relationships/tags" Target="../tags/tag180.xml"/><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193.xml"/><Relationship Id="rId13" Type="http://schemas.openxmlformats.org/officeDocument/2006/relationships/oleObject" Target="../embeddings/oleObject61.bin"/><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slideMaster" Target="../slideMasters/slideMaster4.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tags" Target="../tags/tag196.xml"/><Relationship Id="rId5" Type="http://schemas.openxmlformats.org/officeDocument/2006/relationships/tags" Target="../tags/tag190.xml"/><Relationship Id="rId10" Type="http://schemas.openxmlformats.org/officeDocument/2006/relationships/tags" Target="../tags/tag195.xml"/><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image" Target="../media/image37.emf"/></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tags" Target="../tags/tag209.xml"/><Relationship Id="rId18" Type="http://schemas.openxmlformats.org/officeDocument/2006/relationships/image" Target="../media/image37.emf"/><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tags" Target="../tags/tag208.xml"/><Relationship Id="rId17" Type="http://schemas.openxmlformats.org/officeDocument/2006/relationships/oleObject" Target="../embeddings/oleObject62.bin"/><Relationship Id="rId2" Type="http://schemas.openxmlformats.org/officeDocument/2006/relationships/tags" Target="../tags/tag198.xml"/><Relationship Id="rId16" Type="http://schemas.openxmlformats.org/officeDocument/2006/relationships/slideMaster" Target="../slideMasters/slideMaster4.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tags" Target="../tags/tag207.xml"/><Relationship Id="rId5" Type="http://schemas.openxmlformats.org/officeDocument/2006/relationships/tags" Target="../tags/tag201.xml"/><Relationship Id="rId15" Type="http://schemas.openxmlformats.org/officeDocument/2006/relationships/tags" Target="../tags/tag211.xml"/><Relationship Id="rId10" Type="http://schemas.openxmlformats.org/officeDocument/2006/relationships/tags" Target="../tags/tag206.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219.xml"/><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image" Target="../media/image37.emf"/><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oleObject" Target="../embeddings/oleObject63.bin"/><Relationship Id="rId5" Type="http://schemas.openxmlformats.org/officeDocument/2006/relationships/tags" Target="../tags/tag216.xml"/><Relationship Id="rId10" Type="http://schemas.openxmlformats.org/officeDocument/2006/relationships/slideMaster" Target="../slideMasters/slideMaster4.xml"/><Relationship Id="rId4" Type="http://schemas.openxmlformats.org/officeDocument/2006/relationships/tags" Target="../tags/tag215.xml"/><Relationship Id="rId9" Type="http://schemas.openxmlformats.org/officeDocument/2006/relationships/tags" Target="../tags/tag22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image" Target="../media/image37.emf"/><Relationship Id="rId5" Type="http://schemas.openxmlformats.org/officeDocument/2006/relationships/oleObject" Target="../embeddings/oleObject64.bin"/><Relationship Id="rId4"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37.emf"/><Relationship Id="rId4" Type="http://schemas.openxmlformats.org/officeDocument/2006/relationships/oleObject" Target="../embeddings/oleObject65.bin"/></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37.emf"/><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oleObject" Target="../embeddings/oleObject66.bin"/><Relationship Id="rId5" Type="http://schemas.openxmlformats.org/officeDocument/2006/relationships/slideMaster" Target="../slideMasters/slideMaster4.xml"/><Relationship Id="rId4" Type="http://schemas.openxmlformats.org/officeDocument/2006/relationships/tags" Target="../tags/tag229.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37.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67.bin"/><Relationship Id="rId5" Type="http://schemas.openxmlformats.org/officeDocument/2006/relationships/slideMaster" Target="../slideMasters/slideMaster4.xml"/><Relationship Id="rId4" Type="http://schemas.openxmlformats.org/officeDocument/2006/relationships/tags" Target="../tags/tag23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ivider - Deloitte Accessible Green">
    <p:bg bwMode="gray">
      <p:bgPr>
        <a:solidFill>
          <a:srgbClr val="BDE5EE"/>
        </a:solidFill>
        <a:effectLst/>
      </p:bgPr>
    </p:bg>
    <p:spTree>
      <p:nvGrpSpPr>
        <p:cNvPr id="1" name=""/>
        <p:cNvGrpSpPr/>
        <p:nvPr/>
      </p:nvGrpSpPr>
      <p:grpSpPr>
        <a:xfrm>
          <a:off x="0" y="0"/>
          <a:ext cx="0" cy="0"/>
          <a:chOff x="0" y="0"/>
          <a:chExt cx="0" cy="0"/>
        </a:xfrm>
      </p:grpSpPr>
      <p:pic>
        <p:nvPicPr>
          <p:cNvPr id="18" name="Picture 17" descr="A blue planet with black background&#10;&#10;Description automatically generated">
            <a:extLst>
              <a:ext uri="{FF2B5EF4-FFF2-40B4-BE49-F238E27FC236}">
                <a16:creationId xmlns:a16="http://schemas.microsoft.com/office/drawing/2014/main" id="{DAEB289D-CE55-D134-FBD9-5B8D45DEFA7A}"/>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30768" t="-3262" b="-14986"/>
          <a:stretch/>
        </p:blipFill>
        <p:spPr>
          <a:xfrm>
            <a:off x="258776" y="390096"/>
            <a:ext cx="749983" cy="638604"/>
          </a:xfrm>
          <a:prstGeom prst="rect">
            <a:avLst/>
          </a:prstGeom>
        </p:spPr>
      </p:pic>
      <p:sp>
        <p:nvSpPr>
          <p:cNvPr id="19" name="Title 1">
            <a:extLst>
              <a:ext uri="{FF2B5EF4-FFF2-40B4-BE49-F238E27FC236}">
                <a16:creationId xmlns:a16="http://schemas.microsoft.com/office/drawing/2014/main" id="{E1B8A26D-9447-0DE3-EC7A-496F3D142FE7}"/>
              </a:ext>
            </a:extLst>
          </p:cNvPr>
          <p:cNvSpPr>
            <a:spLocks noGrp="1"/>
          </p:cNvSpPr>
          <p:nvPr>
            <p:ph type="title"/>
          </p:nvPr>
        </p:nvSpPr>
        <p:spPr bwMode="gray">
          <a:xfrm>
            <a:off x="501651" y="1670834"/>
            <a:ext cx="10347324" cy="1592403"/>
          </a:xfrm>
          <a:prstGeom prst="rect">
            <a:avLst/>
          </a:prstGeom>
        </p:spPr>
        <p:txBody>
          <a:bodyPr lIns="0" anchor="b"/>
          <a:lstStyle>
            <a:lvl1pPr>
              <a:lnSpc>
                <a:spcPct val="95000"/>
              </a:lnSpc>
              <a:defRPr sz="4000" b="1">
                <a:solidFill>
                  <a:srgbClr val="005587"/>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20" name="Text Placeholder 2">
            <a:extLst>
              <a:ext uri="{FF2B5EF4-FFF2-40B4-BE49-F238E27FC236}">
                <a16:creationId xmlns:a16="http://schemas.microsoft.com/office/drawing/2014/main" id="{2F140D79-07FE-B034-AEE9-CD50FB960B95}"/>
              </a:ext>
            </a:extLst>
          </p:cNvPr>
          <p:cNvSpPr>
            <a:spLocks noGrp="1"/>
          </p:cNvSpPr>
          <p:nvPr>
            <p:ph type="body" idx="1"/>
          </p:nvPr>
        </p:nvSpPr>
        <p:spPr bwMode="gray">
          <a:xfrm>
            <a:off x="501651" y="3429000"/>
            <a:ext cx="10347324" cy="1566532"/>
          </a:xfrm>
          <a:prstGeom prst="rect">
            <a:avLst/>
          </a:prstGeom>
        </p:spPr>
        <p:txBody>
          <a:bodyPr lIns="0" tIns="0" rIns="0" bIns="0">
            <a:noAutofit/>
          </a:bodyPr>
          <a:lstStyle>
            <a:lvl1pPr marL="0" indent="0">
              <a:lnSpc>
                <a:spcPct val="95000"/>
              </a:lnSpc>
              <a:spcAft>
                <a:spcPts val="0"/>
              </a:spcAft>
              <a:buNone/>
              <a:defRPr sz="1800" b="0" i="0">
                <a:solidFill>
                  <a:srgbClr val="041E42"/>
                </a:solidFill>
                <a:latin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pic>
        <p:nvPicPr>
          <p:cNvPr id="2" name="Picture 1" descr="A white object with a black background&#10;&#10;Description automatically generated">
            <a:extLst>
              <a:ext uri="{FF2B5EF4-FFF2-40B4-BE49-F238E27FC236}">
                <a16:creationId xmlns:a16="http://schemas.microsoft.com/office/drawing/2014/main" id="{62C0AE3D-8156-AA96-C317-B4CECD97D473}"/>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r="-1"/>
          <a:stretch/>
        </p:blipFill>
        <p:spPr>
          <a:xfrm>
            <a:off x="0" y="4663033"/>
            <a:ext cx="2139074" cy="1465093"/>
          </a:xfrm>
          <a:prstGeom prst="rect">
            <a:avLst/>
          </a:prstGeom>
        </p:spPr>
      </p:pic>
      <p:pic>
        <p:nvPicPr>
          <p:cNvPr id="3" name="Picture 2" descr="A white and blue iceberg&#10;&#10;Description automatically generated">
            <a:extLst>
              <a:ext uri="{FF2B5EF4-FFF2-40B4-BE49-F238E27FC236}">
                <a16:creationId xmlns:a16="http://schemas.microsoft.com/office/drawing/2014/main" id="{D222C819-1032-CDEF-9685-6E276E35CFFE}"/>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8552768" y="4555200"/>
            <a:ext cx="3485262" cy="2196089"/>
          </a:xfrm>
          <a:prstGeom prst="rect">
            <a:avLst/>
          </a:prstGeom>
        </p:spPr>
      </p:pic>
      <p:pic>
        <p:nvPicPr>
          <p:cNvPr id="6" name="Picture 5" descr="A white object with a black background&#10;&#10;Description automatically generated">
            <a:extLst>
              <a:ext uri="{FF2B5EF4-FFF2-40B4-BE49-F238E27FC236}">
                <a16:creationId xmlns:a16="http://schemas.microsoft.com/office/drawing/2014/main" id="{C8B49168-A595-1687-E621-98FD6C2A7147}"/>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l="-882" t="-4669"/>
          <a:stretch/>
        </p:blipFill>
        <p:spPr>
          <a:xfrm>
            <a:off x="1278174" y="878556"/>
            <a:ext cx="1376065" cy="695720"/>
          </a:xfrm>
          <a:prstGeom prst="rect">
            <a:avLst/>
          </a:prstGeom>
        </p:spPr>
      </p:pic>
    </p:spTree>
    <p:extLst>
      <p:ext uri="{BB962C8B-B14F-4D97-AF65-F5344CB8AC3E}">
        <p14:creationId xmlns:p14="http://schemas.microsoft.com/office/powerpoint/2010/main" val="655530647"/>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ECD8701-1D72-071C-B185-CA89363A92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35105" y="-1"/>
            <a:ext cx="7856895" cy="6858001"/>
          </a:xfrm>
          <a:prstGeom prst="rect">
            <a:avLst/>
          </a:prstGeom>
        </p:spPr>
      </p:pic>
      <p:sp>
        <p:nvSpPr>
          <p:cNvPr id="7" name="Slide Number Placeholder 5">
            <a:extLst>
              <a:ext uri="{FF2B5EF4-FFF2-40B4-BE49-F238E27FC236}">
                <a16:creationId xmlns:a16="http://schemas.microsoft.com/office/drawing/2014/main" id="{22A9C2E2-7B61-D4BA-3636-99ACCDEA90A0}"/>
              </a:ext>
            </a:extLst>
          </p:cNvPr>
          <p:cNvSpPr txBox="1">
            <a:spLocks/>
          </p:cNvSpPr>
          <p:nvPr userDrawn="1"/>
        </p:nvSpPr>
        <p:spPr>
          <a:xfrm>
            <a:off x="11132820" y="6356350"/>
            <a:ext cx="56388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Open Sans" panose="020B0606030504020204"/>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888F3F1-57AE-6248-B8CC-FDCCA966097E}" type="slidenum">
              <a:rPr lang="en-US" smtClean="0"/>
              <a:pPr/>
              <a:t>‹#›</a:t>
            </a:fld>
            <a:endParaRPr lang="en-US"/>
          </a:p>
        </p:txBody>
      </p:sp>
      <p:sp>
        <p:nvSpPr>
          <p:cNvPr id="8" name="Title 1">
            <a:extLst>
              <a:ext uri="{FF2B5EF4-FFF2-40B4-BE49-F238E27FC236}">
                <a16:creationId xmlns:a16="http://schemas.microsoft.com/office/drawing/2014/main" id="{49BD1C7D-6493-46C7-5D2A-086A10D5E75E}"/>
              </a:ext>
            </a:extLst>
          </p:cNvPr>
          <p:cNvSpPr>
            <a:spLocks noGrp="1"/>
          </p:cNvSpPr>
          <p:nvPr>
            <p:ph type="title" hasCustomPrompt="1"/>
          </p:nvPr>
        </p:nvSpPr>
        <p:spPr>
          <a:xfrm>
            <a:off x="831850" y="1709738"/>
            <a:ext cx="3526728" cy="2852737"/>
          </a:xfrm>
        </p:spPr>
        <p:txBody>
          <a:bodyPr anchor="t">
            <a:normAutofit/>
          </a:bodyPr>
          <a:lstStyle>
            <a:lvl1pPr>
              <a:defRPr sz="36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10" name="Text Placeholder 2">
            <a:extLst>
              <a:ext uri="{FF2B5EF4-FFF2-40B4-BE49-F238E27FC236}">
                <a16:creationId xmlns:a16="http://schemas.microsoft.com/office/drawing/2014/main" id="{B8BE67ED-1AA9-1D39-0043-8B34E6D3C3EC}"/>
              </a:ext>
            </a:extLst>
          </p:cNvPr>
          <p:cNvSpPr>
            <a:spLocks noGrp="1"/>
          </p:cNvSpPr>
          <p:nvPr>
            <p:ph type="body" idx="1"/>
          </p:nvPr>
        </p:nvSpPr>
        <p:spPr>
          <a:xfrm>
            <a:off x="844550" y="4600095"/>
            <a:ext cx="3526728" cy="1500187"/>
          </a:xfrm>
        </p:spPr>
        <p:txBody>
          <a:bodyPr>
            <a:normAutofit/>
          </a:bodyPr>
          <a:lstStyle>
            <a:lvl1pPr marL="0" indent="0">
              <a:buNone/>
              <a:defRPr sz="1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4" name="Picture 13">
            <a:extLst>
              <a:ext uri="{FF2B5EF4-FFF2-40B4-BE49-F238E27FC236}">
                <a16:creationId xmlns:a16="http://schemas.microsoft.com/office/drawing/2014/main" id="{4D44B420-D919-4479-3982-227A5733FF6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5278" r="-8368" b="-9103"/>
          <a:stretch/>
        </p:blipFill>
        <p:spPr>
          <a:xfrm>
            <a:off x="5245833" y="-1"/>
            <a:ext cx="2188637" cy="2961861"/>
          </a:xfrm>
          <a:prstGeom prst="rect">
            <a:avLst/>
          </a:prstGeom>
        </p:spPr>
      </p:pic>
      <p:pic>
        <p:nvPicPr>
          <p:cNvPr id="16" name="Picture 15">
            <a:extLst>
              <a:ext uri="{FF2B5EF4-FFF2-40B4-BE49-F238E27FC236}">
                <a16:creationId xmlns:a16="http://schemas.microsoft.com/office/drawing/2014/main" id="{BF938671-5642-37B9-09DB-94472239F40F}"/>
              </a:ext>
            </a:extLst>
          </p:cNvPr>
          <p:cNvPicPr>
            <a:picLocks noChangeAspect="1"/>
          </p:cNvPicPr>
          <p:nvPr userDrawn="1"/>
        </p:nvPicPr>
        <p:blipFill>
          <a:blip r:embed="rId4"/>
          <a:stretch>
            <a:fillRect/>
          </a:stretch>
        </p:blipFill>
        <p:spPr>
          <a:xfrm>
            <a:off x="8641682" y="3477559"/>
            <a:ext cx="427890" cy="427890"/>
          </a:xfrm>
          <a:prstGeom prst="rect">
            <a:avLst/>
          </a:prstGeom>
        </p:spPr>
      </p:pic>
      <p:pic>
        <p:nvPicPr>
          <p:cNvPr id="2" name="Picture 1">
            <a:extLst>
              <a:ext uri="{FF2B5EF4-FFF2-40B4-BE49-F238E27FC236}">
                <a16:creationId xmlns:a16="http://schemas.microsoft.com/office/drawing/2014/main" id="{6983F289-31EF-6572-6C71-47FDF6ABB7D3}"/>
              </a:ext>
            </a:extLst>
          </p:cNvPr>
          <p:cNvPicPr>
            <a:picLocks noChangeAspect="1"/>
          </p:cNvPicPr>
          <p:nvPr userDrawn="1"/>
        </p:nvPicPr>
        <p:blipFill>
          <a:blip r:embed="rId4"/>
          <a:stretch>
            <a:fillRect/>
          </a:stretch>
        </p:blipFill>
        <p:spPr>
          <a:xfrm>
            <a:off x="5327561" y="5586155"/>
            <a:ext cx="844787" cy="844787"/>
          </a:xfrm>
          <a:prstGeom prst="rect">
            <a:avLst/>
          </a:prstGeom>
        </p:spPr>
      </p:pic>
    </p:spTree>
    <p:extLst>
      <p:ext uri="{BB962C8B-B14F-4D97-AF65-F5344CB8AC3E}">
        <p14:creationId xmlns:p14="http://schemas.microsoft.com/office/powerpoint/2010/main" val="178360015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1DD4FF2-4F0B-7F28-C364-978F52E1C0E8}"/>
              </a:ext>
            </a:extLst>
          </p:cNvPr>
          <p:cNvGraphicFramePr>
            <a:graphicFrameLocks noChangeAspect="1"/>
          </p:cNvGraphicFramePr>
          <p:nvPr userDrawn="1">
            <p:custDataLst>
              <p:tags r:id="rId1"/>
            </p:custDataLst>
            <p:extLst>
              <p:ext uri="{D42A27DB-BD31-4B8C-83A1-F6EECF244321}">
                <p14:modId xmlns:p14="http://schemas.microsoft.com/office/powerpoint/2010/main" val="2711482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478" imgH="479" progId="TCLayout.ActiveDocument.1">
                  <p:embed/>
                </p:oleObj>
              </mc:Choice>
              <mc:Fallback>
                <p:oleObj name="think-cell Folie" r:id="rId11" imgW="478" imgH="479" progId="TCLayout.ActiveDocument.1">
                  <p:embed/>
                  <p:pic>
                    <p:nvPicPr>
                      <p:cNvPr id="3" name="think-cell data - do not delete" hidden="1">
                        <a:extLst>
                          <a:ext uri="{FF2B5EF4-FFF2-40B4-BE49-F238E27FC236}">
                            <a16:creationId xmlns:a16="http://schemas.microsoft.com/office/drawing/2014/main" id="{31DD4FF2-4F0B-7F28-C364-978F52E1C0E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Text middle" hidden="1">
            <a:extLst>
              <a:ext uri="{FF2B5EF4-FFF2-40B4-BE49-F238E27FC236}">
                <a16:creationId xmlns:a16="http://schemas.microsoft.com/office/drawing/2014/main" id="{09891263-8779-41FC-9383-3693CA16CB1D}"/>
              </a:ext>
            </a:extLst>
          </p:cNvPr>
          <p:cNvSpPr>
            <a:spLocks noGrp="1"/>
          </p:cNvSpPr>
          <p:nvPr>
            <p:ph type="body" sz="quarter" idx="22" hasCustomPrompt="1"/>
            <p:custDataLst>
              <p:tags r:id="rId2"/>
            </p:custDataLst>
          </p:nvPr>
        </p:nvSpPr>
        <p:spPr>
          <a:xfrm>
            <a:off x="458730" y="1851440"/>
            <a:ext cx="3554471" cy="4511260"/>
          </a:xfrm>
        </p:spPr>
        <p:txBody>
          <a:bodyPr>
            <a:noAutofit/>
          </a:bodyPr>
          <a:lstStyle>
            <a:lvl1pPr marL="0" indent="0" algn="l" rtl="0">
              <a:buFontTx/>
              <a:buNone/>
              <a:defRPr sz="1200" b="1">
                <a:solidFill>
                  <a:schemeClr val="accent1"/>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1" name="Text center" hidden="1">
            <a:extLst>
              <a:ext uri="{FF2B5EF4-FFF2-40B4-BE49-F238E27FC236}">
                <a16:creationId xmlns:a16="http://schemas.microsoft.com/office/drawing/2014/main" id="{3F862111-A699-4618-9902-CD7B1ECC90ED}"/>
              </a:ext>
            </a:extLst>
          </p:cNvPr>
          <p:cNvSpPr>
            <a:spLocks noGrp="1"/>
          </p:cNvSpPr>
          <p:nvPr>
            <p:ph type="body" sz="quarter" idx="23" hasCustomPrompt="1"/>
            <p:custDataLst>
              <p:tags r:id="rId3"/>
            </p:custDataLst>
          </p:nvPr>
        </p:nvSpPr>
        <p:spPr>
          <a:xfrm>
            <a:off x="4314826" y="1851440"/>
            <a:ext cx="3554471" cy="4511260"/>
          </a:xfrm>
        </p:spPr>
        <p:txBody>
          <a:bodyPr>
            <a:noAutofit/>
          </a:bodyPr>
          <a:lstStyle>
            <a:lvl1pPr marL="0" indent="0" algn="l" rtl="0">
              <a:buFontTx/>
              <a:buNone/>
              <a:defRPr sz="1200" b="1">
                <a:solidFill>
                  <a:schemeClr val="accent1"/>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2" name="Text right" hidden="1">
            <a:extLst>
              <a:ext uri="{FF2B5EF4-FFF2-40B4-BE49-F238E27FC236}">
                <a16:creationId xmlns:a16="http://schemas.microsoft.com/office/drawing/2014/main" id="{136FEA86-C43A-4BD9-AC25-65C16B3F484C}"/>
              </a:ext>
            </a:extLst>
          </p:cNvPr>
          <p:cNvSpPr>
            <a:spLocks noGrp="1"/>
          </p:cNvSpPr>
          <p:nvPr>
            <p:ph type="body" sz="quarter" idx="24" hasCustomPrompt="1"/>
            <p:custDataLst>
              <p:tags r:id="rId4"/>
            </p:custDataLst>
          </p:nvPr>
        </p:nvSpPr>
        <p:spPr>
          <a:xfrm>
            <a:off x="8178800" y="1851440"/>
            <a:ext cx="3556000" cy="4511260"/>
          </a:xfrm>
        </p:spPr>
        <p:txBody>
          <a:bodyPr>
            <a:noAutofit/>
          </a:bodyPr>
          <a:lstStyle>
            <a:lvl1pPr marL="0" indent="0" algn="l" rtl="0">
              <a:buFontTx/>
              <a:buNone/>
              <a:defRPr sz="1200" b="1">
                <a:solidFill>
                  <a:schemeClr val="accent1"/>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3" name="Subtitle" hidden="1">
            <a:extLst>
              <a:ext uri="{FF2B5EF4-FFF2-40B4-BE49-F238E27FC236}">
                <a16:creationId xmlns:a16="http://schemas.microsoft.com/office/drawing/2014/main" id="{9D600A6A-61E2-4C72-A87B-39D905EFB4BC}"/>
              </a:ext>
            </a:extLst>
          </p:cNvPr>
          <p:cNvSpPr>
            <a:spLocks noGrp="1"/>
          </p:cNvSpPr>
          <p:nvPr>
            <p:ph type="body" sz="quarter" idx="25" hasCustomPrompt="1"/>
            <p:custDataLst>
              <p:tags r:id="rId5"/>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19" name="Title" hidden="1">
            <a:extLst>
              <a:ext uri="{FF2B5EF4-FFF2-40B4-BE49-F238E27FC236}">
                <a16:creationId xmlns:a16="http://schemas.microsoft.com/office/drawing/2014/main" id="{D5910C4A-3157-47A5-8677-1140132DE359}"/>
              </a:ext>
            </a:extLst>
          </p:cNvPr>
          <p:cNvSpPr>
            <a:spLocks noGrp="1"/>
          </p:cNvSpPr>
          <p:nvPr>
            <p:ph type="title" hasCustomPrompt="1"/>
            <p:custDataLst>
              <p:tags r:id="rId6"/>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
        <p:nvSpPr>
          <p:cNvPr id="20" name="Rectangle 19" hidden="1">
            <a:extLst>
              <a:ext uri="{FF2B5EF4-FFF2-40B4-BE49-F238E27FC236}">
                <a16:creationId xmlns:a16="http://schemas.microsoft.com/office/drawing/2014/main" id="{221E1916-39D6-44A9-8C07-60C8660A0953}"/>
              </a:ext>
            </a:extLst>
          </p:cNvPr>
          <p:cNvSpPr/>
          <p:nvPr>
            <p:custDataLst>
              <p:tags r:id="rId7"/>
            </p:custDataLst>
          </p:nvPr>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
        <p:nvSpPr>
          <p:cNvPr id="21" name="Rectangle 20" hidden="1">
            <a:extLst>
              <a:ext uri="{FF2B5EF4-FFF2-40B4-BE49-F238E27FC236}">
                <a16:creationId xmlns:a16="http://schemas.microsoft.com/office/drawing/2014/main" id="{F2178E01-9486-4723-8ECD-9A89CE53905A}"/>
              </a:ext>
            </a:extLst>
          </p:cNvPr>
          <p:cNvSpPr/>
          <p:nvPr>
            <p:custDataLst>
              <p:tags r:id="rId8"/>
            </p:custDataLst>
          </p:nvPr>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
        <p:nvSpPr>
          <p:cNvPr id="22" name="Rectangle 21" hidden="1">
            <a:extLst>
              <a:ext uri="{FF2B5EF4-FFF2-40B4-BE49-F238E27FC236}">
                <a16:creationId xmlns:a16="http://schemas.microsoft.com/office/drawing/2014/main" id="{082A3624-848D-4789-989D-4C19B95C8DD4}"/>
              </a:ext>
            </a:extLst>
          </p:cNvPr>
          <p:cNvSpPr/>
          <p:nvPr>
            <p:custDataLst>
              <p:tags r:id="rId9"/>
            </p:custDataLst>
          </p:nvPr>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Tree>
    <p:extLst>
      <p:ext uri="{BB962C8B-B14F-4D97-AF65-F5344CB8AC3E}">
        <p14:creationId xmlns:p14="http://schemas.microsoft.com/office/powerpoint/2010/main" val="124519952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A457502-BA05-7C84-234A-0492814C5291}"/>
              </a:ext>
            </a:extLst>
          </p:cNvPr>
          <p:cNvGraphicFramePr>
            <a:graphicFrameLocks noChangeAspect="1"/>
          </p:cNvGraphicFramePr>
          <p:nvPr userDrawn="1">
            <p:custDataLst>
              <p:tags r:id="rId1"/>
            </p:custDataLst>
            <p:extLst>
              <p:ext uri="{D42A27DB-BD31-4B8C-83A1-F6EECF244321}">
                <p14:modId xmlns:p14="http://schemas.microsoft.com/office/powerpoint/2010/main" val="3627170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478" imgH="479" progId="TCLayout.ActiveDocument.1">
                  <p:embed/>
                </p:oleObj>
              </mc:Choice>
              <mc:Fallback>
                <p:oleObj name="think-cell Folie" r:id="rId9" imgW="478" imgH="479" progId="TCLayout.ActiveDocument.1">
                  <p:embed/>
                  <p:pic>
                    <p:nvPicPr>
                      <p:cNvPr id="3" name="think-cell data - do not delete" hidden="1">
                        <a:extLst>
                          <a:ext uri="{FF2B5EF4-FFF2-40B4-BE49-F238E27FC236}">
                            <a16:creationId xmlns:a16="http://schemas.microsoft.com/office/drawing/2014/main" id="{EA457502-BA05-7C84-234A-0492814C529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Subtitle" hidden="1">
            <a:extLst>
              <a:ext uri="{FF2B5EF4-FFF2-40B4-BE49-F238E27FC236}">
                <a16:creationId xmlns:a16="http://schemas.microsoft.com/office/drawing/2014/main" id="{BAA35D0E-EBF0-4599-84F7-684DE89E56AE}"/>
              </a:ext>
            </a:extLst>
          </p:cNvPr>
          <p:cNvSpPr>
            <a:spLocks noGrp="1"/>
          </p:cNvSpPr>
          <p:nvPr>
            <p:ph type="body" sz="quarter" idx="25" hasCustomPrompt="1"/>
            <p:custDataLst>
              <p:tags r:id="rId2"/>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11" name="Title" hidden="1">
            <a:extLst>
              <a:ext uri="{FF2B5EF4-FFF2-40B4-BE49-F238E27FC236}">
                <a16:creationId xmlns:a16="http://schemas.microsoft.com/office/drawing/2014/main" id="{CBCDA542-DB63-41BB-89C0-73F35C7D17CA}"/>
              </a:ext>
            </a:extLst>
          </p:cNvPr>
          <p:cNvSpPr>
            <a:spLocks noGrp="1"/>
          </p:cNvSpPr>
          <p:nvPr>
            <p:ph type="title" hasCustomPrompt="1"/>
            <p:custDataLst>
              <p:tags r:id="rId3"/>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
        <p:nvSpPr>
          <p:cNvPr id="12" name="Text left" hidden="1">
            <a:extLst>
              <a:ext uri="{FF2B5EF4-FFF2-40B4-BE49-F238E27FC236}">
                <a16:creationId xmlns:a16="http://schemas.microsoft.com/office/drawing/2014/main" id="{C73178E3-6490-436A-8FEB-CC4E21B542CE}"/>
              </a:ext>
            </a:extLst>
          </p:cNvPr>
          <p:cNvSpPr>
            <a:spLocks noGrp="1"/>
          </p:cNvSpPr>
          <p:nvPr>
            <p:ph type="body" sz="quarter" idx="17" hasCustomPrompt="1"/>
            <p:custDataLst>
              <p:tags r:id="rId4"/>
            </p:custDataLst>
          </p:nvPr>
        </p:nvSpPr>
        <p:spPr>
          <a:xfrm>
            <a:off x="473297" y="3124200"/>
            <a:ext cx="2720468" cy="3238500"/>
          </a:xfrm>
        </p:spPr>
        <p:txBody>
          <a:bodyPr>
            <a:noAutofit/>
          </a:bodyPr>
          <a:lstStyle>
            <a:lvl1pPr marL="0" indent="0" algn="l" rtl="0">
              <a:buFontTx/>
              <a:buNone/>
              <a:defRPr sz="1200" b="1">
                <a:solidFill>
                  <a:schemeClr val="accent1"/>
                </a:solidFill>
              </a:defRPr>
            </a:lvl1pPr>
            <a:lvl2pPr marL="104775" indent="-104775" algn="l" rtl="0">
              <a:spcAft>
                <a:spcPts val="0"/>
              </a:spcAft>
              <a:buClrTx/>
              <a:buSzPct val="100000"/>
              <a:buFont typeface="Arial" panose="020B0604020202020204" pitchFamily="34" charset="0"/>
              <a:buChar char="•"/>
              <a:defRPr sz="1200"/>
            </a:lvl2pPr>
            <a:lvl3pPr marL="228600" indent="-104775" algn="l" rtl="0">
              <a:spcAft>
                <a:spcPts val="0"/>
              </a:spcAft>
              <a:buClrTx/>
              <a:buSzPct val="100000"/>
              <a:buFont typeface="Arial" panose="020B0604020202020204" pitchFamily="34" charset="0"/>
              <a:buChar char="−"/>
              <a:defRPr sz="1200"/>
            </a:lvl3pPr>
            <a:lvl4pPr marL="352425" indent="-104775" algn="l" rtl="0">
              <a:spcAft>
                <a:spcPts val="0"/>
              </a:spcAft>
              <a:buClrTx/>
              <a:buSzPct val="100000"/>
              <a:buFont typeface="Arial" panose="020B0604020202020204" pitchFamily="34" charset="0"/>
              <a:buChar char="◦"/>
              <a:defRPr sz="1200"/>
            </a:lvl4pPr>
            <a:lvl5pPr marL="476250" indent="-104775" algn="l" rtl="0">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3" name="Text center right" hidden="1">
            <a:extLst>
              <a:ext uri="{FF2B5EF4-FFF2-40B4-BE49-F238E27FC236}">
                <a16:creationId xmlns:a16="http://schemas.microsoft.com/office/drawing/2014/main" id="{1B5A2B37-A59A-4B85-9144-75BC73AD9DB2}"/>
              </a:ext>
            </a:extLst>
          </p:cNvPr>
          <p:cNvSpPr>
            <a:spLocks noGrp="1"/>
          </p:cNvSpPr>
          <p:nvPr>
            <p:ph type="body" sz="quarter" idx="18" hasCustomPrompt="1"/>
            <p:custDataLst>
              <p:tags r:id="rId5"/>
            </p:custDataLst>
          </p:nvPr>
        </p:nvSpPr>
        <p:spPr>
          <a:xfrm>
            <a:off x="6171687" y="3120553"/>
            <a:ext cx="2712000" cy="3238500"/>
          </a:xfrm>
        </p:spPr>
        <p:txBody>
          <a:bodyPr>
            <a:noAutofit/>
          </a:bodyPr>
          <a:lstStyle>
            <a:lvl1pPr marL="0" indent="0" algn="l" rtl="0">
              <a:buFontTx/>
              <a:buNone/>
              <a:defRPr sz="1200" b="1">
                <a:solidFill>
                  <a:schemeClr val="accent1"/>
                </a:solidFill>
              </a:defRPr>
            </a:lvl1pPr>
            <a:lvl2pPr marL="104775" indent="-104775" algn="l" rtl="0">
              <a:spcAft>
                <a:spcPts val="0"/>
              </a:spcAft>
              <a:buClrTx/>
              <a:buSzPct val="100000"/>
              <a:buFont typeface="Arial" panose="020B0604020202020204" pitchFamily="34" charset="0"/>
              <a:buChar char="•"/>
              <a:defRPr sz="1200"/>
            </a:lvl2pPr>
            <a:lvl3pPr marL="228600" indent="-104775" algn="l" rtl="0">
              <a:spcAft>
                <a:spcPts val="0"/>
              </a:spcAft>
              <a:buClrTx/>
              <a:buSzPct val="100000"/>
              <a:buFont typeface="Arial" panose="020B0604020202020204" pitchFamily="34" charset="0"/>
              <a:buChar char="−"/>
              <a:defRPr sz="1200"/>
            </a:lvl3pPr>
            <a:lvl4pPr marL="352425" indent="-104775" algn="l" rtl="0">
              <a:spcAft>
                <a:spcPts val="0"/>
              </a:spcAft>
              <a:buClrTx/>
              <a:buSzPct val="100000"/>
              <a:buFont typeface="Arial" panose="020B0604020202020204" pitchFamily="34" charset="0"/>
              <a:buChar char="◦"/>
              <a:defRPr sz="1200"/>
            </a:lvl4pPr>
            <a:lvl5pPr marL="476250" indent="-104775" algn="l" rtl="0">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4" name="Text center left" hidden="1">
            <a:extLst>
              <a:ext uri="{FF2B5EF4-FFF2-40B4-BE49-F238E27FC236}">
                <a16:creationId xmlns:a16="http://schemas.microsoft.com/office/drawing/2014/main" id="{0EDB9492-A5FE-44CC-90D8-0E0E80A4E813}"/>
              </a:ext>
            </a:extLst>
          </p:cNvPr>
          <p:cNvSpPr>
            <a:spLocks noGrp="1"/>
          </p:cNvSpPr>
          <p:nvPr>
            <p:ph type="body" sz="quarter" idx="19" hasCustomPrompt="1"/>
            <p:custDataLst>
              <p:tags r:id="rId6"/>
            </p:custDataLst>
          </p:nvPr>
        </p:nvSpPr>
        <p:spPr>
          <a:xfrm>
            <a:off x="3330040" y="3124202"/>
            <a:ext cx="2712000" cy="3238499"/>
          </a:xfrm>
        </p:spPr>
        <p:txBody>
          <a:bodyPr>
            <a:noAutofit/>
          </a:bodyPr>
          <a:lstStyle>
            <a:lvl1pPr marL="0" indent="0" algn="l" rtl="0">
              <a:buFontTx/>
              <a:buNone/>
              <a:defRPr sz="1200" b="1">
                <a:solidFill>
                  <a:schemeClr val="accent1"/>
                </a:solidFill>
              </a:defRPr>
            </a:lvl1pPr>
            <a:lvl2pPr marL="104775" indent="-104775" algn="l" rtl="0">
              <a:spcAft>
                <a:spcPts val="0"/>
              </a:spcAft>
              <a:buClrTx/>
              <a:buSzPct val="100000"/>
              <a:buFont typeface="Arial" panose="020B0604020202020204" pitchFamily="34" charset="0"/>
              <a:buChar char="•"/>
              <a:defRPr sz="1200"/>
            </a:lvl2pPr>
            <a:lvl3pPr marL="228600" indent="-104775" algn="l" rtl="0">
              <a:spcAft>
                <a:spcPts val="0"/>
              </a:spcAft>
              <a:buClrTx/>
              <a:buSzPct val="100000"/>
              <a:buFont typeface="Arial" panose="020B0604020202020204" pitchFamily="34" charset="0"/>
              <a:buChar char="−"/>
              <a:defRPr sz="1200"/>
            </a:lvl3pPr>
            <a:lvl4pPr marL="352425" indent="-104775" algn="l" rtl="0">
              <a:spcAft>
                <a:spcPts val="0"/>
              </a:spcAft>
              <a:buClrTx/>
              <a:buSzPct val="100000"/>
              <a:buFont typeface="Arial" panose="020B0604020202020204" pitchFamily="34" charset="0"/>
              <a:buChar char="◦"/>
              <a:defRPr sz="1200"/>
            </a:lvl4pPr>
            <a:lvl5pPr marL="476250" indent="-104775" algn="l" rtl="0">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5" name="Text right" hidden="1">
            <a:extLst>
              <a:ext uri="{FF2B5EF4-FFF2-40B4-BE49-F238E27FC236}">
                <a16:creationId xmlns:a16="http://schemas.microsoft.com/office/drawing/2014/main" id="{3D335E86-FA3A-4B76-B4D1-5D530C4E3791}"/>
              </a:ext>
            </a:extLst>
          </p:cNvPr>
          <p:cNvSpPr>
            <a:spLocks noGrp="1"/>
          </p:cNvSpPr>
          <p:nvPr>
            <p:ph type="body" sz="quarter" idx="20" hasCustomPrompt="1"/>
            <p:custDataLst>
              <p:tags r:id="rId7"/>
            </p:custDataLst>
          </p:nvPr>
        </p:nvSpPr>
        <p:spPr>
          <a:xfrm>
            <a:off x="9035701" y="3108508"/>
            <a:ext cx="2697183" cy="3254192"/>
          </a:xfrm>
        </p:spPr>
        <p:txBody>
          <a:bodyPr>
            <a:noAutofit/>
          </a:bodyPr>
          <a:lstStyle>
            <a:lvl1pPr marL="0" indent="0" algn="l" rtl="0">
              <a:buFontTx/>
              <a:buNone/>
              <a:defRPr sz="1200" b="1">
                <a:solidFill>
                  <a:schemeClr val="accent1"/>
                </a:solidFill>
              </a:defRPr>
            </a:lvl1pPr>
            <a:lvl2pPr marL="104775" indent="-104775" algn="l" rtl="0">
              <a:spcAft>
                <a:spcPts val="0"/>
              </a:spcAft>
              <a:buClrTx/>
              <a:buSzPct val="100000"/>
              <a:buFont typeface="Arial" panose="020B0604020202020204" pitchFamily="34" charset="0"/>
              <a:buChar char="•"/>
              <a:defRPr sz="1200"/>
            </a:lvl2pPr>
            <a:lvl3pPr marL="228600" indent="-104775" algn="l" rtl="0">
              <a:spcAft>
                <a:spcPts val="0"/>
              </a:spcAft>
              <a:buClrTx/>
              <a:buSzPct val="100000"/>
              <a:buFont typeface="Arial" panose="020B0604020202020204" pitchFamily="34" charset="0"/>
              <a:buChar char="−"/>
              <a:defRPr sz="1200"/>
            </a:lvl3pPr>
            <a:lvl4pPr marL="352425" indent="-104775" algn="l" rtl="0">
              <a:spcAft>
                <a:spcPts val="0"/>
              </a:spcAft>
              <a:buClrTx/>
              <a:buSzPct val="100000"/>
              <a:buFont typeface="Arial" panose="020B0604020202020204" pitchFamily="34" charset="0"/>
              <a:buChar char="◦"/>
              <a:defRPr sz="1200"/>
            </a:lvl4pPr>
            <a:lvl5pPr marL="476250" indent="-104775" algn="l" rtl="0">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Tree>
    <p:extLst>
      <p:ext uri="{BB962C8B-B14F-4D97-AF65-F5344CB8AC3E}">
        <p14:creationId xmlns:p14="http://schemas.microsoft.com/office/powerpoint/2010/main" val="372476613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9FCEC0D-097F-12A0-CA64-58B319314D95}"/>
              </a:ext>
            </a:extLst>
          </p:cNvPr>
          <p:cNvGraphicFramePr>
            <a:graphicFrameLocks noChangeAspect="1"/>
          </p:cNvGraphicFramePr>
          <p:nvPr userDrawn="1">
            <p:custDataLst>
              <p:tags r:id="rId1"/>
            </p:custDataLst>
            <p:extLst>
              <p:ext uri="{D42A27DB-BD31-4B8C-83A1-F6EECF244321}">
                <p14:modId xmlns:p14="http://schemas.microsoft.com/office/powerpoint/2010/main" val="2148543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478" imgH="479" progId="TCLayout.ActiveDocument.1">
                  <p:embed/>
                </p:oleObj>
              </mc:Choice>
              <mc:Fallback>
                <p:oleObj name="think-cell Folie" r:id="rId11" imgW="478" imgH="479" progId="TCLayout.ActiveDocument.1">
                  <p:embed/>
                  <p:pic>
                    <p:nvPicPr>
                      <p:cNvPr id="3" name="think-cell data - do not delete" hidden="1">
                        <a:extLst>
                          <a:ext uri="{FF2B5EF4-FFF2-40B4-BE49-F238E27FC236}">
                            <a16:creationId xmlns:a16="http://schemas.microsoft.com/office/drawing/2014/main" id="{99FCEC0D-097F-12A0-CA64-58B319314D9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3" name="Subtitle" hidden="1">
            <a:extLst>
              <a:ext uri="{FF2B5EF4-FFF2-40B4-BE49-F238E27FC236}">
                <a16:creationId xmlns:a16="http://schemas.microsoft.com/office/drawing/2014/main" id="{5BECBA53-5CA5-4826-B507-38E5EDBC4936}"/>
              </a:ext>
            </a:extLst>
          </p:cNvPr>
          <p:cNvSpPr>
            <a:spLocks noGrp="1"/>
          </p:cNvSpPr>
          <p:nvPr>
            <p:ph type="body" sz="quarter" idx="25" hasCustomPrompt="1"/>
            <p:custDataLst>
              <p:tags r:id="rId2"/>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bg1"/>
                </a:solidFill>
              </a:defRPr>
            </a:lvl1pPr>
          </a:lstStyle>
          <a:p>
            <a:pPr lvl="0"/>
            <a:r>
              <a:rPr lang="de-DE"/>
              <a:t>Click to add subtitle</a:t>
            </a:r>
          </a:p>
        </p:txBody>
      </p:sp>
      <p:sp>
        <p:nvSpPr>
          <p:cNvPr id="14" name="Title" hidden="1">
            <a:extLst>
              <a:ext uri="{FF2B5EF4-FFF2-40B4-BE49-F238E27FC236}">
                <a16:creationId xmlns:a16="http://schemas.microsoft.com/office/drawing/2014/main" id="{83571CF0-9FB3-44B1-BE19-B891DD1B11A0}"/>
              </a:ext>
            </a:extLst>
          </p:cNvPr>
          <p:cNvSpPr>
            <a:spLocks noGrp="1"/>
          </p:cNvSpPr>
          <p:nvPr>
            <p:ph type="title" hasCustomPrompt="1"/>
            <p:custDataLst>
              <p:tags r:id="rId3"/>
            </p:custDataLst>
          </p:nvPr>
        </p:nvSpPr>
        <p:spPr>
          <a:xfrm>
            <a:off x="463295" y="345992"/>
            <a:ext cx="11277600" cy="334099"/>
          </a:xfrm>
          <a:prstGeom prst="rect">
            <a:avLst/>
          </a:prstGeom>
        </p:spPr>
        <p:txBody>
          <a:bodyPr vert="horz" lIns="0" tIns="0" rIns="0" bIns="0" rtlCol="0" anchor="t" anchorCtr="0">
            <a:noAutofit/>
          </a:bodyPr>
          <a:lstStyle>
            <a:lvl1pPr rtl="0">
              <a:defRPr sz="2100">
                <a:solidFill>
                  <a:schemeClr val="bg1"/>
                </a:solidFill>
                <a:latin typeface="+mj-lt"/>
              </a:defRPr>
            </a:lvl1pPr>
          </a:lstStyle>
          <a:p>
            <a:r>
              <a:rPr lang="de-DE"/>
              <a:t>Click to add title</a:t>
            </a:r>
          </a:p>
        </p:txBody>
      </p:sp>
      <p:sp>
        <p:nvSpPr>
          <p:cNvPr id="15" name="Text left" hidden="1">
            <a:extLst>
              <a:ext uri="{FF2B5EF4-FFF2-40B4-BE49-F238E27FC236}">
                <a16:creationId xmlns:a16="http://schemas.microsoft.com/office/drawing/2014/main" id="{CA32CD74-2C13-40B4-A25F-8871032067FB}"/>
              </a:ext>
            </a:extLst>
          </p:cNvPr>
          <p:cNvSpPr>
            <a:spLocks noGrp="1"/>
          </p:cNvSpPr>
          <p:nvPr>
            <p:ph type="body" sz="quarter" idx="17" hasCustomPrompt="1"/>
            <p:custDataLst>
              <p:tags r:id="rId4"/>
            </p:custDataLst>
          </p:nvPr>
        </p:nvSpPr>
        <p:spPr>
          <a:xfrm>
            <a:off x="473297" y="3124200"/>
            <a:ext cx="2720468" cy="3238500"/>
          </a:xfrm>
        </p:spPr>
        <p:txBody>
          <a:bodyPr>
            <a:noAutofit/>
          </a:bodyPr>
          <a:lstStyle>
            <a:lvl1pPr marL="0" indent="0" algn="l" rtl="0">
              <a:buFontTx/>
              <a:buNone/>
              <a:defRPr sz="1200" b="1">
                <a:solidFill>
                  <a:schemeClr val="bg1"/>
                </a:solidFill>
              </a:defRPr>
            </a:lvl1pPr>
            <a:lvl2pPr marL="104775" indent="-104775" algn="l" rtl="0">
              <a:spcAft>
                <a:spcPts val="0"/>
              </a:spcAft>
              <a:buClrTx/>
              <a:buSzPct val="100000"/>
              <a:buFont typeface="Arial" panose="020B0604020202020204" pitchFamily="34" charset="0"/>
              <a:buChar char="•"/>
              <a:defRPr sz="1200">
                <a:solidFill>
                  <a:schemeClr val="bg1"/>
                </a:solidFill>
              </a:defRPr>
            </a:lvl2pPr>
            <a:lvl3pPr marL="228600" indent="-104775" algn="l" rtl="0">
              <a:spcAft>
                <a:spcPts val="0"/>
              </a:spcAft>
              <a:buClrTx/>
              <a:buSzPct val="100000"/>
              <a:buFont typeface="Arial" panose="020B0604020202020204" pitchFamily="34" charset="0"/>
              <a:buChar char="−"/>
              <a:defRPr sz="1200">
                <a:solidFill>
                  <a:schemeClr val="bg1"/>
                </a:solidFill>
              </a:defRPr>
            </a:lvl3pPr>
            <a:lvl4pPr marL="352425" indent="-104775" algn="l" rtl="0">
              <a:spcAft>
                <a:spcPts val="0"/>
              </a:spcAft>
              <a:buClrTx/>
              <a:buSzPct val="100000"/>
              <a:buFont typeface="Arial" panose="020B0604020202020204" pitchFamily="34" charset="0"/>
              <a:buChar char="◦"/>
              <a:defRPr sz="1200">
                <a:solidFill>
                  <a:schemeClr val="bg1"/>
                </a:solidFill>
              </a:defRPr>
            </a:lvl4pPr>
            <a:lvl5pPr marL="476250" indent="-104775" algn="l" rtl="0">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9" name="Text center right" hidden="1">
            <a:extLst>
              <a:ext uri="{FF2B5EF4-FFF2-40B4-BE49-F238E27FC236}">
                <a16:creationId xmlns:a16="http://schemas.microsoft.com/office/drawing/2014/main" id="{0BD8344B-373A-4CA8-9F91-E02B0DA48BC6}"/>
              </a:ext>
            </a:extLst>
          </p:cNvPr>
          <p:cNvSpPr>
            <a:spLocks noGrp="1"/>
          </p:cNvSpPr>
          <p:nvPr>
            <p:ph type="body" sz="quarter" idx="18" hasCustomPrompt="1"/>
            <p:custDataLst>
              <p:tags r:id="rId5"/>
            </p:custDataLst>
          </p:nvPr>
        </p:nvSpPr>
        <p:spPr>
          <a:xfrm>
            <a:off x="6171687" y="3120553"/>
            <a:ext cx="2712000" cy="3238500"/>
          </a:xfrm>
        </p:spPr>
        <p:txBody>
          <a:bodyPr>
            <a:noAutofit/>
          </a:bodyPr>
          <a:lstStyle>
            <a:lvl1pPr marL="0" indent="0" algn="l" rtl="0">
              <a:buFontTx/>
              <a:buNone/>
              <a:defRPr sz="1200" b="1">
                <a:solidFill>
                  <a:schemeClr val="bg1"/>
                </a:solidFill>
              </a:defRPr>
            </a:lvl1pPr>
            <a:lvl2pPr marL="104775" indent="-104775" algn="l" rtl="0">
              <a:spcAft>
                <a:spcPts val="0"/>
              </a:spcAft>
              <a:buClrTx/>
              <a:buSzPct val="100000"/>
              <a:buFont typeface="Arial" panose="020B0604020202020204" pitchFamily="34" charset="0"/>
              <a:buChar char="•"/>
              <a:defRPr sz="1200">
                <a:solidFill>
                  <a:schemeClr val="bg1"/>
                </a:solidFill>
              </a:defRPr>
            </a:lvl2pPr>
            <a:lvl3pPr marL="228600" indent="-104775" algn="l" rtl="0">
              <a:spcAft>
                <a:spcPts val="0"/>
              </a:spcAft>
              <a:buClrTx/>
              <a:buSzPct val="100000"/>
              <a:buFont typeface="Arial" panose="020B0604020202020204" pitchFamily="34" charset="0"/>
              <a:buChar char="−"/>
              <a:defRPr sz="1200">
                <a:solidFill>
                  <a:schemeClr val="bg1"/>
                </a:solidFill>
              </a:defRPr>
            </a:lvl3pPr>
            <a:lvl4pPr marL="352425" indent="-104775" algn="l" rtl="0">
              <a:spcAft>
                <a:spcPts val="0"/>
              </a:spcAft>
              <a:buClrTx/>
              <a:buSzPct val="100000"/>
              <a:buFont typeface="Arial" panose="020B0604020202020204" pitchFamily="34" charset="0"/>
              <a:buChar char="◦"/>
              <a:defRPr sz="1200">
                <a:solidFill>
                  <a:schemeClr val="bg1"/>
                </a:solidFill>
              </a:defRPr>
            </a:lvl4pPr>
            <a:lvl5pPr marL="476250" indent="-104775" algn="l" rtl="0">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20" name="Text center left" hidden="1">
            <a:extLst>
              <a:ext uri="{FF2B5EF4-FFF2-40B4-BE49-F238E27FC236}">
                <a16:creationId xmlns:a16="http://schemas.microsoft.com/office/drawing/2014/main" id="{55636606-D676-4661-AF12-C0DF71DF3A73}"/>
              </a:ext>
            </a:extLst>
          </p:cNvPr>
          <p:cNvSpPr>
            <a:spLocks noGrp="1"/>
          </p:cNvSpPr>
          <p:nvPr>
            <p:ph type="body" sz="quarter" idx="19" hasCustomPrompt="1"/>
            <p:custDataLst>
              <p:tags r:id="rId6"/>
            </p:custDataLst>
          </p:nvPr>
        </p:nvSpPr>
        <p:spPr>
          <a:xfrm>
            <a:off x="3330040" y="3124202"/>
            <a:ext cx="2712000" cy="3238499"/>
          </a:xfrm>
        </p:spPr>
        <p:txBody>
          <a:bodyPr>
            <a:noAutofit/>
          </a:bodyPr>
          <a:lstStyle>
            <a:lvl1pPr marL="0" indent="0" algn="l" rtl="0">
              <a:buFontTx/>
              <a:buNone/>
              <a:defRPr sz="1200" b="1">
                <a:solidFill>
                  <a:schemeClr val="bg1"/>
                </a:solidFill>
              </a:defRPr>
            </a:lvl1pPr>
            <a:lvl2pPr marL="104775" indent="-104775" algn="l" rtl="0">
              <a:spcAft>
                <a:spcPts val="0"/>
              </a:spcAft>
              <a:buClrTx/>
              <a:buSzPct val="100000"/>
              <a:buFont typeface="Arial" panose="020B0604020202020204" pitchFamily="34" charset="0"/>
              <a:buChar char="•"/>
              <a:defRPr sz="1200">
                <a:solidFill>
                  <a:schemeClr val="bg1"/>
                </a:solidFill>
              </a:defRPr>
            </a:lvl2pPr>
            <a:lvl3pPr marL="228600" indent="-104775" algn="l" rtl="0">
              <a:spcAft>
                <a:spcPts val="0"/>
              </a:spcAft>
              <a:buClrTx/>
              <a:buSzPct val="100000"/>
              <a:buFont typeface="Arial" panose="020B0604020202020204" pitchFamily="34" charset="0"/>
              <a:buChar char="−"/>
              <a:defRPr sz="1200">
                <a:solidFill>
                  <a:schemeClr val="bg1"/>
                </a:solidFill>
              </a:defRPr>
            </a:lvl3pPr>
            <a:lvl4pPr marL="352425" indent="-104775" algn="l" rtl="0">
              <a:spcAft>
                <a:spcPts val="0"/>
              </a:spcAft>
              <a:buClrTx/>
              <a:buSzPct val="100000"/>
              <a:buFont typeface="Arial" panose="020B0604020202020204" pitchFamily="34" charset="0"/>
              <a:buChar char="◦"/>
              <a:defRPr sz="1200">
                <a:solidFill>
                  <a:schemeClr val="bg1"/>
                </a:solidFill>
              </a:defRPr>
            </a:lvl4pPr>
            <a:lvl5pPr marL="476250" indent="-104775" algn="l" rtl="0">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21" name="Text right" hidden="1">
            <a:extLst>
              <a:ext uri="{FF2B5EF4-FFF2-40B4-BE49-F238E27FC236}">
                <a16:creationId xmlns:a16="http://schemas.microsoft.com/office/drawing/2014/main" id="{59A4F706-D410-4A3E-B5DE-E6CD51845EA7}"/>
              </a:ext>
            </a:extLst>
          </p:cNvPr>
          <p:cNvSpPr>
            <a:spLocks noGrp="1"/>
          </p:cNvSpPr>
          <p:nvPr>
            <p:ph type="body" sz="quarter" idx="20" hasCustomPrompt="1"/>
            <p:custDataLst>
              <p:tags r:id="rId7"/>
            </p:custDataLst>
          </p:nvPr>
        </p:nvSpPr>
        <p:spPr>
          <a:xfrm>
            <a:off x="9035701" y="3108508"/>
            <a:ext cx="2697183" cy="3254192"/>
          </a:xfrm>
        </p:spPr>
        <p:txBody>
          <a:bodyPr>
            <a:noAutofit/>
          </a:bodyPr>
          <a:lstStyle>
            <a:lvl1pPr marL="0" indent="0" algn="l" rtl="0">
              <a:buFontTx/>
              <a:buNone/>
              <a:defRPr sz="1200" b="1">
                <a:solidFill>
                  <a:schemeClr val="bg1"/>
                </a:solidFill>
              </a:defRPr>
            </a:lvl1pPr>
            <a:lvl2pPr marL="104775" indent="-104775" algn="l" rtl="0">
              <a:spcAft>
                <a:spcPts val="0"/>
              </a:spcAft>
              <a:buClrTx/>
              <a:buSzPct val="100000"/>
              <a:buFont typeface="Arial" panose="020B0604020202020204" pitchFamily="34" charset="0"/>
              <a:buChar char="•"/>
              <a:defRPr sz="1200">
                <a:solidFill>
                  <a:schemeClr val="bg1"/>
                </a:solidFill>
              </a:defRPr>
            </a:lvl2pPr>
            <a:lvl3pPr marL="228600" indent="-104775" algn="l" rtl="0">
              <a:spcAft>
                <a:spcPts val="0"/>
              </a:spcAft>
              <a:buClrTx/>
              <a:buSzPct val="100000"/>
              <a:buFont typeface="Arial" panose="020B0604020202020204" pitchFamily="34" charset="0"/>
              <a:buChar char="−"/>
              <a:defRPr sz="1200">
                <a:solidFill>
                  <a:schemeClr val="bg1"/>
                </a:solidFill>
              </a:defRPr>
            </a:lvl3pPr>
            <a:lvl4pPr marL="352425" indent="-104775" algn="l" rtl="0">
              <a:spcAft>
                <a:spcPts val="0"/>
              </a:spcAft>
              <a:buClrTx/>
              <a:buSzPct val="100000"/>
              <a:buFont typeface="Arial" panose="020B0604020202020204" pitchFamily="34" charset="0"/>
              <a:buChar char="◦"/>
              <a:defRPr sz="1200">
                <a:solidFill>
                  <a:schemeClr val="bg1"/>
                </a:solidFill>
              </a:defRPr>
            </a:lvl4pPr>
            <a:lvl5pPr marL="476250" indent="-104775" algn="l" rtl="0">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6" name="CaseCode" hidden="1">
            <a:extLst>
              <a:ext uri="{FF2B5EF4-FFF2-40B4-BE49-F238E27FC236}">
                <a16:creationId xmlns:a16="http://schemas.microsoft.com/office/drawing/2014/main" id="{80722BCF-EAC6-4563-95CB-8DBE842E9D04}"/>
              </a:ext>
            </a:extLst>
          </p:cNvPr>
          <p:cNvSpPr txBox="1"/>
          <p:nvPr>
            <p:custDataLst>
              <p:tags r:id="rId8"/>
            </p:custDataLst>
          </p:nvPr>
        </p:nvSpPr>
        <p:spPr>
          <a:xfrm>
            <a:off x="6335184" y="6519673"/>
            <a:ext cx="4896560" cy="276999"/>
          </a:xfrm>
          <a:prstGeom prst="rect">
            <a:avLst/>
          </a:prstGeom>
          <a:noFill/>
        </p:spPr>
        <p:txBody>
          <a:bodyPr wrap="square" lIns="0" tIns="0" rIns="0" bIns="0" rtlCol="0">
            <a:spAutoFit/>
          </a:bodyPr>
          <a:lstStyle/>
          <a:p>
            <a:pPr marL="0" indent="0" algn="r" rtl="0">
              <a:spcBef>
                <a:spcPts val="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Presentation title</a:t>
            </a:r>
            <a:br>
              <a:rPr lang="de-DE" sz="900" baseline="0" noProof="0">
                <a:solidFill>
                  <a:schemeClr val="bg1"/>
                </a:solidFill>
                <a:latin typeface="Calibri" panose="020F0502020204030204" pitchFamily="34" charset="0"/>
                <a:cs typeface="Calibri" panose="020F0502020204030204" pitchFamily="34" charset="0"/>
              </a:rPr>
            </a:br>
            <a:r>
              <a:rPr lang="de-DE"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7" name="Copyright" hidden="1">
            <a:extLst>
              <a:ext uri="{FF2B5EF4-FFF2-40B4-BE49-F238E27FC236}">
                <a16:creationId xmlns:a16="http://schemas.microsoft.com/office/drawing/2014/main" id="{C900FBF6-54F6-4B67-A1F3-CFB545048C2A}"/>
              </a:ext>
            </a:extLst>
          </p:cNvPr>
          <p:cNvSpPr txBox="1"/>
          <p:nvPr>
            <p:custDataLst>
              <p:tags r:id="rId9"/>
            </p:custDataLst>
          </p:nvPr>
        </p:nvSpPr>
        <p:spPr>
          <a:xfrm>
            <a:off x="457200" y="6515063"/>
            <a:ext cx="5355168" cy="138499"/>
          </a:xfrm>
          <a:prstGeom prst="rect">
            <a:avLst/>
          </a:prstGeom>
          <a:noFill/>
        </p:spPr>
        <p:txBody>
          <a:bodyPr wrap="square" lIns="0" tIns="0" rIns="0" bIns="0" rtlCol="0">
            <a:spAutoFit/>
          </a:bodyPr>
          <a:lstStyle/>
          <a:p>
            <a:pPr marL="0" indent="0" rtl="0">
              <a:spcBef>
                <a:spcPts val="45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Deloitte 2025</a:t>
            </a:r>
          </a:p>
        </p:txBody>
      </p:sp>
      <p:sp>
        <p:nvSpPr>
          <p:cNvPr id="22" name="TextBox 21">
            <a:extLst>
              <a:ext uri="{FF2B5EF4-FFF2-40B4-BE49-F238E27FC236}">
                <a16:creationId xmlns:a16="http://schemas.microsoft.com/office/drawing/2014/main" id="{168D3198-C277-4239-A0FE-263D3F9A09AF}"/>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de-DE" sz="900" baseline="0" noProof="0" smtClean="0">
                <a:solidFill>
                  <a:schemeClr val="bg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de-DE"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5354943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A8EB5A-ACA6-4E3F-CACA-45AB336775D3}"/>
              </a:ext>
            </a:extLst>
          </p:cNvPr>
          <p:cNvGraphicFramePr>
            <a:graphicFrameLocks noChangeAspect="1"/>
          </p:cNvGraphicFramePr>
          <p:nvPr userDrawn="1">
            <p:custDataLst>
              <p:tags r:id="rId1"/>
            </p:custDataLst>
            <p:extLst>
              <p:ext uri="{D42A27DB-BD31-4B8C-83A1-F6EECF244321}">
                <p14:modId xmlns:p14="http://schemas.microsoft.com/office/powerpoint/2010/main" val="2630688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478" imgH="479" progId="TCLayout.ActiveDocument.1">
                  <p:embed/>
                </p:oleObj>
              </mc:Choice>
              <mc:Fallback>
                <p:oleObj name="think-cell Folie" r:id="rId17" imgW="478" imgH="479" progId="TCLayout.ActiveDocument.1">
                  <p:embed/>
                  <p:pic>
                    <p:nvPicPr>
                      <p:cNvPr id="3" name="think-cell data - do not delete" hidden="1">
                        <a:extLst>
                          <a:ext uri="{FF2B5EF4-FFF2-40B4-BE49-F238E27FC236}">
                            <a16:creationId xmlns:a16="http://schemas.microsoft.com/office/drawing/2014/main" id="{F5A8EB5A-ACA6-4E3F-CACA-45AB336775D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Picture Placeholder 29" hidden="1"/>
          <p:cNvSpPr>
            <a:spLocks noGrp="1"/>
          </p:cNvSpPr>
          <p:nvPr>
            <p:ph type="pic" sz="quarter" idx="20" hasCustomPrompt="1"/>
            <p:custDataLst>
              <p:tags r:id="rId2"/>
            </p:custDataLst>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de-DE" sz="900">
                <a:solidFill>
                  <a:schemeClr val="bg1"/>
                </a:solidFill>
              </a:rPr>
              <a:t>Co-brand</a:t>
            </a:r>
            <a:br>
              <a:rPr lang="de-DE" sz="900">
                <a:solidFill>
                  <a:schemeClr val="bg1"/>
                </a:solidFill>
              </a:rPr>
            </a:br>
            <a:r>
              <a:rPr lang="de-DE" sz="900">
                <a:solidFill>
                  <a:schemeClr val="bg1"/>
                </a:solidFill>
              </a:rPr>
              <a:t>Logo</a:t>
            </a:r>
          </a:p>
          <a:p>
            <a:endParaRPr lang="de-DE"/>
          </a:p>
        </p:txBody>
      </p:sp>
      <p:sp>
        <p:nvSpPr>
          <p:cNvPr id="14" name="Picture Placeholder 29" hidden="1"/>
          <p:cNvSpPr>
            <a:spLocks noGrp="1"/>
          </p:cNvSpPr>
          <p:nvPr>
            <p:ph type="pic" sz="quarter" idx="24" hasCustomPrompt="1"/>
            <p:custDataLst>
              <p:tags r:id="rId3"/>
            </p:custDataLst>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de-DE" sz="900">
                <a:solidFill>
                  <a:schemeClr val="bg1"/>
                </a:solidFill>
              </a:rPr>
              <a:t>Co-brand</a:t>
            </a:r>
            <a:br>
              <a:rPr lang="de-DE" sz="900">
                <a:solidFill>
                  <a:schemeClr val="bg1"/>
                </a:solidFill>
              </a:rPr>
            </a:br>
            <a:r>
              <a:rPr lang="de-DE" sz="900">
                <a:solidFill>
                  <a:schemeClr val="bg1"/>
                </a:solidFill>
              </a:rPr>
              <a:t>Logo</a:t>
            </a:r>
          </a:p>
          <a:p>
            <a:endParaRPr lang="de-DE"/>
          </a:p>
        </p:txBody>
      </p:sp>
      <p:sp>
        <p:nvSpPr>
          <p:cNvPr id="15" name="Picture Placeholder 29" hidden="1"/>
          <p:cNvSpPr>
            <a:spLocks noGrp="1"/>
          </p:cNvSpPr>
          <p:nvPr>
            <p:ph type="pic" sz="quarter" idx="25" hasCustomPrompt="1"/>
            <p:custDataLst>
              <p:tags r:id="rId4"/>
            </p:custDataLst>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de-DE" sz="900">
                <a:solidFill>
                  <a:schemeClr val="bg1"/>
                </a:solidFill>
              </a:rPr>
              <a:t>Co-brand</a:t>
            </a:r>
            <a:br>
              <a:rPr lang="de-DE" sz="900">
                <a:solidFill>
                  <a:schemeClr val="bg1"/>
                </a:solidFill>
              </a:rPr>
            </a:br>
            <a:r>
              <a:rPr lang="de-DE" sz="900">
                <a:solidFill>
                  <a:schemeClr val="bg1"/>
                </a:solidFill>
              </a:rPr>
              <a:t>Logo</a:t>
            </a:r>
          </a:p>
          <a:p>
            <a:endParaRPr lang="de-DE"/>
          </a:p>
        </p:txBody>
      </p:sp>
      <p:sp>
        <p:nvSpPr>
          <p:cNvPr id="17" name="Picture Placeholder 29" hidden="1"/>
          <p:cNvSpPr>
            <a:spLocks noGrp="1"/>
          </p:cNvSpPr>
          <p:nvPr>
            <p:ph type="pic" sz="quarter" idx="19" hasCustomPrompt="1"/>
            <p:custDataLst>
              <p:tags r:id="rId5"/>
            </p:custDataLst>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de-DE" sz="900">
                <a:solidFill>
                  <a:schemeClr val="bg1"/>
                </a:solidFill>
              </a:rPr>
              <a:t>Co-brand</a:t>
            </a:r>
            <a:br>
              <a:rPr lang="de-DE" sz="900">
                <a:solidFill>
                  <a:schemeClr val="bg1"/>
                </a:solidFill>
              </a:rPr>
            </a:br>
            <a:r>
              <a:rPr lang="de-DE" sz="900">
                <a:solidFill>
                  <a:schemeClr val="bg1"/>
                </a:solidFill>
              </a:rPr>
              <a:t>Logo</a:t>
            </a:r>
          </a:p>
          <a:p>
            <a:endParaRPr lang="de-DE"/>
          </a:p>
        </p:txBody>
      </p:sp>
      <p:sp>
        <p:nvSpPr>
          <p:cNvPr id="28" name="Text top left" hidden="1">
            <a:extLst>
              <a:ext uri="{FF2B5EF4-FFF2-40B4-BE49-F238E27FC236}">
                <a16:creationId xmlns:a16="http://schemas.microsoft.com/office/drawing/2014/main" id="{0D485CFD-E778-438B-9F95-AA857AF5CACE}"/>
              </a:ext>
            </a:extLst>
          </p:cNvPr>
          <p:cNvSpPr>
            <a:spLocks noGrp="1"/>
          </p:cNvSpPr>
          <p:nvPr>
            <p:ph type="body" sz="quarter" idx="17" hasCustomPrompt="1"/>
            <p:custDataLst>
              <p:tags r:id="rId6"/>
            </p:custDataLst>
          </p:nvPr>
        </p:nvSpPr>
        <p:spPr>
          <a:xfrm>
            <a:off x="470344" y="1856232"/>
            <a:ext cx="5473257" cy="1695450"/>
          </a:xfrm>
        </p:spPr>
        <p:txBody>
          <a:bodyPr>
            <a:noAutofit/>
          </a:bodyPr>
          <a:lstStyle>
            <a:lvl1pPr marL="0" indent="0" algn="l" rtl="0">
              <a:buFontTx/>
              <a:buNone/>
              <a:defRPr sz="1200" b="1">
                <a:solidFill>
                  <a:schemeClr val="accent1"/>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29" name="Text top right" hidden="1">
            <a:extLst>
              <a:ext uri="{FF2B5EF4-FFF2-40B4-BE49-F238E27FC236}">
                <a16:creationId xmlns:a16="http://schemas.microsoft.com/office/drawing/2014/main" id="{1995C2BA-4183-48F4-92D9-4620CCDF5C16}"/>
              </a:ext>
            </a:extLst>
          </p:cNvPr>
          <p:cNvSpPr>
            <a:spLocks noGrp="1"/>
          </p:cNvSpPr>
          <p:nvPr>
            <p:ph type="body" sz="quarter" idx="26" hasCustomPrompt="1"/>
            <p:custDataLst>
              <p:tags r:id="rId7"/>
            </p:custDataLst>
          </p:nvPr>
        </p:nvSpPr>
        <p:spPr>
          <a:xfrm>
            <a:off x="6257042" y="1847618"/>
            <a:ext cx="5464615" cy="1695450"/>
          </a:xfrm>
        </p:spPr>
        <p:txBody>
          <a:bodyPr>
            <a:noAutofit/>
          </a:bodyPr>
          <a:lstStyle>
            <a:lvl1pPr marL="0" indent="0" algn="l" rtl="0">
              <a:buFontTx/>
              <a:buNone/>
              <a:defRPr sz="1200" b="1">
                <a:solidFill>
                  <a:schemeClr val="accent1"/>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30" name="Text bottom left" hidden="1">
            <a:extLst>
              <a:ext uri="{FF2B5EF4-FFF2-40B4-BE49-F238E27FC236}">
                <a16:creationId xmlns:a16="http://schemas.microsoft.com/office/drawing/2014/main" id="{2DC3B9DA-0A51-491C-923B-09D36118ADA0}"/>
              </a:ext>
            </a:extLst>
          </p:cNvPr>
          <p:cNvSpPr>
            <a:spLocks noGrp="1"/>
          </p:cNvSpPr>
          <p:nvPr>
            <p:ph type="body" sz="quarter" idx="27" hasCustomPrompt="1"/>
            <p:custDataLst>
              <p:tags r:id="rId8"/>
            </p:custDataLst>
          </p:nvPr>
        </p:nvSpPr>
        <p:spPr>
          <a:xfrm>
            <a:off x="470344" y="4256623"/>
            <a:ext cx="5473257" cy="1695450"/>
          </a:xfrm>
        </p:spPr>
        <p:txBody>
          <a:bodyPr>
            <a:noAutofit/>
          </a:bodyPr>
          <a:lstStyle>
            <a:lvl1pPr marL="0" indent="0" algn="l" rtl="0">
              <a:buFontTx/>
              <a:buNone/>
              <a:defRPr sz="1200" b="1">
                <a:solidFill>
                  <a:schemeClr val="accent1"/>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31" name="Text bottom right" hidden="1">
            <a:extLst>
              <a:ext uri="{FF2B5EF4-FFF2-40B4-BE49-F238E27FC236}">
                <a16:creationId xmlns:a16="http://schemas.microsoft.com/office/drawing/2014/main" id="{70BD43BA-DF89-409F-B9BF-2853EC358260}"/>
              </a:ext>
            </a:extLst>
          </p:cNvPr>
          <p:cNvSpPr>
            <a:spLocks noGrp="1"/>
          </p:cNvSpPr>
          <p:nvPr>
            <p:ph type="body" sz="quarter" idx="28" hasCustomPrompt="1"/>
            <p:custDataLst>
              <p:tags r:id="rId9"/>
            </p:custDataLst>
          </p:nvPr>
        </p:nvSpPr>
        <p:spPr>
          <a:xfrm>
            <a:off x="6257043" y="4256623"/>
            <a:ext cx="5483852" cy="1695450"/>
          </a:xfrm>
        </p:spPr>
        <p:txBody>
          <a:bodyPr>
            <a:noAutofit/>
          </a:bodyPr>
          <a:lstStyle>
            <a:lvl1pPr marL="0" indent="0" algn="l" rtl="0">
              <a:buFontTx/>
              <a:buNone/>
              <a:defRPr sz="1200" b="1">
                <a:solidFill>
                  <a:schemeClr val="accent1"/>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6" name="Subtitle" hidden="1">
            <a:extLst>
              <a:ext uri="{FF2B5EF4-FFF2-40B4-BE49-F238E27FC236}">
                <a16:creationId xmlns:a16="http://schemas.microsoft.com/office/drawing/2014/main" id="{E3C8C216-A0D5-48CE-BB18-6E34DE5AE099}"/>
              </a:ext>
            </a:extLst>
          </p:cNvPr>
          <p:cNvSpPr>
            <a:spLocks noGrp="1"/>
          </p:cNvSpPr>
          <p:nvPr>
            <p:ph type="body" sz="quarter" idx="29" hasCustomPrompt="1"/>
            <p:custDataLst>
              <p:tags r:id="rId10"/>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18" name="Title" hidden="1">
            <a:extLst>
              <a:ext uri="{FF2B5EF4-FFF2-40B4-BE49-F238E27FC236}">
                <a16:creationId xmlns:a16="http://schemas.microsoft.com/office/drawing/2014/main" id="{A6B3ABAE-3971-4ECC-8E25-1E94617FBFBE}"/>
              </a:ext>
            </a:extLst>
          </p:cNvPr>
          <p:cNvSpPr>
            <a:spLocks noGrp="1"/>
          </p:cNvSpPr>
          <p:nvPr>
            <p:ph type="title" hasCustomPrompt="1"/>
            <p:custDataLst>
              <p:tags r:id="rId11"/>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
        <p:nvSpPr>
          <p:cNvPr id="33" name="Rectangle 32" hidden="1">
            <a:extLst>
              <a:ext uri="{FF2B5EF4-FFF2-40B4-BE49-F238E27FC236}">
                <a16:creationId xmlns:a16="http://schemas.microsoft.com/office/drawing/2014/main" id="{9D3E3D5E-69E0-409C-B43B-3D03BAF8E640}"/>
              </a:ext>
            </a:extLst>
          </p:cNvPr>
          <p:cNvSpPr/>
          <p:nvPr>
            <p:custDataLst>
              <p:tags r:id="rId12"/>
            </p:custDataLst>
          </p:nvPr>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
        <p:nvSpPr>
          <p:cNvPr id="34" name="Rectangle 33" hidden="1">
            <a:extLst>
              <a:ext uri="{FF2B5EF4-FFF2-40B4-BE49-F238E27FC236}">
                <a16:creationId xmlns:a16="http://schemas.microsoft.com/office/drawing/2014/main" id="{8AC51DC9-50A0-4091-8F6F-9150D453B6B1}"/>
              </a:ext>
            </a:extLst>
          </p:cNvPr>
          <p:cNvSpPr/>
          <p:nvPr>
            <p:custDataLst>
              <p:tags r:id="rId13"/>
            </p:custDataLst>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
        <p:nvSpPr>
          <p:cNvPr id="35" name="Rectangle 34" hidden="1">
            <a:extLst>
              <a:ext uri="{FF2B5EF4-FFF2-40B4-BE49-F238E27FC236}">
                <a16:creationId xmlns:a16="http://schemas.microsoft.com/office/drawing/2014/main" id="{A118D7C8-CEED-48A7-ADB2-7610B12C1B07}"/>
              </a:ext>
            </a:extLst>
          </p:cNvPr>
          <p:cNvSpPr/>
          <p:nvPr>
            <p:custDataLst>
              <p:tags r:id="rId14"/>
            </p:custDataLst>
          </p:nvPr>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
        <p:nvSpPr>
          <p:cNvPr id="36" name="Rectangle 35" hidden="1">
            <a:extLst>
              <a:ext uri="{FF2B5EF4-FFF2-40B4-BE49-F238E27FC236}">
                <a16:creationId xmlns:a16="http://schemas.microsoft.com/office/drawing/2014/main" id="{C7A403C2-4204-4E69-B696-73BE1FE1F740}"/>
              </a:ext>
            </a:extLst>
          </p:cNvPr>
          <p:cNvSpPr/>
          <p:nvPr>
            <p:custDataLst>
              <p:tags r:id="rId15"/>
            </p:custDataLst>
          </p:nvPr>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Tree>
    <p:extLst>
      <p:ext uri="{BB962C8B-B14F-4D97-AF65-F5344CB8AC3E}">
        <p14:creationId xmlns:p14="http://schemas.microsoft.com/office/powerpoint/2010/main" val="190083329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268089F-D7D3-DCA9-2405-74ABD0500014}"/>
              </a:ext>
            </a:extLst>
          </p:cNvPr>
          <p:cNvGraphicFramePr>
            <a:graphicFrameLocks noChangeAspect="1"/>
          </p:cNvGraphicFramePr>
          <p:nvPr userDrawn="1">
            <p:custDataLst>
              <p:tags r:id="rId1"/>
            </p:custDataLst>
            <p:extLst>
              <p:ext uri="{D42A27DB-BD31-4B8C-83A1-F6EECF244321}">
                <p14:modId xmlns:p14="http://schemas.microsoft.com/office/powerpoint/2010/main" val="2908715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2" name="think-cell data - do not delete" hidden="1">
                        <a:extLst>
                          <a:ext uri="{FF2B5EF4-FFF2-40B4-BE49-F238E27FC236}">
                            <a16:creationId xmlns:a16="http://schemas.microsoft.com/office/drawing/2014/main" id="{6268089F-D7D3-DCA9-2405-74ABD050001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ext left" hidden="1"/>
          <p:cNvSpPr>
            <a:spLocks noGrp="1"/>
          </p:cNvSpPr>
          <p:nvPr>
            <p:ph type="body" sz="quarter" idx="13" hasCustomPrompt="1"/>
            <p:custDataLst>
              <p:tags r:id="rId2"/>
            </p:custDataLst>
          </p:nvPr>
        </p:nvSpPr>
        <p:spPr>
          <a:xfrm>
            <a:off x="464481" y="4189870"/>
            <a:ext cx="8566108" cy="2169796"/>
          </a:xfrm>
        </p:spPr>
        <p:txBody>
          <a:bodyPr anchor="b" anchorCtr="0">
            <a:normAutofit/>
          </a:bodyPr>
          <a:lstStyle>
            <a:lvl1pPr rtl="0">
              <a:lnSpc>
                <a:spcPct val="100000"/>
              </a:lnSpc>
              <a:spcAft>
                <a:spcPts val="450"/>
              </a:spcAft>
              <a:defRPr sz="800"/>
            </a:lvl1pPr>
          </a:lstStyle>
          <a:p>
            <a:pPr lvl="0"/>
            <a:r>
              <a:rPr lang="de-DE"/>
              <a:t>Edit Master text styles</a:t>
            </a:r>
          </a:p>
        </p:txBody>
      </p:sp>
      <p:sp>
        <p:nvSpPr>
          <p:cNvPr id="3" name="Picture Placeholder 2" hidden="1"/>
          <p:cNvSpPr>
            <a:spLocks noGrp="1"/>
          </p:cNvSpPr>
          <p:nvPr>
            <p:ph type="pic" sz="quarter" idx="14" hasCustomPrompt="1"/>
            <p:custDataLst>
              <p:tags r:id="rId3"/>
            </p:custDataLst>
          </p:nvPr>
        </p:nvSpPr>
        <p:spPr>
          <a:xfrm>
            <a:off x="9406185" y="4189870"/>
            <a:ext cx="2319503" cy="1725448"/>
          </a:xfrm>
        </p:spPr>
        <p:txBody>
          <a:bodyPr anchor="ctr" anchorCtr="0">
            <a:normAutofit/>
          </a:bodyPr>
          <a:lstStyle>
            <a:lvl1pPr algn="ctr" rtl="0">
              <a:defRPr sz="800"/>
            </a:lvl1pPr>
          </a:lstStyle>
          <a:p>
            <a:r>
              <a:rPr lang="de-DE" sz="675"/>
              <a:t>Insert sponsorship mark here</a:t>
            </a:r>
            <a:endParaRPr lang="de-DE"/>
          </a:p>
        </p:txBody>
      </p:sp>
      <p:sp>
        <p:nvSpPr>
          <p:cNvPr id="8" name="Text bottom right" hidden="1"/>
          <p:cNvSpPr>
            <a:spLocks noGrp="1"/>
          </p:cNvSpPr>
          <p:nvPr>
            <p:ph type="body" sz="quarter" idx="15" hasCustomPrompt="1"/>
            <p:custDataLst>
              <p:tags r:id="rId4"/>
            </p:custDataLst>
          </p:nvPr>
        </p:nvSpPr>
        <p:spPr>
          <a:xfrm>
            <a:off x="9406187" y="5995943"/>
            <a:ext cx="2319501" cy="363722"/>
          </a:xfrm>
        </p:spPr>
        <p:txBody>
          <a:bodyPr anchor="b" anchorCtr="0">
            <a:normAutofit/>
          </a:bodyPr>
          <a:lstStyle>
            <a:lvl1pPr rtl="0">
              <a:lnSpc>
                <a:spcPct val="100000"/>
              </a:lnSpc>
              <a:defRPr sz="800"/>
            </a:lvl1pPr>
          </a:lstStyle>
          <a:p>
            <a:pPr lvl="0"/>
            <a:r>
              <a:rPr lang="de-DE"/>
              <a:t>Edit Master text styles</a:t>
            </a:r>
          </a:p>
        </p:txBody>
      </p:sp>
      <p:sp>
        <p:nvSpPr>
          <p:cNvPr id="17" name="MIO_AGENDA_LAST_SLIDE" hidden="1">
            <a:extLst>
              <a:ext uri="{FF2B5EF4-FFF2-40B4-BE49-F238E27FC236}">
                <a16:creationId xmlns:a16="http://schemas.microsoft.com/office/drawing/2014/main" id="{249491D1-41CC-455A-8F05-5CEA24B33A18}"/>
              </a:ext>
            </a:extLst>
          </p:cNvPr>
          <p:cNvSpPr/>
          <p:nvPr/>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18" name="MIO_AGENDA_IGNORE_NAVIGATION" hidden="1">
            <a:extLst>
              <a:ext uri="{FF2B5EF4-FFF2-40B4-BE49-F238E27FC236}">
                <a16:creationId xmlns:a16="http://schemas.microsoft.com/office/drawing/2014/main" id="{9518ECE1-C45A-4DB9-B0F0-E67A14C77DA2}"/>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19" name="MIO_AGENDA_IGNORE_CHAPTER_REFERENCE" hidden="1">
            <a:extLst>
              <a:ext uri="{FF2B5EF4-FFF2-40B4-BE49-F238E27FC236}">
                <a16:creationId xmlns:a16="http://schemas.microsoft.com/office/drawing/2014/main" id="{642E351A-DEBD-43E5-AD67-7FEDF79D24F3}"/>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pic>
        <p:nvPicPr>
          <p:cNvPr id="31" name="Grafik 30" hidden="1">
            <a:extLst>
              <a:ext uri="{FF2B5EF4-FFF2-40B4-BE49-F238E27FC236}">
                <a16:creationId xmlns:a16="http://schemas.microsoft.com/office/drawing/2014/main" id="{8CD51AF1-CDB3-4034-AC6C-5A6D02982DAE}"/>
              </a:ext>
            </a:extLst>
          </p:cNvPr>
          <p:cNvPicPr>
            <a:picLocks noChangeAspect="1"/>
          </p:cNvPicPr>
          <p:nvPr userDrawn="1">
            <p:custDataLst>
              <p:tags r:id="rId5"/>
            </p:custDataLst>
          </p:nvPr>
        </p:nvPicPr>
        <p:blipFill>
          <a:blip r:embed="rId9"/>
          <a:stretch>
            <a:fillRect/>
          </a:stretch>
        </p:blipFill>
        <p:spPr>
          <a:xfrm>
            <a:off x="458636" y="342232"/>
            <a:ext cx="1818000" cy="339914"/>
          </a:xfrm>
          <a:prstGeom prst="rect">
            <a:avLst/>
          </a:prstGeom>
        </p:spPr>
      </p:pic>
    </p:spTree>
    <p:extLst>
      <p:ext uri="{BB962C8B-B14F-4D97-AF65-F5344CB8AC3E}">
        <p14:creationId xmlns:p14="http://schemas.microsoft.com/office/powerpoint/2010/main" val="2440975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837544-618E-9439-DAAA-C6057861E339}"/>
              </a:ext>
            </a:extLst>
          </p:cNvPr>
          <p:cNvGraphicFramePr>
            <a:graphicFrameLocks noChangeAspect="1"/>
          </p:cNvGraphicFramePr>
          <p:nvPr userDrawn="1">
            <p:custDataLst>
              <p:tags r:id="rId1"/>
            </p:custDataLst>
            <p:extLst>
              <p:ext uri="{D42A27DB-BD31-4B8C-83A1-F6EECF244321}">
                <p14:modId xmlns:p14="http://schemas.microsoft.com/office/powerpoint/2010/main" val="973192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2" name="think-cell data - do not delete" hidden="1">
                        <a:extLst>
                          <a:ext uri="{FF2B5EF4-FFF2-40B4-BE49-F238E27FC236}">
                            <a16:creationId xmlns:a16="http://schemas.microsoft.com/office/drawing/2014/main" id="{29837544-618E-9439-DAAA-C6057861E33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ext left" hidden="1"/>
          <p:cNvSpPr>
            <a:spLocks noGrp="1"/>
          </p:cNvSpPr>
          <p:nvPr>
            <p:ph type="body" sz="quarter" idx="13" hasCustomPrompt="1"/>
            <p:custDataLst>
              <p:tags r:id="rId2"/>
            </p:custDataLst>
          </p:nvPr>
        </p:nvSpPr>
        <p:spPr>
          <a:xfrm>
            <a:off x="466316" y="4194287"/>
            <a:ext cx="8528936" cy="2169796"/>
          </a:xfrm>
        </p:spPr>
        <p:txBody>
          <a:bodyPr anchor="b" anchorCtr="0">
            <a:noAutofit/>
          </a:bodyPr>
          <a:lstStyle>
            <a:lvl1pPr rtl="0">
              <a:lnSpc>
                <a:spcPct val="100000"/>
              </a:lnSpc>
              <a:spcAft>
                <a:spcPts val="450"/>
              </a:spcAft>
              <a:defRPr sz="800">
                <a:solidFill>
                  <a:schemeClr val="bg1"/>
                </a:solidFill>
              </a:defRPr>
            </a:lvl1pPr>
          </a:lstStyle>
          <a:p>
            <a:pPr lvl="0"/>
            <a:r>
              <a:rPr lang="de-DE"/>
              <a:t>Edit Master text styles</a:t>
            </a:r>
          </a:p>
        </p:txBody>
      </p:sp>
      <p:sp>
        <p:nvSpPr>
          <p:cNvPr id="3" name="Picture Placeholder 2" hidden="1"/>
          <p:cNvSpPr>
            <a:spLocks noGrp="1"/>
          </p:cNvSpPr>
          <p:nvPr>
            <p:ph type="pic" sz="quarter" idx="14" hasCustomPrompt="1"/>
            <p:custDataLst>
              <p:tags r:id="rId3"/>
            </p:custDataLst>
          </p:nvPr>
        </p:nvSpPr>
        <p:spPr>
          <a:xfrm>
            <a:off x="9412074" y="4189870"/>
            <a:ext cx="2319503" cy="1725448"/>
          </a:xfrm>
        </p:spPr>
        <p:txBody>
          <a:bodyPr anchor="ctr" anchorCtr="0">
            <a:normAutofit/>
          </a:bodyPr>
          <a:lstStyle>
            <a:lvl1pPr algn="ctr" rtl="0">
              <a:defRPr sz="800">
                <a:solidFill>
                  <a:schemeClr val="bg1"/>
                </a:solidFill>
              </a:defRPr>
            </a:lvl1pPr>
          </a:lstStyle>
          <a:p>
            <a:r>
              <a:rPr lang="de-DE" sz="675"/>
              <a:t>Insert sponsorship mark here</a:t>
            </a:r>
            <a:endParaRPr lang="de-DE"/>
          </a:p>
        </p:txBody>
      </p:sp>
      <p:sp>
        <p:nvSpPr>
          <p:cNvPr id="8" name="Text bottom right" hidden="1"/>
          <p:cNvSpPr>
            <a:spLocks noGrp="1"/>
          </p:cNvSpPr>
          <p:nvPr>
            <p:ph type="body" sz="quarter" idx="15" hasCustomPrompt="1"/>
            <p:custDataLst>
              <p:tags r:id="rId4"/>
            </p:custDataLst>
          </p:nvPr>
        </p:nvSpPr>
        <p:spPr>
          <a:xfrm>
            <a:off x="9412076" y="5995943"/>
            <a:ext cx="2319501" cy="363722"/>
          </a:xfrm>
        </p:spPr>
        <p:txBody>
          <a:bodyPr anchor="b" anchorCtr="0">
            <a:noAutofit/>
          </a:bodyPr>
          <a:lstStyle>
            <a:lvl1pPr rtl="0">
              <a:lnSpc>
                <a:spcPct val="100000"/>
              </a:lnSpc>
              <a:defRPr sz="800">
                <a:solidFill>
                  <a:schemeClr val="bg1"/>
                </a:solidFill>
              </a:defRPr>
            </a:lvl1pPr>
          </a:lstStyle>
          <a:p>
            <a:pPr lvl="0"/>
            <a:r>
              <a:rPr lang="de-DE"/>
              <a:t>Edit Master text styles</a:t>
            </a:r>
          </a:p>
        </p:txBody>
      </p:sp>
      <p:sp>
        <p:nvSpPr>
          <p:cNvPr id="21" name="MIO_AGENDA_LAST_SLIDE" hidden="1">
            <a:extLst>
              <a:ext uri="{FF2B5EF4-FFF2-40B4-BE49-F238E27FC236}">
                <a16:creationId xmlns:a16="http://schemas.microsoft.com/office/drawing/2014/main" id="{4DE01233-0E5B-4D44-9AA0-8C2FAEC3AA99}"/>
              </a:ext>
            </a:extLst>
          </p:cNvPr>
          <p:cNvSpPr/>
          <p:nvPr/>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22" name="MIO_AGENDA_IGNORE_NAVIGATION" hidden="1">
            <a:extLst>
              <a:ext uri="{FF2B5EF4-FFF2-40B4-BE49-F238E27FC236}">
                <a16:creationId xmlns:a16="http://schemas.microsoft.com/office/drawing/2014/main" id="{C544D53A-D969-4D8A-9227-FE63C48016F6}"/>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23" name="MIO_AGENDA_IGNORE_CHAPTER_REFERENCE" hidden="1">
            <a:extLst>
              <a:ext uri="{FF2B5EF4-FFF2-40B4-BE49-F238E27FC236}">
                <a16:creationId xmlns:a16="http://schemas.microsoft.com/office/drawing/2014/main" id="{73E0B1A6-781D-43D1-9647-99C9EAE528B1}"/>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pic>
        <p:nvPicPr>
          <p:cNvPr id="20" name="Grafik 19" hidden="1">
            <a:extLst>
              <a:ext uri="{FF2B5EF4-FFF2-40B4-BE49-F238E27FC236}">
                <a16:creationId xmlns:a16="http://schemas.microsoft.com/office/drawing/2014/main" id="{9D2AB386-A8EE-48A5-942B-2803132FAF52}"/>
              </a:ext>
            </a:extLst>
          </p:cNvPr>
          <p:cNvPicPr>
            <a:picLocks noChangeAspect="1"/>
          </p:cNvPicPr>
          <p:nvPr userDrawn="1">
            <p:custDataLst>
              <p:tags r:id="rId5"/>
            </p:custDataLst>
          </p:nvPr>
        </p:nvPicPr>
        <p:blipFill>
          <a:blip r:embed="rId9"/>
          <a:stretch>
            <a:fillRect/>
          </a:stretch>
        </p:blipFill>
        <p:spPr>
          <a:xfrm>
            <a:off x="458636" y="342232"/>
            <a:ext cx="1818000" cy="339914"/>
          </a:xfrm>
          <a:prstGeom prst="rect">
            <a:avLst/>
          </a:prstGeom>
        </p:spPr>
      </p:pic>
    </p:spTree>
    <p:extLst>
      <p:ext uri="{BB962C8B-B14F-4D97-AF65-F5344CB8AC3E}">
        <p14:creationId xmlns:p14="http://schemas.microsoft.com/office/powerpoint/2010/main" val="23863539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 Blac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5BCB1F-926F-CC15-94EE-CECDD866A02C}"/>
              </a:ext>
            </a:extLst>
          </p:cNvPr>
          <p:cNvGraphicFramePr>
            <a:graphicFrameLocks noChangeAspect="1"/>
          </p:cNvGraphicFramePr>
          <p:nvPr userDrawn="1">
            <p:custDataLst>
              <p:tags r:id="rId1"/>
            </p:custDataLst>
            <p:extLst>
              <p:ext uri="{D42A27DB-BD31-4B8C-83A1-F6EECF244321}">
                <p14:modId xmlns:p14="http://schemas.microsoft.com/office/powerpoint/2010/main" val="4196125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8" imgH="479" progId="TCLayout.ActiveDocument.1">
                  <p:embed/>
                </p:oleObj>
              </mc:Choice>
              <mc:Fallback>
                <p:oleObj name="think-cell Folie" r:id="rId4" imgW="478" imgH="479" progId="TCLayout.ActiveDocument.1">
                  <p:embed/>
                  <p:pic>
                    <p:nvPicPr>
                      <p:cNvPr id="4" name="think-cell data - do not delete" hidden="1">
                        <a:extLst>
                          <a:ext uri="{FF2B5EF4-FFF2-40B4-BE49-F238E27FC236}">
                            <a16:creationId xmlns:a16="http://schemas.microsoft.com/office/drawing/2014/main" id="{515BCB1F-926F-CC15-94EE-CECDD866A0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MIO_VALID_LAYOUT" hidden="1">
            <a:extLst>
              <a:ext uri="{FF2B5EF4-FFF2-40B4-BE49-F238E27FC236}">
                <a16:creationId xmlns:a16="http://schemas.microsoft.com/office/drawing/2014/main" id="{83AF7E6C-5496-4190-AE22-49321A84B469}"/>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11" name="MIO_VALID_LAYOUT" hidden="1">
            <a:extLst>
              <a:ext uri="{FF2B5EF4-FFF2-40B4-BE49-F238E27FC236}">
                <a16:creationId xmlns:a16="http://schemas.microsoft.com/office/drawing/2014/main" id="{636C7600-5E54-4871-BD57-39F7D85C9645}"/>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2" name="Title" hidden="1">
            <a:extLst>
              <a:ext uri="{FF2B5EF4-FFF2-40B4-BE49-F238E27FC236}">
                <a16:creationId xmlns:a16="http://schemas.microsoft.com/office/drawing/2014/main" id="{7A5342FA-67EE-4ADC-9C59-3703A4E3061F}"/>
              </a:ext>
            </a:extLst>
          </p:cNvPr>
          <p:cNvSpPr>
            <a:spLocks noGrp="1"/>
          </p:cNvSpPr>
          <p:nvPr>
            <p:ph type="title"/>
            <p:custDataLst>
              <p:tags r:id="rId2"/>
            </p:custDataLst>
          </p:nvPr>
        </p:nvSpPr>
        <p:spPr/>
        <p:txBody>
          <a:bodyPr vert="horz"/>
          <a:lstStyle>
            <a:lvl1pPr rtl="0">
              <a:defRPr baseline="0">
                <a:solidFill>
                  <a:schemeClr val="tx1"/>
                </a:solidFill>
              </a:defRPr>
            </a:lvl1pPr>
          </a:lstStyle>
          <a:p>
            <a:r>
              <a:rPr lang="de-DE"/>
              <a:t>Click to edit Master title style</a:t>
            </a:r>
          </a:p>
        </p:txBody>
      </p:sp>
    </p:spTree>
    <p:extLst>
      <p:ext uri="{BB962C8B-B14F-4D97-AF65-F5344CB8AC3E}">
        <p14:creationId xmlns:p14="http://schemas.microsoft.com/office/powerpoint/2010/main" val="2923865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mp; subtitle - Black">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05CDBD-D9FE-7814-CF9F-D592AB36936D}"/>
              </a:ext>
            </a:extLst>
          </p:cNvPr>
          <p:cNvGraphicFramePr>
            <a:graphicFrameLocks noChangeAspect="1"/>
          </p:cNvGraphicFramePr>
          <p:nvPr userDrawn="1">
            <p:custDataLst>
              <p:tags r:id="rId1"/>
            </p:custDataLst>
            <p:extLst>
              <p:ext uri="{D42A27DB-BD31-4B8C-83A1-F6EECF244321}">
                <p14:modId xmlns:p14="http://schemas.microsoft.com/office/powerpoint/2010/main" val="159778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8" imgH="479" progId="TCLayout.ActiveDocument.1">
                  <p:embed/>
                </p:oleObj>
              </mc:Choice>
              <mc:Fallback>
                <p:oleObj name="think-cell Folie" r:id="rId5" imgW="478" imgH="479" progId="TCLayout.ActiveDocument.1">
                  <p:embed/>
                  <p:pic>
                    <p:nvPicPr>
                      <p:cNvPr id="4" name="think-cell data - do not delete" hidden="1">
                        <a:extLst>
                          <a:ext uri="{FF2B5EF4-FFF2-40B4-BE49-F238E27FC236}">
                            <a16:creationId xmlns:a16="http://schemas.microsoft.com/office/drawing/2014/main" id="{8A05CDBD-D9FE-7814-CF9F-D592AB3693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Subtitle" hidden="1"/>
          <p:cNvSpPr>
            <a:spLocks noGrp="1"/>
          </p:cNvSpPr>
          <p:nvPr>
            <p:ph type="body" sz="quarter" idx="13" hasCustomPrompt="1"/>
            <p:custDataLst>
              <p:tags r:id="rId2"/>
            </p:custDataLst>
          </p:nvPr>
        </p:nvSpPr>
        <p:spPr>
          <a:xfrm>
            <a:off x="463295" y="682940"/>
            <a:ext cx="11277600" cy="757255"/>
          </a:xfrm>
          <a:prstGeom prst="rect">
            <a:avLst/>
          </a:prstGeom>
        </p:spPr>
        <p:txBody>
          <a:bodyPr lIns="0" tIns="0" rIns="0" bIns="0">
            <a:noAutofit/>
          </a:bodyPr>
          <a:lstStyle>
            <a:lvl1pPr marL="0" indent="0" rtl="0">
              <a:buNone/>
              <a:defRPr sz="1800" b="0">
                <a:solidFill>
                  <a:srgbClr val="BBBCBC"/>
                </a:solidFill>
              </a:defRPr>
            </a:lvl1pPr>
          </a:lstStyle>
          <a:p>
            <a:pPr lvl="0"/>
            <a:r>
              <a:rPr lang="de-DE"/>
              <a:t>Click to add subtitle</a:t>
            </a:r>
          </a:p>
        </p:txBody>
      </p:sp>
      <p:sp>
        <p:nvSpPr>
          <p:cNvPr id="5" name="MIO_VALID_LAYOUT" hidden="1">
            <a:extLst>
              <a:ext uri="{FF2B5EF4-FFF2-40B4-BE49-F238E27FC236}">
                <a16:creationId xmlns:a16="http://schemas.microsoft.com/office/drawing/2014/main" id="{EDA56DE6-A1BA-458D-8E96-17188D541BFA}"/>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2" name="Title" hidden="1">
            <a:extLst>
              <a:ext uri="{FF2B5EF4-FFF2-40B4-BE49-F238E27FC236}">
                <a16:creationId xmlns:a16="http://schemas.microsoft.com/office/drawing/2014/main" id="{012A54FD-069B-4D28-8BAD-8C8AADEED90B}"/>
              </a:ext>
            </a:extLst>
          </p:cNvPr>
          <p:cNvSpPr>
            <a:spLocks noGrp="1"/>
          </p:cNvSpPr>
          <p:nvPr>
            <p:ph type="title"/>
            <p:custDataLst>
              <p:tags r:id="rId3"/>
            </p:custDataLst>
          </p:nvPr>
        </p:nvSpPr>
        <p:spPr/>
        <p:txBody>
          <a:bodyPr vert="horz"/>
          <a:lstStyle>
            <a:lvl1pPr rtl="0">
              <a:defRPr/>
            </a:lvl1pPr>
          </a:lstStyle>
          <a:p>
            <a:r>
              <a:rPr lang="de-DE"/>
              <a:t>Click to edit Master title style</a:t>
            </a:r>
          </a:p>
        </p:txBody>
      </p:sp>
    </p:spTree>
    <p:extLst>
      <p:ext uri="{BB962C8B-B14F-4D97-AF65-F5344CB8AC3E}">
        <p14:creationId xmlns:p14="http://schemas.microsoft.com/office/powerpoint/2010/main" val="265652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_Title, subtitle, 1 column text with charts">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8EED8E6-DB2B-EB05-C468-62B8D2011FA9}"/>
              </a:ext>
            </a:extLst>
          </p:cNvPr>
          <p:cNvGraphicFramePr>
            <a:graphicFrameLocks noChangeAspect="1"/>
          </p:cNvGraphicFramePr>
          <p:nvPr userDrawn="1">
            <p:custDataLst>
              <p:tags r:id="rId1"/>
            </p:custDataLst>
            <p:extLst>
              <p:ext uri="{D42A27DB-BD31-4B8C-83A1-F6EECF244321}">
                <p14:modId xmlns:p14="http://schemas.microsoft.com/office/powerpoint/2010/main" val="2089028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78" imgH="479" progId="TCLayout.ActiveDocument.1">
                  <p:embed/>
                </p:oleObj>
              </mc:Choice>
              <mc:Fallback>
                <p:oleObj name="think-cell Folie" r:id="rId6" imgW="478" imgH="479" progId="TCLayout.ActiveDocument.1">
                  <p:embed/>
                  <p:pic>
                    <p:nvPicPr>
                      <p:cNvPr id="4" name="think-cell data - do not delete" hidden="1">
                        <a:extLst>
                          <a:ext uri="{FF2B5EF4-FFF2-40B4-BE49-F238E27FC236}">
                            <a16:creationId xmlns:a16="http://schemas.microsoft.com/office/drawing/2014/main" id="{38EED8E6-DB2B-EB05-C468-62B8D2011F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Subtitle" hidden="1"/>
          <p:cNvSpPr>
            <a:spLocks noGrp="1"/>
          </p:cNvSpPr>
          <p:nvPr>
            <p:ph type="body" sz="quarter" idx="13" hasCustomPrompt="1"/>
            <p:custDataLst>
              <p:tags r:id="rId2"/>
            </p:custDataLst>
          </p:nvPr>
        </p:nvSpPr>
        <p:spPr>
          <a:xfrm>
            <a:off x="463295" y="682940"/>
            <a:ext cx="11277600" cy="757255"/>
          </a:xfrm>
          <a:prstGeom prst="rect">
            <a:avLst/>
          </a:prstGeom>
        </p:spPr>
        <p:txBody>
          <a:bodyPr lIns="0" tIns="0" rIns="0" bIns="0">
            <a:noAutofit/>
          </a:bodyPr>
          <a:lstStyle>
            <a:lvl1pPr marL="0" indent="0" rtl="0">
              <a:buNone/>
              <a:defRPr sz="1800" b="0">
                <a:solidFill>
                  <a:srgbClr val="BBBCBC"/>
                </a:solidFill>
              </a:defRPr>
            </a:lvl1pPr>
          </a:lstStyle>
          <a:p>
            <a:pPr lvl="0"/>
            <a:r>
              <a:rPr lang="de-DE"/>
              <a:t>Click to add subtitle</a:t>
            </a:r>
          </a:p>
        </p:txBody>
      </p:sp>
      <p:sp>
        <p:nvSpPr>
          <p:cNvPr id="10" name="Content" hidden="1"/>
          <p:cNvSpPr>
            <a:spLocks noGrp="1"/>
          </p:cNvSpPr>
          <p:nvPr>
            <p:ph idx="1" hasCustomPrompt="1"/>
            <p:custDataLst>
              <p:tags r:id="rId3"/>
            </p:custDataLst>
          </p:nvPr>
        </p:nvSpPr>
        <p:spPr>
          <a:xfrm>
            <a:off x="460887" y="1714500"/>
            <a:ext cx="11277598" cy="4648199"/>
          </a:xfrm>
          <a:prstGeom prst="rect">
            <a:avLst/>
          </a:prstGeom>
        </p:spPr>
        <p:txBody>
          <a:bodyPr vert="horz" lIns="0" tIns="0" rIns="0" bIns="0" rtlCol="0">
            <a:normAutofit/>
          </a:bodyPr>
          <a:lstStyle>
            <a:lvl1pPr rtl="0">
              <a:defRPr sz="1300"/>
            </a:lvl1pPr>
            <a:lvl2pPr rtl="0">
              <a:defRPr sz="1300"/>
            </a:lvl2pPr>
            <a:lvl3pPr rtl="0">
              <a:defRPr sz="1300"/>
            </a:lvl3pPr>
            <a:lvl4pPr rtl="0">
              <a:defRPr sz="1300"/>
            </a:lvl4pPr>
            <a:lvl5pPr rtl="0">
              <a:defRPr sz="1300"/>
            </a:lvl5pPr>
            <a:lvl6pPr>
              <a:defRPr sz="1300"/>
            </a:lvl6pPr>
            <a:lvl7pPr>
              <a:defRPr sz="1300"/>
            </a:lvl7pPr>
            <a:lvl8pPr>
              <a:defRPr sz="1300"/>
            </a:lvl8pPr>
            <a:lvl9pPr>
              <a:defRPr sz="1300"/>
            </a:lvl9pPr>
          </a:lstStyle>
          <a:p>
            <a:pPr lvl="0"/>
            <a:r>
              <a:rPr lang="de-DE"/>
              <a:t>Edit Master text styles</a:t>
            </a:r>
          </a:p>
          <a:p>
            <a:pPr lvl="1"/>
            <a:r>
              <a:rPr lang="de-DE"/>
              <a:t>Second level</a:t>
            </a:r>
          </a:p>
          <a:p>
            <a:pPr lvl="2"/>
            <a:r>
              <a:rPr lang="de-DE"/>
              <a:t>Third level</a:t>
            </a:r>
          </a:p>
          <a:p>
            <a:pPr lvl="3"/>
            <a:r>
              <a:rPr lang="de-DE"/>
              <a:t>Fourth level</a:t>
            </a:r>
          </a:p>
          <a:p>
            <a:pPr lvl="4"/>
            <a:r>
              <a:rPr lang="de-DE"/>
              <a:t>Fifth level</a:t>
            </a:r>
          </a:p>
        </p:txBody>
      </p:sp>
      <p:sp>
        <p:nvSpPr>
          <p:cNvPr id="6" name="MIO_VALID_LAYOUT" hidden="1">
            <a:extLst>
              <a:ext uri="{FF2B5EF4-FFF2-40B4-BE49-F238E27FC236}">
                <a16:creationId xmlns:a16="http://schemas.microsoft.com/office/drawing/2014/main" id="{C4C53B51-12E9-46AC-A69D-84DDBEA6B078}"/>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2" name="Title" hidden="1">
            <a:extLst>
              <a:ext uri="{FF2B5EF4-FFF2-40B4-BE49-F238E27FC236}">
                <a16:creationId xmlns:a16="http://schemas.microsoft.com/office/drawing/2014/main" id="{1EC1E235-3062-4F03-8411-7E415A894483}"/>
              </a:ext>
            </a:extLst>
          </p:cNvPr>
          <p:cNvSpPr>
            <a:spLocks noGrp="1"/>
          </p:cNvSpPr>
          <p:nvPr>
            <p:ph type="title"/>
            <p:custDataLst>
              <p:tags r:id="rId4"/>
            </p:custDataLst>
          </p:nvPr>
        </p:nvSpPr>
        <p:spPr/>
        <p:txBody>
          <a:bodyPr vert="horz"/>
          <a:lstStyle>
            <a:lvl1pPr rtl="0">
              <a:defRPr/>
            </a:lvl1pPr>
          </a:lstStyle>
          <a:p>
            <a:r>
              <a:rPr lang="de-DE"/>
              <a:t>Click to edit Master title style</a:t>
            </a:r>
          </a:p>
        </p:txBody>
      </p:sp>
    </p:spTree>
    <p:extLst>
      <p:ext uri="{BB962C8B-B14F-4D97-AF65-F5344CB8AC3E}">
        <p14:creationId xmlns:p14="http://schemas.microsoft.com/office/powerpoint/2010/main" val="29801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Title, subtitle &amp; chart">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8A23C2-6824-AAEE-993F-934415F4F56E}"/>
              </a:ext>
            </a:extLst>
          </p:cNvPr>
          <p:cNvGraphicFramePr>
            <a:graphicFrameLocks noChangeAspect="1"/>
          </p:cNvGraphicFramePr>
          <p:nvPr userDrawn="1">
            <p:custDataLst>
              <p:tags r:id="rId1"/>
            </p:custDataLst>
            <p:extLst>
              <p:ext uri="{D42A27DB-BD31-4B8C-83A1-F6EECF244321}">
                <p14:modId xmlns:p14="http://schemas.microsoft.com/office/powerpoint/2010/main" val="3331221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478" imgH="479" progId="TCLayout.ActiveDocument.1">
                  <p:embed/>
                </p:oleObj>
              </mc:Choice>
              <mc:Fallback>
                <p:oleObj name="think-cell Folie" r:id="rId8" imgW="478" imgH="479" progId="TCLayout.ActiveDocument.1">
                  <p:embed/>
                  <p:pic>
                    <p:nvPicPr>
                      <p:cNvPr id="4" name="think-cell data - do not delete" hidden="1">
                        <a:extLst>
                          <a:ext uri="{FF2B5EF4-FFF2-40B4-BE49-F238E27FC236}">
                            <a16:creationId xmlns:a16="http://schemas.microsoft.com/office/drawing/2014/main" id="{F38A23C2-6824-AAEE-993F-934415F4F56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Subtitle" hidden="1"/>
          <p:cNvSpPr>
            <a:spLocks noGrp="1"/>
          </p:cNvSpPr>
          <p:nvPr>
            <p:ph type="body" sz="quarter" idx="13" hasCustomPrompt="1"/>
            <p:custDataLst>
              <p:tags r:id="rId2"/>
            </p:custDataLst>
          </p:nvPr>
        </p:nvSpPr>
        <p:spPr>
          <a:xfrm>
            <a:off x="463295" y="682940"/>
            <a:ext cx="11277600" cy="757255"/>
          </a:xfrm>
          <a:prstGeom prst="rect">
            <a:avLst/>
          </a:prstGeom>
        </p:spPr>
        <p:txBody>
          <a:bodyPr lIns="0" tIns="0" rIns="0" bIns="0">
            <a:noAutofit/>
          </a:bodyPr>
          <a:lstStyle>
            <a:lvl1pPr marL="0" indent="0" rtl="0">
              <a:buNone/>
              <a:defRPr sz="1800" b="0">
                <a:solidFill>
                  <a:srgbClr val="BBBCBC"/>
                </a:solidFill>
              </a:defRPr>
            </a:lvl1pPr>
          </a:lstStyle>
          <a:p>
            <a:pPr lvl="0"/>
            <a:r>
              <a:rPr lang="de-DE"/>
              <a:t>Click to add subtitle</a:t>
            </a:r>
          </a:p>
        </p:txBody>
      </p:sp>
      <p:sp>
        <p:nvSpPr>
          <p:cNvPr id="17" name="Chart Placeholder 3" hidden="1"/>
          <p:cNvSpPr>
            <a:spLocks noGrp="1"/>
          </p:cNvSpPr>
          <p:nvPr>
            <p:ph type="chart" sz="quarter" idx="15"/>
            <p:custDataLst>
              <p:tags r:id="rId3"/>
            </p:custDataLst>
          </p:nvPr>
        </p:nvSpPr>
        <p:spPr>
          <a:xfrm>
            <a:off x="464509" y="2080551"/>
            <a:ext cx="11281285" cy="4040463"/>
          </a:xfrm>
          <a:prstGeom prst="rect">
            <a:avLst/>
          </a:prstGeom>
        </p:spPr>
        <p:txBody>
          <a:bodyPr/>
          <a:lstStyle>
            <a:lvl1pPr rtl="0">
              <a:defRPr/>
            </a:lvl1pPr>
          </a:lstStyle>
          <a:p>
            <a:r>
              <a:rPr lang="de-DE"/>
              <a:t>Click icon to add chart</a:t>
            </a:r>
          </a:p>
        </p:txBody>
      </p:sp>
      <p:sp>
        <p:nvSpPr>
          <p:cNvPr id="18" name="Headline / Chart title" hidden="1"/>
          <p:cNvSpPr>
            <a:spLocks noGrp="1"/>
          </p:cNvSpPr>
          <p:nvPr>
            <p:ph type="body" sz="quarter" idx="18" hasCustomPrompt="1"/>
            <p:custDataLst>
              <p:tags r:id="rId4"/>
            </p:custDataLst>
          </p:nvPr>
        </p:nvSpPr>
        <p:spPr>
          <a:xfrm>
            <a:off x="457200" y="1723364"/>
            <a:ext cx="11288595" cy="357187"/>
          </a:xfrm>
        </p:spPr>
        <p:txBody>
          <a:bodyPr/>
          <a:lstStyle>
            <a:lvl1pPr rtl="0">
              <a:defRPr/>
            </a:lvl1pPr>
          </a:lstStyle>
          <a:p>
            <a:pPr lvl="0"/>
            <a:r>
              <a:rPr lang="de-DE"/>
              <a:t>Edit Master text styles</a:t>
            </a:r>
          </a:p>
        </p:txBody>
      </p:sp>
      <p:sp>
        <p:nvSpPr>
          <p:cNvPr id="19" name="Text bottom" hidden="1"/>
          <p:cNvSpPr>
            <a:spLocks noGrp="1"/>
          </p:cNvSpPr>
          <p:nvPr>
            <p:ph type="body" sz="quarter" idx="23" hasCustomPrompt="1"/>
            <p:custDataLst>
              <p:tags r:id="rId5"/>
            </p:custDataLst>
          </p:nvPr>
        </p:nvSpPr>
        <p:spPr>
          <a:xfrm>
            <a:off x="463297" y="6121016"/>
            <a:ext cx="11273879" cy="241685"/>
          </a:xfrm>
        </p:spPr>
        <p:txBody>
          <a:bodyPr>
            <a:normAutofit/>
          </a:bodyPr>
          <a:lstStyle>
            <a:lvl1pPr rtl="0">
              <a:spcAft>
                <a:spcPts val="0"/>
              </a:spcAft>
              <a:defRPr sz="900"/>
            </a:lvl1pPr>
          </a:lstStyle>
          <a:p>
            <a:pPr lvl="0"/>
            <a:r>
              <a:rPr lang="de-DE"/>
              <a:t>Edit Master text styles</a:t>
            </a:r>
          </a:p>
        </p:txBody>
      </p:sp>
      <p:sp>
        <p:nvSpPr>
          <p:cNvPr id="8" name="MIO_VALID_LAYOUT" hidden="1">
            <a:extLst>
              <a:ext uri="{FF2B5EF4-FFF2-40B4-BE49-F238E27FC236}">
                <a16:creationId xmlns:a16="http://schemas.microsoft.com/office/drawing/2014/main" id="{B9C5E24D-2264-4B37-BBC9-253349E5F4FF}"/>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2" name="Title" hidden="1">
            <a:extLst>
              <a:ext uri="{FF2B5EF4-FFF2-40B4-BE49-F238E27FC236}">
                <a16:creationId xmlns:a16="http://schemas.microsoft.com/office/drawing/2014/main" id="{CA599738-D568-49F1-87EE-956C570FD9F0}"/>
              </a:ext>
            </a:extLst>
          </p:cNvPr>
          <p:cNvSpPr>
            <a:spLocks noGrp="1"/>
          </p:cNvSpPr>
          <p:nvPr>
            <p:ph type="title"/>
            <p:custDataLst>
              <p:tags r:id="rId6"/>
            </p:custDataLst>
          </p:nvPr>
        </p:nvSpPr>
        <p:spPr/>
        <p:txBody>
          <a:bodyPr vert="horz"/>
          <a:lstStyle>
            <a:lvl1pPr rtl="0">
              <a:defRPr/>
            </a:lvl1pPr>
          </a:lstStyle>
          <a:p>
            <a:r>
              <a:rPr lang="de-DE"/>
              <a:t>Click to edit Master title style</a:t>
            </a:r>
          </a:p>
        </p:txBody>
      </p:sp>
    </p:spTree>
    <p:extLst>
      <p:ext uri="{BB962C8B-B14F-4D97-AF65-F5344CB8AC3E}">
        <p14:creationId xmlns:p14="http://schemas.microsoft.com/office/powerpoint/2010/main" val="25540560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8AA5427-97F4-0D86-9FC0-95FD167E32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93475" y="0"/>
            <a:ext cx="6198525" cy="6858000"/>
          </a:xfrm>
          <a:prstGeom prst="rect">
            <a:avLst/>
          </a:prstGeom>
        </p:spPr>
      </p:pic>
    </p:spTree>
    <p:extLst>
      <p:ext uri="{BB962C8B-B14F-4D97-AF65-F5344CB8AC3E}">
        <p14:creationId xmlns:p14="http://schemas.microsoft.com/office/powerpoint/2010/main" val="9127138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_2 chart">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6FD7608-CA4A-D7A8-F6B6-C6BE10697245}"/>
              </a:ext>
            </a:extLst>
          </p:cNvPr>
          <p:cNvGraphicFramePr>
            <a:graphicFrameLocks noChangeAspect="1"/>
          </p:cNvGraphicFramePr>
          <p:nvPr userDrawn="1">
            <p:custDataLst>
              <p:tags r:id="rId1"/>
            </p:custDataLst>
            <p:extLst>
              <p:ext uri="{D42A27DB-BD31-4B8C-83A1-F6EECF244321}">
                <p14:modId xmlns:p14="http://schemas.microsoft.com/office/powerpoint/2010/main" val="1501959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78" imgH="479" progId="TCLayout.ActiveDocument.1">
                  <p:embed/>
                </p:oleObj>
              </mc:Choice>
              <mc:Fallback>
                <p:oleObj name="think-cell Folie" r:id="rId10" imgW="478" imgH="479" progId="TCLayout.ActiveDocument.1">
                  <p:embed/>
                  <p:pic>
                    <p:nvPicPr>
                      <p:cNvPr id="4" name="think-cell data - do not delete" hidden="1">
                        <a:extLst>
                          <a:ext uri="{FF2B5EF4-FFF2-40B4-BE49-F238E27FC236}">
                            <a16:creationId xmlns:a16="http://schemas.microsoft.com/office/drawing/2014/main" id="{B6FD7608-CA4A-D7A8-F6B6-C6BE1069724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Text Placeholder 8" hidden="1"/>
          <p:cNvSpPr>
            <a:spLocks noGrp="1"/>
          </p:cNvSpPr>
          <p:nvPr>
            <p:ph type="body" sz="quarter" idx="13" hasCustomPrompt="1"/>
            <p:custDataLst>
              <p:tags r:id="rId2"/>
            </p:custDataLst>
          </p:nvPr>
        </p:nvSpPr>
        <p:spPr>
          <a:xfrm>
            <a:off x="463295" y="682940"/>
            <a:ext cx="11277600" cy="757255"/>
          </a:xfrm>
          <a:prstGeom prst="rect">
            <a:avLst/>
          </a:prstGeom>
        </p:spPr>
        <p:txBody>
          <a:bodyPr lIns="0" tIns="0" rIns="0" bIns="0">
            <a:noAutofit/>
          </a:bodyPr>
          <a:lstStyle>
            <a:lvl1pPr marL="0" indent="0" rtl="0">
              <a:buNone/>
              <a:defRPr sz="1800" b="0">
                <a:solidFill>
                  <a:srgbClr val="BBBCBC"/>
                </a:solidFill>
              </a:defRPr>
            </a:lvl1pPr>
          </a:lstStyle>
          <a:p>
            <a:pPr lvl="0"/>
            <a:r>
              <a:rPr lang="de-DE"/>
              <a:t>Click to add subtitle</a:t>
            </a:r>
          </a:p>
        </p:txBody>
      </p:sp>
      <p:sp>
        <p:nvSpPr>
          <p:cNvPr id="3" name="Chart Placeholder 2" hidden="1"/>
          <p:cNvSpPr>
            <a:spLocks noGrp="1"/>
          </p:cNvSpPr>
          <p:nvPr>
            <p:ph type="chart" sz="quarter" idx="21"/>
            <p:custDataLst>
              <p:tags r:id="rId3"/>
            </p:custDataLst>
          </p:nvPr>
        </p:nvSpPr>
        <p:spPr>
          <a:xfrm>
            <a:off x="6357038" y="2136645"/>
            <a:ext cx="5381445" cy="3971013"/>
          </a:xfrm>
        </p:spPr>
        <p:txBody>
          <a:bodyPr/>
          <a:lstStyle>
            <a:lvl1pPr rtl="0">
              <a:defRPr/>
            </a:lvl1pPr>
          </a:lstStyle>
          <a:p>
            <a:r>
              <a:rPr lang="de-DE"/>
              <a:t>Click icon to add chart</a:t>
            </a:r>
          </a:p>
        </p:txBody>
      </p:sp>
      <p:sp>
        <p:nvSpPr>
          <p:cNvPr id="6" name="Text Placeholder 5" hidden="1"/>
          <p:cNvSpPr>
            <a:spLocks noGrp="1"/>
          </p:cNvSpPr>
          <p:nvPr>
            <p:ph type="body" sz="quarter" idx="22" hasCustomPrompt="1"/>
            <p:custDataLst>
              <p:tags r:id="rId4"/>
            </p:custDataLst>
          </p:nvPr>
        </p:nvSpPr>
        <p:spPr>
          <a:xfrm>
            <a:off x="6357041" y="1714500"/>
            <a:ext cx="5381443" cy="383350"/>
          </a:xfrm>
        </p:spPr>
        <p:txBody>
          <a:bodyPr/>
          <a:lstStyle>
            <a:lvl1pPr rtl="0">
              <a:defRPr/>
            </a:lvl1pPr>
          </a:lstStyle>
          <a:p>
            <a:pPr lvl="0"/>
            <a:r>
              <a:rPr lang="de-DE"/>
              <a:t>Edit Master text styles</a:t>
            </a:r>
          </a:p>
        </p:txBody>
      </p:sp>
      <p:sp>
        <p:nvSpPr>
          <p:cNvPr id="15" name="Text Placeholder 7" hidden="1"/>
          <p:cNvSpPr>
            <a:spLocks noGrp="1"/>
          </p:cNvSpPr>
          <p:nvPr>
            <p:ph type="body" sz="quarter" idx="23" hasCustomPrompt="1"/>
            <p:custDataLst>
              <p:tags r:id="rId5"/>
            </p:custDataLst>
          </p:nvPr>
        </p:nvSpPr>
        <p:spPr>
          <a:xfrm>
            <a:off x="463297" y="6121016"/>
            <a:ext cx="11273879" cy="241685"/>
          </a:xfrm>
        </p:spPr>
        <p:txBody>
          <a:bodyPr>
            <a:normAutofit/>
          </a:bodyPr>
          <a:lstStyle>
            <a:lvl1pPr rtl="0">
              <a:spcAft>
                <a:spcPts val="0"/>
              </a:spcAft>
              <a:defRPr sz="900"/>
            </a:lvl1pPr>
          </a:lstStyle>
          <a:p>
            <a:pPr lvl="0"/>
            <a:r>
              <a:rPr lang="de-DE"/>
              <a:t>Edit Master text styles</a:t>
            </a:r>
          </a:p>
        </p:txBody>
      </p:sp>
      <p:sp>
        <p:nvSpPr>
          <p:cNvPr id="9" name="Chart Placeholder 2" hidden="1"/>
          <p:cNvSpPr>
            <a:spLocks noGrp="1"/>
          </p:cNvSpPr>
          <p:nvPr>
            <p:ph type="chart" sz="quarter" idx="24"/>
            <p:custDataLst>
              <p:tags r:id="rId6"/>
            </p:custDataLst>
          </p:nvPr>
        </p:nvSpPr>
        <p:spPr>
          <a:xfrm>
            <a:off x="460887" y="2136645"/>
            <a:ext cx="5372330" cy="3971013"/>
          </a:xfrm>
        </p:spPr>
        <p:txBody>
          <a:bodyPr/>
          <a:lstStyle>
            <a:lvl1pPr rtl="0">
              <a:defRPr/>
            </a:lvl1pPr>
          </a:lstStyle>
          <a:p>
            <a:r>
              <a:rPr lang="de-DE"/>
              <a:t>Click icon to add chart</a:t>
            </a:r>
          </a:p>
        </p:txBody>
      </p:sp>
      <p:sp>
        <p:nvSpPr>
          <p:cNvPr id="12" name="Text Placeholder 5" hidden="1"/>
          <p:cNvSpPr>
            <a:spLocks noGrp="1"/>
          </p:cNvSpPr>
          <p:nvPr>
            <p:ph type="body" sz="quarter" idx="25" hasCustomPrompt="1"/>
            <p:custDataLst>
              <p:tags r:id="rId7"/>
            </p:custDataLst>
          </p:nvPr>
        </p:nvSpPr>
        <p:spPr>
          <a:xfrm>
            <a:off x="460887" y="1714500"/>
            <a:ext cx="5374803" cy="383350"/>
          </a:xfrm>
        </p:spPr>
        <p:txBody>
          <a:bodyPr/>
          <a:lstStyle>
            <a:lvl1pPr rtl="0">
              <a:defRPr/>
            </a:lvl1pPr>
          </a:lstStyle>
          <a:p>
            <a:pPr lvl="0"/>
            <a:r>
              <a:rPr lang="de-DE"/>
              <a:t>Edit Master text styles</a:t>
            </a:r>
          </a:p>
        </p:txBody>
      </p:sp>
      <p:sp>
        <p:nvSpPr>
          <p:cNvPr id="13" name="MIO_VALID_LAYOUT" hidden="1">
            <a:extLst>
              <a:ext uri="{FF2B5EF4-FFF2-40B4-BE49-F238E27FC236}">
                <a16:creationId xmlns:a16="http://schemas.microsoft.com/office/drawing/2014/main" id="{C2140F0C-FA1D-42CA-9599-41C4E3B59FD5}"/>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5" name="Title 4" hidden="1">
            <a:extLst>
              <a:ext uri="{FF2B5EF4-FFF2-40B4-BE49-F238E27FC236}">
                <a16:creationId xmlns:a16="http://schemas.microsoft.com/office/drawing/2014/main" id="{CDC52FF8-2BD1-46C1-8105-1A5862154191}"/>
              </a:ext>
            </a:extLst>
          </p:cNvPr>
          <p:cNvSpPr>
            <a:spLocks noGrp="1"/>
          </p:cNvSpPr>
          <p:nvPr>
            <p:ph type="title"/>
            <p:custDataLst>
              <p:tags r:id="rId8"/>
            </p:custDataLst>
          </p:nvPr>
        </p:nvSpPr>
        <p:spPr/>
        <p:txBody>
          <a:bodyPr vert="horz"/>
          <a:lstStyle>
            <a:lvl1pPr rtl="0">
              <a:defRPr/>
            </a:lvl1pPr>
          </a:lstStyle>
          <a:p>
            <a:r>
              <a:rPr lang="de-DE"/>
              <a:t>Click to edit Master title style</a:t>
            </a:r>
          </a:p>
        </p:txBody>
      </p:sp>
    </p:spTree>
    <p:extLst>
      <p:ext uri="{BB962C8B-B14F-4D97-AF65-F5344CB8AC3E}">
        <p14:creationId xmlns:p14="http://schemas.microsoft.com/office/powerpoint/2010/main" val="8803998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 chart - Black">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B5E7CA-0F6C-1B95-5AE9-F979A9B9A0FD}"/>
              </a:ext>
            </a:extLst>
          </p:cNvPr>
          <p:cNvGraphicFramePr>
            <a:graphicFrameLocks noChangeAspect="1"/>
          </p:cNvGraphicFramePr>
          <p:nvPr userDrawn="1">
            <p:custDataLst>
              <p:tags r:id="rId1"/>
            </p:custDataLst>
            <p:extLst>
              <p:ext uri="{D42A27DB-BD31-4B8C-83A1-F6EECF244321}">
                <p14:modId xmlns:p14="http://schemas.microsoft.com/office/powerpoint/2010/main" val="2469753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478" imgH="479" progId="TCLayout.ActiveDocument.1">
                  <p:embed/>
                </p:oleObj>
              </mc:Choice>
              <mc:Fallback>
                <p:oleObj name="think-cell Folie" r:id="rId12" imgW="478" imgH="479" progId="TCLayout.ActiveDocument.1">
                  <p:embed/>
                  <p:pic>
                    <p:nvPicPr>
                      <p:cNvPr id="4" name="think-cell data - do not delete" hidden="1">
                        <a:extLst>
                          <a:ext uri="{FF2B5EF4-FFF2-40B4-BE49-F238E27FC236}">
                            <a16:creationId xmlns:a16="http://schemas.microsoft.com/office/drawing/2014/main" id="{5CB5E7CA-0F6C-1B95-5AE9-F979A9B9A0F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5" name="Subtitle" hidden="1"/>
          <p:cNvSpPr>
            <a:spLocks noGrp="1"/>
          </p:cNvSpPr>
          <p:nvPr>
            <p:ph type="body" sz="quarter" idx="13" hasCustomPrompt="1"/>
            <p:custDataLst>
              <p:tags r:id="rId2"/>
            </p:custDataLst>
          </p:nvPr>
        </p:nvSpPr>
        <p:spPr>
          <a:xfrm>
            <a:off x="463295" y="682940"/>
            <a:ext cx="11277600" cy="757255"/>
          </a:xfrm>
          <a:prstGeom prst="rect">
            <a:avLst/>
          </a:prstGeom>
        </p:spPr>
        <p:txBody>
          <a:bodyPr lIns="0" tIns="0" rIns="0" bIns="0">
            <a:noAutofit/>
          </a:bodyPr>
          <a:lstStyle>
            <a:lvl1pPr marL="0" indent="0" rtl="0">
              <a:buNone/>
              <a:defRPr sz="1800" b="0">
                <a:solidFill>
                  <a:srgbClr val="BBBCBC"/>
                </a:solidFill>
              </a:defRPr>
            </a:lvl1pPr>
          </a:lstStyle>
          <a:p>
            <a:pPr lvl="0"/>
            <a:r>
              <a:rPr lang="de-DE"/>
              <a:t>Click to add subtitle</a:t>
            </a:r>
          </a:p>
        </p:txBody>
      </p:sp>
      <p:sp>
        <p:nvSpPr>
          <p:cNvPr id="17" name="Chart Placeholder 3" hidden="1"/>
          <p:cNvSpPr>
            <a:spLocks noGrp="1"/>
          </p:cNvSpPr>
          <p:nvPr>
            <p:ph type="chart" sz="quarter" idx="15"/>
            <p:custDataLst>
              <p:tags r:id="rId3"/>
            </p:custDataLst>
          </p:nvPr>
        </p:nvSpPr>
        <p:spPr>
          <a:xfrm>
            <a:off x="460887" y="2064085"/>
            <a:ext cx="3552881" cy="4043571"/>
          </a:xfrm>
          <a:prstGeom prst="rect">
            <a:avLst/>
          </a:prstGeom>
        </p:spPr>
        <p:txBody>
          <a:bodyPr/>
          <a:lstStyle>
            <a:lvl1pPr rtl="0">
              <a:defRPr/>
            </a:lvl1pPr>
          </a:lstStyle>
          <a:p>
            <a:r>
              <a:rPr lang="de-DE"/>
              <a:t>Click icon to add chart</a:t>
            </a:r>
          </a:p>
        </p:txBody>
      </p:sp>
      <p:sp>
        <p:nvSpPr>
          <p:cNvPr id="18" name="Headline left / Chart title" hidden="1"/>
          <p:cNvSpPr>
            <a:spLocks noGrp="1"/>
          </p:cNvSpPr>
          <p:nvPr>
            <p:ph type="body" sz="quarter" idx="18" hasCustomPrompt="1"/>
            <p:custDataLst>
              <p:tags r:id="rId4"/>
            </p:custDataLst>
          </p:nvPr>
        </p:nvSpPr>
        <p:spPr>
          <a:xfrm>
            <a:off x="460887" y="1714500"/>
            <a:ext cx="3552313" cy="354954"/>
          </a:xfrm>
        </p:spPr>
        <p:txBody>
          <a:bodyPr/>
          <a:lstStyle>
            <a:lvl1pPr rtl="0">
              <a:defRPr/>
            </a:lvl1pPr>
          </a:lstStyle>
          <a:p>
            <a:pPr lvl="0"/>
            <a:r>
              <a:rPr lang="de-DE"/>
              <a:t>Edit Master text styles</a:t>
            </a:r>
          </a:p>
        </p:txBody>
      </p:sp>
      <p:sp>
        <p:nvSpPr>
          <p:cNvPr id="7" name="Chart Placeholder 3" hidden="1"/>
          <p:cNvSpPr>
            <a:spLocks noGrp="1"/>
          </p:cNvSpPr>
          <p:nvPr>
            <p:ph type="chart" sz="quarter" idx="19"/>
            <p:custDataLst>
              <p:tags r:id="rId5"/>
            </p:custDataLst>
          </p:nvPr>
        </p:nvSpPr>
        <p:spPr>
          <a:xfrm>
            <a:off x="4317849" y="2064085"/>
            <a:ext cx="3567833" cy="4043571"/>
          </a:xfrm>
          <a:prstGeom prst="rect">
            <a:avLst/>
          </a:prstGeom>
        </p:spPr>
        <p:txBody>
          <a:bodyPr/>
          <a:lstStyle>
            <a:lvl1pPr rtl="0">
              <a:defRPr/>
            </a:lvl1pPr>
          </a:lstStyle>
          <a:p>
            <a:r>
              <a:rPr lang="de-DE"/>
              <a:t>Click icon to add chart</a:t>
            </a:r>
          </a:p>
        </p:txBody>
      </p:sp>
      <p:sp>
        <p:nvSpPr>
          <p:cNvPr id="8" name="Headline center / Chart title" hidden="1"/>
          <p:cNvSpPr>
            <a:spLocks noGrp="1"/>
          </p:cNvSpPr>
          <p:nvPr>
            <p:ph type="body" sz="quarter" idx="20" hasCustomPrompt="1"/>
            <p:custDataLst>
              <p:tags r:id="rId6"/>
            </p:custDataLst>
          </p:nvPr>
        </p:nvSpPr>
        <p:spPr>
          <a:xfrm>
            <a:off x="4317847" y="1714500"/>
            <a:ext cx="3567833" cy="354954"/>
          </a:xfrm>
        </p:spPr>
        <p:txBody>
          <a:bodyPr/>
          <a:lstStyle>
            <a:lvl1pPr rtl="0">
              <a:defRPr/>
            </a:lvl1pPr>
          </a:lstStyle>
          <a:p>
            <a:pPr lvl="0"/>
            <a:r>
              <a:rPr lang="de-DE"/>
              <a:t>Edit Master text styles</a:t>
            </a:r>
          </a:p>
        </p:txBody>
      </p:sp>
      <p:sp>
        <p:nvSpPr>
          <p:cNvPr id="9" name="Chart Placeholder 3" hidden="1"/>
          <p:cNvSpPr>
            <a:spLocks noGrp="1"/>
          </p:cNvSpPr>
          <p:nvPr>
            <p:ph type="chart" sz="quarter" idx="21"/>
            <p:custDataLst>
              <p:tags r:id="rId7"/>
            </p:custDataLst>
          </p:nvPr>
        </p:nvSpPr>
        <p:spPr>
          <a:xfrm>
            <a:off x="8167555" y="2064085"/>
            <a:ext cx="3552886" cy="4043571"/>
          </a:xfrm>
          <a:prstGeom prst="rect">
            <a:avLst/>
          </a:prstGeom>
        </p:spPr>
        <p:txBody>
          <a:bodyPr/>
          <a:lstStyle>
            <a:lvl1pPr rtl="0">
              <a:defRPr/>
            </a:lvl1pPr>
          </a:lstStyle>
          <a:p>
            <a:r>
              <a:rPr lang="de-DE"/>
              <a:t>Click icon to add chart</a:t>
            </a:r>
          </a:p>
        </p:txBody>
      </p:sp>
      <p:sp>
        <p:nvSpPr>
          <p:cNvPr id="10" name="Headline right / Chart title" hidden="1"/>
          <p:cNvSpPr>
            <a:spLocks noGrp="1"/>
          </p:cNvSpPr>
          <p:nvPr>
            <p:ph type="body" sz="quarter" idx="22" hasCustomPrompt="1"/>
            <p:custDataLst>
              <p:tags r:id="rId8"/>
            </p:custDataLst>
          </p:nvPr>
        </p:nvSpPr>
        <p:spPr>
          <a:xfrm>
            <a:off x="8167555" y="1714500"/>
            <a:ext cx="3552886" cy="354954"/>
          </a:xfrm>
        </p:spPr>
        <p:txBody>
          <a:bodyPr/>
          <a:lstStyle>
            <a:lvl1pPr rtl="0">
              <a:defRPr/>
            </a:lvl1pPr>
          </a:lstStyle>
          <a:p>
            <a:pPr lvl="0"/>
            <a:r>
              <a:rPr lang="de-DE"/>
              <a:t>Edit Master text styles</a:t>
            </a:r>
          </a:p>
        </p:txBody>
      </p:sp>
      <p:sp>
        <p:nvSpPr>
          <p:cNvPr id="12" name="Text bottom" hidden="1"/>
          <p:cNvSpPr>
            <a:spLocks noGrp="1"/>
          </p:cNvSpPr>
          <p:nvPr>
            <p:ph type="body" sz="quarter" idx="23" hasCustomPrompt="1"/>
            <p:custDataLst>
              <p:tags r:id="rId9"/>
            </p:custDataLst>
          </p:nvPr>
        </p:nvSpPr>
        <p:spPr>
          <a:xfrm>
            <a:off x="463297" y="6121016"/>
            <a:ext cx="11273879" cy="241685"/>
          </a:xfrm>
        </p:spPr>
        <p:txBody>
          <a:bodyPr>
            <a:normAutofit/>
          </a:bodyPr>
          <a:lstStyle>
            <a:lvl1pPr rtl="0">
              <a:spcAft>
                <a:spcPts val="0"/>
              </a:spcAft>
              <a:defRPr sz="900"/>
            </a:lvl1pPr>
          </a:lstStyle>
          <a:p>
            <a:pPr lvl="0"/>
            <a:r>
              <a:rPr lang="de-DE"/>
              <a:t>Edit Master text styles</a:t>
            </a:r>
          </a:p>
        </p:txBody>
      </p:sp>
      <p:sp>
        <p:nvSpPr>
          <p:cNvPr id="13" name="MIO_VALID_LAYOUT" hidden="1">
            <a:extLst>
              <a:ext uri="{FF2B5EF4-FFF2-40B4-BE49-F238E27FC236}">
                <a16:creationId xmlns:a16="http://schemas.microsoft.com/office/drawing/2014/main" id="{8DE0E4EB-2CC6-4FB2-8DAE-A99F30E30E6D}"/>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2" name="Title" hidden="1">
            <a:extLst>
              <a:ext uri="{FF2B5EF4-FFF2-40B4-BE49-F238E27FC236}">
                <a16:creationId xmlns:a16="http://schemas.microsoft.com/office/drawing/2014/main" id="{CAB8D8EA-18D3-4433-A2E1-2A9E61E55C87}"/>
              </a:ext>
            </a:extLst>
          </p:cNvPr>
          <p:cNvSpPr>
            <a:spLocks noGrp="1"/>
          </p:cNvSpPr>
          <p:nvPr>
            <p:ph type="title"/>
            <p:custDataLst>
              <p:tags r:id="rId10"/>
            </p:custDataLst>
          </p:nvPr>
        </p:nvSpPr>
        <p:spPr/>
        <p:txBody>
          <a:bodyPr vert="horz"/>
          <a:lstStyle>
            <a:lvl1pPr rtl="0">
              <a:defRPr/>
            </a:lvl1pPr>
          </a:lstStyle>
          <a:p>
            <a:r>
              <a:rPr lang="de-DE"/>
              <a:t>Click to edit Master title style</a:t>
            </a:r>
          </a:p>
        </p:txBody>
      </p:sp>
    </p:spTree>
    <p:extLst>
      <p:ext uri="{BB962C8B-B14F-4D97-AF65-F5344CB8AC3E}">
        <p14:creationId xmlns:p14="http://schemas.microsoft.com/office/powerpoint/2010/main" val="231048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CV_Template_Black">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F35E25-67EB-0A71-65D9-345C1F3F73C9}"/>
              </a:ext>
            </a:extLst>
          </p:cNvPr>
          <p:cNvGraphicFramePr>
            <a:graphicFrameLocks noChangeAspect="1"/>
          </p:cNvGraphicFramePr>
          <p:nvPr userDrawn="1">
            <p:custDataLst>
              <p:tags r:id="rId1"/>
            </p:custDataLst>
            <p:extLst>
              <p:ext uri="{D42A27DB-BD31-4B8C-83A1-F6EECF244321}">
                <p14:modId xmlns:p14="http://schemas.microsoft.com/office/powerpoint/2010/main" val="1111432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486" imgH="486" progId="TCLayout.ActiveDocument.1">
                  <p:embed/>
                </p:oleObj>
              </mc:Choice>
              <mc:Fallback>
                <p:oleObj name="think-cell Folie" r:id="rId12" imgW="486" imgH="486" progId="TCLayout.ActiveDocument.1">
                  <p:embed/>
                  <p:pic>
                    <p:nvPicPr>
                      <p:cNvPr id="3" name="think-cell data - do not delete" hidden="1">
                        <a:extLst>
                          <a:ext uri="{FF2B5EF4-FFF2-40B4-BE49-F238E27FC236}">
                            <a16:creationId xmlns:a16="http://schemas.microsoft.com/office/drawing/2014/main" id="{C3F35E25-67EB-0A71-65D9-345C1F3F73C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3" name="Text Placeholder 8" hidden="1">
            <a:extLst>
              <a:ext uri="{FF2B5EF4-FFF2-40B4-BE49-F238E27FC236}">
                <a16:creationId xmlns:a16="http://schemas.microsoft.com/office/drawing/2014/main" id="{D1AFA9E9-5EB8-42BF-B15A-3D95DDA547A4}"/>
              </a:ext>
            </a:extLst>
          </p:cNvPr>
          <p:cNvSpPr>
            <a:spLocks noGrp="1"/>
          </p:cNvSpPr>
          <p:nvPr>
            <p:ph type="body" sz="quarter" idx="13" hasCustomPrompt="1"/>
            <p:custDataLst>
              <p:tags r:id="rId2"/>
            </p:custDataLst>
          </p:nvPr>
        </p:nvSpPr>
        <p:spPr>
          <a:xfrm>
            <a:off x="500400" y="651600"/>
            <a:ext cx="11196300" cy="756000"/>
          </a:xfrm>
          <a:prstGeom prst="rect">
            <a:avLst/>
          </a:prstGeom>
        </p:spPr>
        <p:txBody>
          <a:bodyPr lIns="0" tIns="0" rIns="0" bIns="0">
            <a:noAutofit/>
          </a:bodyPr>
          <a:lstStyle>
            <a:lvl1pPr marL="0" indent="0" rtl="0">
              <a:spcAft>
                <a:spcPts val="0"/>
              </a:spcAft>
              <a:buNone/>
              <a:defRPr sz="1800" b="0">
                <a:solidFill>
                  <a:srgbClr val="575757"/>
                </a:solidFill>
              </a:defRPr>
            </a:lvl1pPr>
          </a:lstStyle>
          <a:p>
            <a:pPr lvl="0"/>
            <a:r>
              <a:rPr lang="de-DE" noProof="0"/>
              <a:t>First Name, Name</a:t>
            </a:r>
            <a:br>
              <a:rPr lang="de-DE" noProof="0"/>
            </a:br>
            <a:r>
              <a:rPr lang="de-DE" noProof="0"/>
              <a:t>Project </a:t>
            </a:r>
            <a:r>
              <a:rPr lang="de-DE" noProof="0" err="1"/>
              <a:t>Role</a:t>
            </a:r>
            <a:endParaRPr lang="de-DE" noProof="0"/>
          </a:p>
        </p:txBody>
      </p:sp>
      <p:sp>
        <p:nvSpPr>
          <p:cNvPr id="14" name="Title Placeholder 1" hidden="1">
            <a:extLst>
              <a:ext uri="{FF2B5EF4-FFF2-40B4-BE49-F238E27FC236}">
                <a16:creationId xmlns:a16="http://schemas.microsoft.com/office/drawing/2014/main" id="{C3F5B0ED-A4CB-4D19-B6B8-CA9E1139E702}"/>
              </a:ext>
            </a:extLst>
          </p:cNvPr>
          <p:cNvSpPr>
            <a:spLocks noGrp="1"/>
          </p:cNvSpPr>
          <p:nvPr>
            <p:ph type="title" hasCustomPrompt="1"/>
            <p:custDataLst>
              <p:tags r:id="rId3"/>
            </p:custDataLst>
          </p:nvPr>
        </p:nvSpPr>
        <p:spPr>
          <a:xfrm>
            <a:off x="500400" y="317500"/>
            <a:ext cx="11196300" cy="334099"/>
          </a:xfrm>
          <a:prstGeom prst="rect">
            <a:avLst/>
          </a:prstGeom>
        </p:spPr>
        <p:txBody>
          <a:bodyPr vert="horz" lIns="0" tIns="0" rIns="0" bIns="0" rtlCol="0" anchor="t" anchorCtr="0">
            <a:noAutofit/>
          </a:bodyPr>
          <a:lstStyle>
            <a:lvl1pPr rtl="0">
              <a:defRPr>
                <a:latin typeface="+mj-lt"/>
              </a:defRPr>
            </a:lvl1pPr>
          </a:lstStyle>
          <a:p>
            <a:r>
              <a:rPr lang="de-DE"/>
              <a:t>Click to add title</a:t>
            </a:r>
          </a:p>
        </p:txBody>
      </p:sp>
      <p:sp>
        <p:nvSpPr>
          <p:cNvPr id="15" name="Bildplatzhalter 3" hidden="1"/>
          <p:cNvSpPr>
            <a:spLocks noGrp="1" noChangeAspect="1"/>
          </p:cNvSpPr>
          <p:nvPr>
            <p:ph type="pic" sz="quarter" idx="14"/>
            <p:custDataLst>
              <p:tags r:id="rId4"/>
            </p:custDataLst>
          </p:nvPr>
        </p:nvSpPr>
        <p:spPr>
          <a:xfrm>
            <a:off x="500400" y="1670400"/>
            <a:ext cx="1260000" cy="1260000"/>
          </a:xfrm>
        </p:spPr>
        <p:txBody>
          <a:bodyPr>
            <a:noAutofit/>
          </a:bodyPr>
          <a:lstStyle/>
          <a:p>
            <a:endParaRPr lang="en-US" noProof="0"/>
          </a:p>
        </p:txBody>
      </p:sp>
      <p:sp>
        <p:nvSpPr>
          <p:cNvPr id="16" name="Textplatzhalter 12" hidden="1"/>
          <p:cNvSpPr>
            <a:spLocks noGrp="1"/>
          </p:cNvSpPr>
          <p:nvPr>
            <p:ph type="body" sz="quarter" idx="16" hasCustomPrompt="1"/>
            <p:custDataLst>
              <p:tags r:id="rId5"/>
            </p:custDataLst>
          </p:nvPr>
        </p:nvSpPr>
        <p:spPr>
          <a:xfrm>
            <a:off x="925200" y="3456000"/>
            <a:ext cx="2304000" cy="2926800"/>
          </a:xfrm>
        </p:spPr>
        <p:txBody>
          <a:bodyPr>
            <a:noAutofit/>
          </a:bodyPr>
          <a:lstStyle>
            <a:lvl1pPr rtl="0">
              <a:spcAft>
                <a:spcPts val="600"/>
              </a:spcAft>
              <a:defRPr sz="1000" b="0" baseline="0">
                <a:latin typeface="Calibri" panose="020F0502020204030204" pitchFamily="34" charset="0"/>
                <a:cs typeface="Calibri" panose="020F0502020204030204" pitchFamily="34" charset="0"/>
              </a:defRPr>
            </a:lvl1pPr>
            <a:lvl2pPr>
              <a:spcAft>
                <a:spcPts val="0"/>
              </a:spcAft>
              <a:defRPr b="0"/>
            </a:lvl2pPr>
            <a:lvl3pPr>
              <a:spcAft>
                <a:spcPts val="0"/>
              </a:spcAft>
              <a:defRPr/>
            </a:lvl3pPr>
            <a:lvl4pPr>
              <a:spcAft>
                <a:spcPts val="600"/>
              </a:spcAft>
              <a:defRPr/>
            </a:lvl4pPr>
            <a:lvl5pPr>
              <a:spcAft>
                <a:spcPts val="600"/>
              </a:spcAft>
              <a:defRPr/>
            </a:lvl5pPr>
          </a:lstStyle>
          <a:p>
            <a:pPr lvl="0"/>
            <a:r>
              <a:rPr lang="de-DE" b="0" noProof="0"/>
              <a:t>Business Skills, Technology Skills, Language</a:t>
            </a:r>
            <a:endParaRPr lang="de-DE" noProof="0"/>
          </a:p>
        </p:txBody>
      </p:sp>
      <p:sp>
        <p:nvSpPr>
          <p:cNvPr id="17" name="Textplatzhalter 12" hidden="1"/>
          <p:cNvSpPr>
            <a:spLocks noGrp="1"/>
          </p:cNvSpPr>
          <p:nvPr>
            <p:ph type="body" sz="quarter" idx="24" hasCustomPrompt="1"/>
            <p:custDataLst>
              <p:tags r:id="rId6"/>
            </p:custDataLst>
          </p:nvPr>
        </p:nvSpPr>
        <p:spPr>
          <a:xfrm>
            <a:off x="3348000" y="3456000"/>
            <a:ext cx="2304000" cy="2926800"/>
          </a:xfrm>
        </p:spPr>
        <p:txBody>
          <a:bodyPr>
            <a:noAutofit/>
          </a:bodyPr>
          <a:lstStyle>
            <a:lvl1pPr rtl="0">
              <a:spcAft>
                <a:spcPts val="600"/>
              </a:spcAft>
              <a:defRPr sz="1000" b="0" baseline="0">
                <a:latin typeface="Calibri" panose="020F0502020204030204" pitchFamily="34" charset="0"/>
                <a:cs typeface="Calibri" panose="020F0502020204030204" pitchFamily="34" charset="0"/>
              </a:defRPr>
            </a:lvl1pPr>
            <a:lvl2pPr>
              <a:spcAft>
                <a:spcPts val="0"/>
              </a:spcAft>
              <a:defRPr b="0"/>
            </a:lvl2pPr>
            <a:lvl3pPr>
              <a:spcAft>
                <a:spcPts val="0"/>
              </a:spcAft>
              <a:defRPr/>
            </a:lvl3pPr>
            <a:lvl4pPr>
              <a:spcAft>
                <a:spcPts val="600"/>
              </a:spcAft>
              <a:defRPr/>
            </a:lvl4pPr>
            <a:lvl5pPr>
              <a:spcAft>
                <a:spcPts val="600"/>
              </a:spcAft>
              <a:defRPr/>
            </a:lvl5pPr>
          </a:lstStyle>
          <a:p>
            <a:pPr lvl="0"/>
            <a:r>
              <a:rPr lang="de-DE" b="0" noProof="0"/>
              <a:t>Industry Experience, </a:t>
            </a:r>
            <a:r>
              <a:rPr lang="de-DE" b="0" noProof="0" err="1"/>
              <a:t>Certificates</a:t>
            </a:r>
            <a:r>
              <a:rPr lang="de-DE" b="0" noProof="0"/>
              <a:t>, Education</a:t>
            </a:r>
            <a:endParaRPr lang="de-DE" noProof="0"/>
          </a:p>
        </p:txBody>
      </p:sp>
      <p:sp>
        <p:nvSpPr>
          <p:cNvPr id="18" name="Textplatzhalter 12" hidden="1"/>
          <p:cNvSpPr>
            <a:spLocks noGrp="1"/>
          </p:cNvSpPr>
          <p:nvPr>
            <p:ph type="body" sz="quarter" idx="25" hasCustomPrompt="1"/>
            <p:custDataLst>
              <p:tags r:id="rId7"/>
            </p:custDataLst>
          </p:nvPr>
        </p:nvSpPr>
        <p:spPr>
          <a:xfrm>
            <a:off x="1861200" y="1670400"/>
            <a:ext cx="3790800" cy="1260000"/>
          </a:xfrm>
        </p:spPr>
        <p:txBody>
          <a:bodyPr>
            <a:noAutofit/>
          </a:bodyPr>
          <a:lstStyle>
            <a:lvl1pPr rtl="0">
              <a:spcAft>
                <a:spcPts val="600"/>
              </a:spcAft>
              <a:defRPr sz="1000" b="0" baseline="0">
                <a:latin typeface="Calibri" panose="020F0502020204030204" pitchFamily="34" charset="0"/>
                <a:cs typeface="Calibri" panose="020F0502020204030204" pitchFamily="34" charset="0"/>
              </a:defRPr>
            </a:lvl1pPr>
            <a:lvl2pPr>
              <a:spcAft>
                <a:spcPts val="0"/>
              </a:spcAft>
              <a:defRPr b="0"/>
            </a:lvl2pPr>
            <a:lvl3pPr>
              <a:spcAft>
                <a:spcPts val="0"/>
              </a:spcAft>
              <a:defRPr/>
            </a:lvl3pPr>
            <a:lvl4pPr>
              <a:spcAft>
                <a:spcPts val="600"/>
              </a:spcAft>
              <a:defRPr/>
            </a:lvl4pPr>
            <a:lvl5pPr>
              <a:spcAft>
                <a:spcPts val="600"/>
              </a:spcAft>
              <a:defRPr/>
            </a:lvl5pPr>
          </a:lstStyle>
          <a:p>
            <a:pPr lvl="0"/>
            <a:r>
              <a:rPr lang="de-DE" b="0" noProof="0"/>
              <a:t>First-name Name, Level, </a:t>
            </a:r>
            <a:r>
              <a:rPr lang="de-DE" b="0" noProof="0" err="1"/>
              <a:t>Offering</a:t>
            </a:r>
            <a:r>
              <a:rPr lang="de-DE" b="0" noProof="0"/>
              <a:t> Portfolio, Talent Group, Office Location</a:t>
            </a:r>
            <a:endParaRPr lang="de-DE" noProof="0"/>
          </a:p>
        </p:txBody>
      </p:sp>
      <p:sp>
        <p:nvSpPr>
          <p:cNvPr id="19" name="Textplatzhalter 12" hidden="1"/>
          <p:cNvSpPr>
            <a:spLocks noGrp="1"/>
          </p:cNvSpPr>
          <p:nvPr>
            <p:ph type="body" sz="quarter" idx="26" hasCustomPrompt="1"/>
            <p:custDataLst>
              <p:tags r:id="rId8"/>
            </p:custDataLst>
          </p:nvPr>
        </p:nvSpPr>
        <p:spPr>
          <a:xfrm>
            <a:off x="6339600" y="1951200"/>
            <a:ext cx="5357100" cy="1098000"/>
          </a:xfrm>
        </p:spPr>
        <p:txBody>
          <a:bodyPr>
            <a:noAutofit/>
          </a:bodyPr>
          <a:lstStyle>
            <a:lvl1pPr rtl="0">
              <a:spcAft>
                <a:spcPts val="600"/>
              </a:spcAft>
              <a:defRPr sz="1000" b="0" baseline="0">
                <a:latin typeface="Calibri" panose="020F0502020204030204" pitchFamily="34" charset="0"/>
                <a:cs typeface="Calibri" panose="020F0502020204030204" pitchFamily="34" charset="0"/>
              </a:defRPr>
            </a:lvl1pPr>
            <a:lvl2pPr>
              <a:spcAft>
                <a:spcPts val="0"/>
              </a:spcAft>
              <a:defRPr b="0"/>
            </a:lvl2pPr>
            <a:lvl3pPr>
              <a:spcAft>
                <a:spcPts val="0"/>
              </a:spcAft>
              <a:defRPr/>
            </a:lvl3pPr>
            <a:lvl4pPr>
              <a:spcAft>
                <a:spcPts val="600"/>
              </a:spcAft>
              <a:defRPr/>
            </a:lvl4pPr>
            <a:lvl5pPr>
              <a:spcAft>
                <a:spcPts val="600"/>
              </a:spcAft>
              <a:defRPr/>
            </a:lvl5pPr>
          </a:lstStyle>
          <a:p>
            <a:pPr lvl="0"/>
            <a:r>
              <a:rPr lang="de-DE" b="0" noProof="0" err="1"/>
              <a:t>Resume</a:t>
            </a:r>
            <a:r>
              <a:rPr lang="de-DE" b="0" noProof="0"/>
              <a:t> </a:t>
            </a:r>
            <a:r>
              <a:rPr lang="de-DE" b="0" noProof="0" err="1"/>
              <a:t>text</a:t>
            </a:r>
            <a:r>
              <a:rPr lang="de-DE" b="0" noProof="0"/>
              <a:t> </a:t>
            </a:r>
            <a:r>
              <a:rPr lang="de-DE" b="0" noProof="0" err="1"/>
              <a:t>runs</a:t>
            </a:r>
            <a:r>
              <a:rPr lang="de-DE" b="0" noProof="0"/>
              <a:t> </a:t>
            </a:r>
            <a:r>
              <a:rPr lang="de-DE" b="0" noProof="0" err="1"/>
              <a:t>here</a:t>
            </a:r>
            <a:r>
              <a:rPr lang="de-DE" b="0" noProof="0"/>
              <a:t> </a:t>
            </a:r>
            <a:r>
              <a:rPr lang="de-DE" b="0" noProof="0" err="1"/>
              <a:t>this</a:t>
            </a:r>
            <a:r>
              <a:rPr lang="de-DE" b="0" noProof="0"/>
              <a:t> </a:t>
            </a:r>
            <a:r>
              <a:rPr lang="de-DE" b="0" noProof="0" err="1"/>
              <a:t>is</a:t>
            </a:r>
            <a:r>
              <a:rPr lang="de-DE" b="0" noProof="0"/>
              <a:t> </a:t>
            </a:r>
            <a:r>
              <a:rPr lang="de-DE" b="0" noProof="0" err="1"/>
              <a:t>dummy</a:t>
            </a:r>
            <a:r>
              <a:rPr lang="de-DE" b="0" noProof="0"/>
              <a:t> </a:t>
            </a:r>
            <a:r>
              <a:rPr lang="de-DE" b="0" noProof="0" err="1"/>
              <a:t>text</a:t>
            </a:r>
            <a:r>
              <a:rPr lang="de-DE" b="0" noProof="0"/>
              <a:t> </a:t>
            </a:r>
            <a:r>
              <a:rPr lang="de-DE" b="0" noProof="0" err="1"/>
              <a:t>it</a:t>
            </a:r>
            <a:r>
              <a:rPr lang="de-DE" b="0" noProof="0"/>
              <a:t> </a:t>
            </a:r>
            <a:r>
              <a:rPr lang="de-DE" b="0" noProof="0" err="1"/>
              <a:t>is</a:t>
            </a:r>
            <a:r>
              <a:rPr lang="de-DE" b="0" noProof="0"/>
              <a:t> not </a:t>
            </a:r>
            <a:r>
              <a:rPr lang="de-DE" b="0" noProof="0" err="1"/>
              <a:t>here</a:t>
            </a:r>
            <a:r>
              <a:rPr lang="de-DE" b="0" noProof="0"/>
              <a:t> to </a:t>
            </a:r>
            <a:r>
              <a:rPr lang="de-DE" b="0" noProof="0" err="1"/>
              <a:t>be</a:t>
            </a:r>
            <a:r>
              <a:rPr lang="de-DE" b="0" noProof="0"/>
              <a:t> </a:t>
            </a:r>
            <a:r>
              <a:rPr lang="de-DE" b="0" noProof="0" err="1"/>
              <a:t>read</a:t>
            </a:r>
            <a:r>
              <a:rPr lang="de-DE" b="0" noProof="0"/>
              <a:t> </a:t>
            </a:r>
            <a:r>
              <a:rPr lang="de-DE" b="0" noProof="0" err="1"/>
              <a:t>it</a:t>
            </a:r>
            <a:r>
              <a:rPr lang="de-DE" b="0" noProof="0"/>
              <a:t> </a:t>
            </a:r>
            <a:r>
              <a:rPr lang="de-DE" b="0" noProof="0" err="1"/>
              <a:t>is</a:t>
            </a:r>
            <a:r>
              <a:rPr lang="de-DE" b="0" noProof="0"/>
              <a:t> </a:t>
            </a:r>
            <a:r>
              <a:rPr lang="de-DE" b="0" noProof="0" err="1"/>
              <a:t>here</a:t>
            </a:r>
            <a:r>
              <a:rPr lang="de-DE" b="0" noProof="0"/>
              <a:t> to </a:t>
            </a:r>
            <a:r>
              <a:rPr lang="de-DE" b="0" noProof="0" err="1"/>
              <a:t>show</a:t>
            </a:r>
            <a:r>
              <a:rPr lang="de-DE" b="0" noProof="0"/>
              <a:t> </a:t>
            </a:r>
            <a:r>
              <a:rPr lang="de-DE" b="0" noProof="0" err="1"/>
              <a:t>how</a:t>
            </a:r>
            <a:r>
              <a:rPr lang="de-DE" b="0" noProof="0"/>
              <a:t> </a:t>
            </a:r>
            <a:r>
              <a:rPr lang="de-DE" b="0" noProof="0" err="1"/>
              <a:t>this</a:t>
            </a:r>
            <a:r>
              <a:rPr lang="de-DE" b="0" noProof="0"/>
              <a:t> </a:t>
            </a:r>
            <a:r>
              <a:rPr lang="de-DE" b="0" noProof="0" err="1"/>
              <a:t>document</a:t>
            </a:r>
            <a:r>
              <a:rPr lang="de-DE" b="0" noProof="0"/>
              <a:t> will </a:t>
            </a:r>
            <a:r>
              <a:rPr lang="de-DE" b="0" noProof="0" err="1"/>
              <a:t>look</a:t>
            </a:r>
            <a:r>
              <a:rPr lang="de-DE" b="0" noProof="0"/>
              <a:t> </a:t>
            </a:r>
            <a:r>
              <a:rPr lang="de-DE" b="0" noProof="0" err="1"/>
              <a:t>when</a:t>
            </a:r>
            <a:r>
              <a:rPr lang="de-DE" b="0" noProof="0"/>
              <a:t> </a:t>
            </a:r>
            <a:r>
              <a:rPr lang="de-DE" b="0" noProof="0" err="1"/>
              <a:t>populated</a:t>
            </a:r>
            <a:r>
              <a:rPr lang="de-DE" b="0" noProof="0"/>
              <a:t> with real </a:t>
            </a:r>
            <a:r>
              <a:rPr lang="de-DE" b="0" noProof="0" err="1"/>
              <a:t>text</a:t>
            </a:r>
            <a:r>
              <a:rPr lang="de-DE" b="0" noProof="0"/>
              <a:t>.</a:t>
            </a:r>
          </a:p>
        </p:txBody>
      </p:sp>
      <p:sp>
        <p:nvSpPr>
          <p:cNvPr id="20" name="Textplatzhalter 12" hidden="1"/>
          <p:cNvSpPr>
            <a:spLocks noGrp="1"/>
          </p:cNvSpPr>
          <p:nvPr>
            <p:ph type="body" sz="quarter" idx="27" hasCustomPrompt="1"/>
            <p:custDataLst>
              <p:tags r:id="rId9"/>
            </p:custDataLst>
          </p:nvPr>
        </p:nvSpPr>
        <p:spPr>
          <a:xfrm>
            <a:off x="6159600" y="3456000"/>
            <a:ext cx="5537100" cy="2250000"/>
          </a:xfrm>
        </p:spPr>
        <p:txBody>
          <a:bodyPr>
            <a:noAutofit/>
          </a:bodyPr>
          <a:lstStyle>
            <a:lvl1pPr marL="176400" indent="-176400" rtl="0">
              <a:spcAft>
                <a:spcPts val="0"/>
              </a:spcAft>
              <a:buFont typeface="Arial" panose="020B0604020202020204" pitchFamily="34" charset="0"/>
              <a:buChar char="•"/>
              <a:defRPr sz="1000" b="0" baseline="0">
                <a:latin typeface="Calibri" panose="020F0502020204030204" pitchFamily="34" charset="0"/>
                <a:cs typeface="Calibri" panose="020F0502020204030204" pitchFamily="34" charset="0"/>
              </a:defRPr>
            </a:lvl1pPr>
            <a:lvl2pPr>
              <a:spcAft>
                <a:spcPts val="0"/>
              </a:spcAft>
              <a:defRPr b="0"/>
            </a:lvl2pPr>
            <a:lvl3pPr>
              <a:spcAft>
                <a:spcPts val="0"/>
              </a:spcAft>
              <a:defRPr/>
            </a:lvl3pPr>
            <a:lvl4pPr>
              <a:spcAft>
                <a:spcPts val="600"/>
              </a:spcAft>
              <a:defRPr/>
            </a:lvl4pPr>
            <a:lvl5pPr>
              <a:spcAft>
                <a:spcPts val="600"/>
              </a:spcAft>
              <a:defRPr/>
            </a:lvl5pPr>
          </a:lstStyle>
          <a:p>
            <a:pPr lvl="0"/>
            <a:r>
              <a:rPr lang="de-DE" b="0" noProof="0"/>
              <a:t>Industry: Scope: Technology:</a:t>
            </a:r>
          </a:p>
          <a:p>
            <a:pPr lvl="0"/>
            <a:endParaRPr lang="de-DE" b="0" noProof="0"/>
          </a:p>
        </p:txBody>
      </p:sp>
      <p:sp>
        <p:nvSpPr>
          <p:cNvPr id="21" name="Textplatzhalter 12" hidden="1"/>
          <p:cNvSpPr>
            <a:spLocks noGrp="1"/>
          </p:cNvSpPr>
          <p:nvPr>
            <p:ph type="body" sz="quarter" idx="28" hasCustomPrompt="1"/>
            <p:custDataLst>
              <p:tags r:id="rId10"/>
            </p:custDataLst>
          </p:nvPr>
        </p:nvSpPr>
        <p:spPr>
          <a:xfrm>
            <a:off x="6339600" y="6055200"/>
            <a:ext cx="5357100" cy="324000"/>
          </a:xfrm>
        </p:spPr>
        <p:txBody>
          <a:bodyPr>
            <a:noAutofit/>
          </a:bodyPr>
          <a:lstStyle>
            <a:lvl1pPr rtl="0">
              <a:spcAft>
                <a:spcPts val="600"/>
              </a:spcAft>
              <a:defRPr sz="1000" b="0" baseline="0">
                <a:latin typeface="Calibri" panose="020F0502020204030204" pitchFamily="34" charset="0"/>
                <a:cs typeface="Calibri" panose="020F0502020204030204" pitchFamily="34" charset="0"/>
              </a:defRPr>
            </a:lvl1pPr>
            <a:lvl2pPr>
              <a:spcAft>
                <a:spcPts val="0"/>
              </a:spcAft>
              <a:defRPr b="0"/>
            </a:lvl2pPr>
            <a:lvl3pPr>
              <a:spcAft>
                <a:spcPts val="0"/>
              </a:spcAft>
              <a:defRPr/>
            </a:lvl3pPr>
            <a:lvl4pPr>
              <a:spcAft>
                <a:spcPts val="600"/>
              </a:spcAft>
              <a:defRPr/>
            </a:lvl4pPr>
            <a:lvl5pPr>
              <a:spcAft>
                <a:spcPts val="600"/>
              </a:spcAft>
              <a:defRPr/>
            </a:lvl5pPr>
          </a:lstStyle>
          <a:p>
            <a:pPr lvl="0"/>
            <a:r>
              <a:rPr lang="de-DE" b="0" noProof="0"/>
              <a:t>Client AG, Client Solutions GmbH, Client Ltd.</a:t>
            </a:r>
          </a:p>
          <a:p>
            <a:pPr lvl="0"/>
            <a:endParaRPr lang="de-DE" b="0" noProof="0"/>
          </a:p>
        </p:txBody>
      </p:sp>
    </p:spTree>
    <p:extLst>
      <p:ext uri="{BB962C8B-B14F-4D97-AF65-F5344CB8AC3E}">
        <p14:creationId xmlns:p14="http://schemas.microsoft.com/office/powerpoint/2010/main" val="3302536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9142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73" imgH="476" progId="TCLayout.ActiveDocument.1">
                  <p:embed/>
                </p:oleObj>
              </mc:Choice>
              <mc:Fallback>
                <p:oleObj name="think-cell Folie" r:id="rId6" imgW="473" imgH="47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bg1"/>
          </a:solidFill>
          <a:ln w="6350" algn="ctr">
            <a:solidFill>
              <a:schemeClr val="bg1">
                <a:lumMod val="65000"/>
              </a:schemeClr>
            </a:solidFill>
            <a:miter lim="800000"/>
            <a:headEnd/>
            <a:tailEnd/>
          </a:ln>
        </p:spPr>
        <p:txBody>
          <a:bodyPr wrap="none" lIns="0" tIns="0" rIns="0" bIns="0" rtlCol="0" anchor="ctr"/>
          <a:lstStyle/>
          <a:p>
            <a:pPr marL="0" lvl="0" indent="0" algn="ctr" rtl="0" eaLnBrk="1">
              <a:lnSpc>
                <a:spcPct val="106000"/>
              </a:lnSpc>
              <a:buFont typeface="Wingdings 2" pitchFamily="18" charset="2"/>
              <a:buNone/>
            </a:pPr>
            <a:endParaRPr lang="de-DE" sz="2100" b="0" i="0" baseline="0">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4" name="Text Placeholder 8" hidden="1">
            <a:extLst>
              <a:ext uri="{FF2B5EF4-FFF2-40B4-BE49-F238E27FC236}">
                <a16:creationId xmlns:a16="http://schemas.microsoft.com/office/drawing/2014/main" id="{D1AFA9E9-5EB8-42BF-B15A-3D95DDA547A4}"/>
              </a:ext>
            </a:extLst>
          </p:cNvPr>
          <p:cNvSpPr>
            <a:spLocks noGrp="1"/>
          </p:cNvSpPr>
          <p:nvPr>
            <p:ph type="body" sz="quarter" idx="13" hasCustomPrompt="1"/>
            <p:custDataLst>
              <p:tags r:id="rId3"/>
            </p:custDataLst>
          </p:nvPr>
        </p:nvSpPr>
        <p:spPr>
          <a:xfrm>
            <a:off x="501650" y="651600"/>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de-DE"/>
              <a:t>Click </a:t>
            </a:r>
            <a:r>
              <a:rPr lang="de-DE" err="1"/>
              <a:t>to</a:t>
            </a:r>
            <a:r>
              <a:rPr lang="de-DE"/>
              <a:t> </a:t>
            </a:r>
            <a:r>
              <a:rPr lang="de-DE" err="1"/>
              <a:t>add</a:t>
            </a:r>
            <a:r>
              <a:rPr lang="de-DE"/>
              <a:t> </a:t>
            </a:r>
            <a:r>
              <a:rPr lang="de-DE" err="1"/>
              <a:t>subtitle</a:t>
            </a:r>
            <a:endParaRPr lang="de-DE"/>
          </a:p>
        </p:txBody>
      </p:sp>
      <p:sp>
        <p:nvSpPr>
          <p:cNvPr id="5" name="Title Placeholder 1" hidden="1">
            <a:extLst>
              <a:ext uri="{FF2B5EF4-FFF2-40B4-BE49-F238E27FC236}">
                <a16:creationId xmlns:a16="http://schemas.microsoft.com/office/drawing/2014/main" id="{C3F5B0ED-A4CB-4D19-B6B8-CA9E1139E702}"/>
              </a:ext>
            </a:extLst>
          </p:cNvPr>
          <p:cNvSpPr>
            <a:spLocks noGrp="1"/>
          </p:cNvSpPr>
          <p:nvPr>
            <p:ph type="title" hasCustomPrompt="1"/>
            <p:custDataLst>
              <p:tags r:id="rId4"/>
            </p:custDataLst>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de-DE"/>
              <a:t>Click </a:t>
            </a:r>
            <a:r>
              <a:rPr lang="de-DE" err="1"/>
              <a:t>to</a:t>
            </a:r>
            <a:r>
              <a:rPr lang="de-DE"/>
              <a:t> </a:t>
            </a:r>
            <a:r>
              <a:rPr lang="de-DE" err="1"/>
              <a:t>add</a:t>
            </a:r>
            <a:r>
              <a:rPr lang="de-DE"/>
              <a:t> title</a:t>
            </a:r>
          </a:p>
        </p:txBody>
      </p:sp>
    </p:spTree>
    <p:extLst>
      <p:ext uri="{BB962C8B-B14F-4D97-AF65-F5344CB8AC3E}">
        <p14:creationId xmlns:p14="http://schemas.microsoft.com/office/powerpoint/2010/main" val="218404647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10" name="Titelplatzhalter 1" hidden="1">
            <a:extLst>
              <a:ext uri="{FF2B5EF4-FFF2-40B4-BE49-F238E27FC236}">
                <a16:creationId xmlns:a16="http://schemas.microsoft.com/office/drawing/2014/main" id="{A97184D1-63A9-4D37-9E8B-87B308489D55}"/>
              </a:ext>
            </a:extLst>
          </p:cNvPr>
          <p:cNvSpPr>
            <a:spLocks noGrp="1"/>
          </p:cNvSpPr>
          <p:nvPr>
            <p:ph type="title" hasCustomPrompt="1"/>
            <p:custDataLst>
              <p:tags r:id="rId1"/>
            </p:custDataLst>
          </p:nvPr>
        </p:nvSpPr>
        <p:spPr>
          <a:xfrm>
            <a:off x="403200" y="342000"/>
            <a:ext cx="7708800" cy="885600"/>
          </a:xfrm>
          <a:prstGeom prst="rect">
            <a:avLst/>
          </a:prstGeom>
        </p:spPr>
        <p:txBody>
          <a:bodyPr vert="horz" lIns="91440" tIns="45720" rIns="91440" bIns="45720" rtlCol="0" anchor="t">
            <a:noAutofit/>
          </a:bodyPr>
          <a:lstStyle>
            <a:lvl1pPr>
              <a:defRPr lang="de-DE" dirty="0"/>
            </a:lvl1pPr>
          </a:lstStyle>
          <a:p>
            <a:pPr lvl="0"/>
            <a:r>
              <a:rPr lang="de-DE"/>
              <a:t>Titelmasterformat durch </a:t>
            </a:r>
            <a:br>
              <a:rPr lang="de-DE"/>
            </a:br>
            <a:r>
              <a:rPr lang="de-DE"/>
              <a:t>Klicken bearbeiten</a:t>
            </a:r>
          </a:p>
        </p:txBody>
      </p:sp>
      <p:sp>
        <p:nvSpPr>
          <p:cNvPr id="5" name="Fußzeilenplatzhalter 2" hidden="1">
            <a:extLst>
              <a:ext uri="{FF2B5EF4-FFF2-40B4-BE49-F238E27FC236}">
                <a16:creationId xmlns:a16="http://schemas.microsoft.com/office/drawing/2014/main" id="{1B26C195-1439-4317-B14B-7C480A7C7352}"/>
              </a:ext>
            </a:extLst>
          </p:cNvPr>
          <p:cNvSpPr>
            <a:spLocks noGrp="1"/>
          </p:cNvSpPr>
          <p:nvPr>
            <p:ph type="ftr" sz="quarter" idx="10"/>
            <p:custDataLst>
              <p:tags r:id="rId2"/>
            </p:custDataLst>
          </p:nvPr>
        </p:nvSpPr>
        <p:spPr>
          <a:xfrm>
            <a:off x="8400256" y="6516919"/>
            <a:ext cx="2772858" cy="246221"/>
          </a:xfrm>
        </p:spPr>
        <p:txBody>
          <a:bodyPr/>
          <a:lstStyle/>
          <a:p>
            <a:r>
              <a:rPr lang="de-DE"/>
              <a:t>Westfalen Weser | SMARAGD</a:t>
            </a:r>
          </a:p>
        </p:txBody>
      </p:sp>
      <p:sp>
        <p:nvSpPr>
          <p:cNvPr id="6" name="Foliennummernplatzhalter 3">
            <a:extLst>
              <a:ext uri="{FF2B5EF4-FFF2-40B4-BE49-F238E27FC236}">
                <a16:creationId xmlns:a16="http://schemas.microsoft.com/office/drawing/2014/main" id="{4330D194-20F9-4D00-907F-60E57219CC85}"/>
              </a:ext>
            </a:extLst>
          </p:cNvPr>
          <p:cNvSpPr>
            <a:spLocks noGrp="1"/>
          </p:cNvSpPr>
          <p:nvPr>
            <p:ph type="sldNum" sz="quarter" idx="11"/>
          </p:nvPr>
        </p:nvSpPr>
        <p:spPr>
          <a:xfrm>
            <a:off x="11173679" y="6516919"/>
            <a:ext cx="598435" cy="246221"/>
          </a:xfrm>
        </p:spPr>
        <p:txBody>
          <a:bodyPr/>
          <a:lstStyle/>
          <a:p>
            <a:pPr algn="r"/>
            <a:fld id="{D8E6F146-144E-4376-A851-2B252C9A0172}" type="slidenum">
              <a:rPr lang="de-DE" smtClean="0"/>
              <a:pPr algn="r"/>
              <a:t>‹#›</a:t>
            </a:fld>
            <a:endParaRPr lang="de-DE"/>
          </a:p>
        </p:txBody>
      </p:sp>
      <p:grpSp>
        <p:nvGrpSpPr>
          <p:cNvPr id="7" name="Group 9" hidden="1">
            <a:extLst>
              <a:ext uri="{FF2B5EF4-FFF2-40B4-BE49-F238E27FC236}">
                <a16:creationId xmlns:a16="http://schemas.microsoft.com/office/drawing/2014/main" id="{297502A0-814D-4F88-8EC3-D34436304DCA}"/>
              </a:ext>
            </a:extLst>
          </p:cNvPr>
          <p:cNvGrpSpPr>
            <a:grpSpLocks noChangeAspect="1"/>
          </p:cNvGrpSpPr>
          <p:nvPr userDrawn="1">
            <p:custDataLst>
              <p:tags r:id="rId3"/>
            </p:custDataLst>
          </p:nvPr>
        </p:nvGrpSpPr>
        <p:grpSpPr>
          <a:xfrm>
            <a:off x="83384" y="6381328"/>
            <a:ext cx="468000" cy="433336"/>
            <a:chOff x="9849154" y="2198172"/>
            <a:chExt cx="1198679" cy="1109877"/>
          </a:xfrm>
        </p:grpSpPr>
        <p:sp>
          <p:nvSpPr>
            <p:cNvPr id="8" name="Oval 10" hidden="1">
              <a:extLst>
                <a:ext uri="{FF2B5EF4-FFF2-40B4-BE49-F238E27FC236}">
                  <a16:creationId xmlns:a16="http://schemas.microsoft.com/office/drawing/2014/main" id="{B30F1AA8-526F-4DE7-B882-DD8B6F85BA80}"/>
                </a:ext>
              </a:extLst>
            </p:cNvPr>
            <p:cNvSpPr/>
            <p:nvPr/>
          </p:nvSpPr>
          <p:spPr>
            <a:xfrm>
              <a:off x="9849154" y="2198172"/>
              <a:ext cx="1198679" cy="11098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9" name="Freeform 228" hidden="1">
              <a:extLst>
                <a:ext uri="{FF2B5EF4-FFF2-40B4-BE49-F238E27FC236}">
                  <a16:creationId xmlns:a16="http://schemas.microsoft.com/office/drawing/2014/main" id="{61A0B74B-183B-4C76-A458-6659804C8A95}"/>
                </a:ext>
              </a:extLst>
            </p:cNvPr>
            <p:cNvSpPr>
              <a:spLocks noChangeAspect="1" noEditPoints="1"/>
            </p:cNvSpPr>
            <p:nvPr/>
          </p:nvSpPr>
          <p:spPr bwMode="auto">
            <a:xfrm>
              <a:off x="9901642" y="2300806"/>
              <a:ext cx="1093705" cy="904610"/>
            </a:xfrm>
            <a:custGeom>
              <a:avLst/>
              <a:gdLst>
                <a:gd name="T0" fmla="*/ 320 w 322"/>
                <a:gd name="T1" fmla="*/ 91 h 267"/>
                <a:gd name="T2" fmla="*/ 277 w 322"/>
                <a:gd name="T3" fmla="*/ 6 h 267"/>
                <a:gd name="T4" fmla="*/ 267 w 322"/>
                <a:gd name="T5" fmla="*/ 0 h 267"/>
                <a:gd name="T6" fmla="*/ 54 w 322"/>
                <a:gd name="T7" fmla="*/ 0 h 267"/>
                <a:gd name="T8" fmla="*/ 44 w 322"/>
                <a:gd name="T9" fmla="*/ 6 h 267"/>
                <a:gd name="T10" fmla="*/ 2 w 322"/>
                <a:gd name="T11" fmla="*/ 91 h 267"/>
                <a:gd name="T12" fmla="*/ 4 w 322"/>
                <a:gd name="T13" fmla="*/ 103 h 267"/>
                <a:gd name="T14" fmla="*/ 153 w 322"/>
                <a:gd name="T15" fmla="*/ 263 h 267"/>
                <a:gd name="T16" fmla="*/ 161 w 322"/>
                <a:gd name="T17" fmla="*/ 267 h 267"/>
                <a:gd name="T18" fmla="*/ 168 w 322"/>
                <a:gd name="T19" fmla="*/ 263 h 267"/>
                <a:gd name="T20" fmla="*/ 318 w 322"/>
                <a:gd name="T21" fmla="*/ 103 h 267"/>
                <a:gd name="T22" fmla="*/ 320 w 322"/>
                <a:gd name="T23" fmla="*/ 91 h 267"/>
                <a:gd name="T24" fmla="*/ 214 w 322"/>
                <a:gd name="T25" fmla="*/ 107 h 267"/>
                <a:gd name="T26" fmla="*/ 161 w 322"/>
                <a:gd name="T27" fmla="*/ 229 h 267"/>
                <a:gd name="T28" fmla="*/ 108 w 322"/>
                <a:gd name="T29" fmla="*/ 107 h 267"/>
                <a:gd name="T30" fmla="*/ 214 w 322"/>
                <a:gd name="T31" fmla="*/ 107 h 267"/>
                <a:gd name="T32" fmla="*/ 118 w 322"/>
                <a:gd name="T33" fmla="*/ 85 h 267"/>
                <a:gd name="T34" fmla="*/ 161 w 322"/>
                <a:gd name="T35" fmla="*/ 28 h 267"/>
                <a:gd name="T36" fmla="*/ 203 w 322"/>
                <a:gd name="T37" fmla="*/ 85 h 267"/>
                <a:gd name="T38" fmla="*/ 118 w 322"/>
                <a:gd name="T39" fmla="*/ 85 h 267"/>
                <a:gd name="T40" fmla="*/ 185 w 322"/>
                <a:gd name="T41" fmla="*/ 21 h 267"/>
                <a:gd name="T42" fmla="*/ 251 w 322"/>
                <a:gd name="T43" fmla="*/ 21 h 267"/>
                <a:gd name="T44" fmla="*/ 226 w 322"/>
                <a:gd name="T45" fmla="*/ 78 h 267"/>
                <a:gd name="T46" fmla="*/ 185 w 322"/>
                <a:gd name="T47" fmla="*/ 21 h 267"/>
                <a:gd name="T48" fmla="*/ 95 w 322"/>
                <a:gd name="T49" fmla="*/ 78 h 267"/>
                <a:gd name="T50" fmla="*/ 71 w 322"/>
                <a:gd name="T51" fmla="*/ 21 h 267"/>
                <a:gd name="T52" fmla="*/ 137 w 322"/>
                <a:gd name="T53" fmla="*/ 21 h 267"/>
                <a:gd name="T54" fmla="*/ 95 w 322"/>
                <a:gd name="T55" fmla="*/ 78 h 267"/>
                <a:gd name="T56" fmla="*/ 76 w 322"/>
                <a:gd name="T57" fmla="*/ 85 h 267"/>
                <a:gd name="T58" fmla="*/ 29 w 322"/>
                <a:gd name="T59" fmla="*/ 85 h 267"/>
                <a:gd name="T60" fmla="*/ 54 w 322"/>
                <a:gd name="T61" fmla="*/ 35 h 267"/>
                <a:gd name="T62" fmla="*/ 76 w 322"/>
                <a:gd name="T63" fmla="*/ 85 h 267"/>
                <a:gd name="T64" fmla="*/ 85 w 322"/>
                <a:gd name="T65" fmla="*/ 107 h 267"/>
                <a:gd name="T66" fmla="*/ 129 w 322"/>
                <a:gd name="T67" fmla="*/ 207 h 267"/>
                <a:gd name="T68" fmla="*/ 36 w 322"/>
                <a:gd name="T69" fmla="*/ 107 h 267"/>
                <a:gd name="T70" fmla="*/ 85 w 322"/>
                <a:gd name="T71" fmla="*/ 107 h 267"/>
                <a:gd name="T72" fmla="*/ 236 w 322"/>
                <a:gd name="T73" fmla="*/ 107 h 267"/>
                <a:gd name="T74" fmla="*/ 285 w 322"/>
                <a:gd name="T75" fmla="*/ 107 h 267"/>
                <a:gd name="T76" fmla="*/ 192 w 322"/>
                <a:gd name="T77" fmla="*/ 207 h 267"/>
                <a:gd name="T78" fmla="*/ 236 w 322"/>
                <a:gd name="T79" fmla="*/ 107 h 267"/>
                <a:gd name="T80" fmla="*/ 245 w 322"/>
                <a:gd name="T81" fmla="*/ 85 h 267"/>
                <a:gd name="T82" fmla="*/ 267 w 322"/>
                <a:gd name="T83" fmla="*/ 35 h 267"/>
                <a:gd name="T84" fmla="*/ 293 w 322"/>
                <a:gd name="T85" fmla="*/ 85 h 267"/>
                <a:gd name="T86" fmla="*/ 245 w 322"/>
                <a:gd name="T87" fmla="*/ 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7">
                  <a:moveTo>
                    <a:pt x="320" y="91"/>
                  </a:moveTo>
                  <a:cubicBezTo>
                    <a:pt x="277" y="6"/>
                    <a:pt x="277" y="6"/>
                    <a:pt x="277" y="6"/>
                  </a:cubicBezTo>
                  <a:cubicBezTo>
                    <a:pt x="275" y="2"/>
                    <a:pt x="271" y="0"/>
                    <a:pt x="267" y="0"/>
                  </a:cubicBezTo>
                  <a:cubicBezTo>
                    <a:pt x="54" y="0"/>
                    <a:pt x="54" y="0"/>
                    <a:pt x="54" y="0"/>
                  </a:cubicBezTo>
                  <a:cubicBezTo>
                    <a:pt x="50" y="0"/>
                    <a:pt x="46" y="2"/>
                    <a:pt x="44" y="6"/>
                  </a:cubicBezTo>
                  <a:cubicBezTo>
                    <a:pt x="2" y="91"/>
                    <a:pt x="2" y="91"/>
                    <a:pt x="2" y="91"/>
                  </a:cubicBezTo>
                  <a:cubicBezTo>
                    <a:pt x="0" y="95"/>
                    <a:pt x="0" y="100"/>
                    <a:pt x="4" y="103"/>
                  </a:cubicBezTo>
                  <a:cubicBezTo>
                    <a:pt x="153" y="263"/>
                    <a:pt x="153" y="263"/>
                    <a:pt x="153" y="263"/>
                  </a:cubicBezTo>
                  <a:cubicBezTo>
                    <a:pt x="155" y="265"/>
                    <a:pt x="158" y="267"/>
                    <a:pt x="161" y="267"/>
                  </a:cubicBezTo>
                  <a:cubicBezTo>
                    <a:pt x="164" y="267"/>
                    <a:pt x="166" y="265"/>
                    <a:pt x="168" y="263"/>
                  </a:cubicBezTo>
                  <a:cubicBezTo>
                    <a:pt x="318" y="103"/>
                    <a:pt x="318" y="103"/>
                    <a:pt x="318" y="103"/>
                  </a:cubicBezTo>
                  <a:cubicBezTo>
                    <a:pt x="321" y="100"/>
                    <a:pt x="322" y="95"/>
                    <a:pt x="320" y="91"/>
                  </a:cubicBezTo>
                  <a:close/>
                  <a:moveTo>
                    <a:pt x="214" y="107"/>
                  </a:moveTo>
                  <a:cubicBezTo>
                    <a:pt x="161" y="229"/>
                    <a:pt x="161" y="229"/>
                    <a:pt x="161" y="229"/>
                  </a:cubicBezTo>
                  <a:cubicBezTo>
                    <a:pt x="108" y="107"/>
                    <a:pt x="108" y="107"/>
                    <a:pt x="108" y="107"/>
                  </a:cubicBezTo>
                  <a:lnTo>
                    <a:pt x="214" y="107"/>
                  </a:lnTo>
                  <a:close/>
                  <a:moveTo>
                    <a:pt x="118" y="85"/>
                  </a:moveTo>
                  <a:cubicBezTo>
                    <a:pt x="161" y="28"/>
                    <a:pt x="161" y="28"/>
                    <a:pt x="161" y="28"/>
                  </a:cubicBezTo>
                  <a:cubicBezTo>
                    <a:pt x="203" y="85"/>
                    <a:pt x="203" y="85"/>
                    <a:pt x="203" y="85"/>
                  </a:cubicBezTo>
                  <a:lnTo>
                    <a:pt x="118" y="85"/>
                  </a:lnTo>
                  <a:close/>
                  <a:moveTo>
                    <a:pt x="185" y="21"/>
                  </a:moveTo>
                  <a:cubicBezTo>
                    <a:pt x="251" y="21"/>
                    <a:pt x="251" y="21"/>
                    <a:pt x="251" y="21"/>
                  </a:cubicBezTo>
                  <a:cubicBezTo>
                    <a:pt x="226" y="78"/>
                    <a:pt x="226" y="78"/>
                    <a:pt x="226" y="78"/>
                  </a:cubicBezTo>
                  <a:lnTo>
                    <a:pt x="185" y="21"/>
                  </a:lnTo>
                  <a:close/>
                  <a:moveTo>
                    <a:pt x="95" y="78"/>
                  </a:moveTo>
                  <a:cubicBezTo>
                    <a:pt x="71" y="21"/>
                    <a:pt x="71" y="21"/>
                    <a:pt x="71" y="21"/>
                  </a:cubicBezTo>
                  <a:cubicBezTo>
                    <a:pt x="137" y="21"/>
                    <a:pt x="137" y="21"/>
                    <a:pt x="137" y="21"/>
                  </a:cubicBezTo>
                  <a:lnTo>
                    <a:pt x="95" y="78"/>
                  </a:lnTo>
                  <a:close/>
                  <a:moveTo>
                    <a:pt x="76" y="85"/>
                  </a:moveTo>
                  <a:cubicBezTo>
                    <a:pt x="29" y="85"/>
                    <a:pt x="29" y="85"/>
                    <a:pt x="29" y="85"/>
                  </a:cubicBezTo>
                  <a:cubicBezTo>
                    <a:pt x="54" y="35"/>
                    <a:pt x="54" y="35"/>
                    <a:pt x="54" y="35"/>
                  </a:cubicBezTo>
                  <a:lnTo>
                    <a:pt x="76" y="85"/>
                  </a:lnTo>
                  <a:close/>
                  <a:moveTo>
                    <a:pt x="85" y="107"/>
                  </a:moveTo>
                  <a:cubicBezTo>
                    <a:pt x="129" y="207"/>
                    <a:pt x="129" y="207"/>
                    <a:pt x="129" y="207"/>
                  </a:cubicBezTo>
                  <a:cubicBezTo>
                    <a:pt x="36" y="107"/>
                    <a:pt x="36" y="107"/>
                    <a:pt x="36" y="107"/>
                  </a:cubicBezTo>
                  <a:lnTo>
                    <a:pt x="85" y="107"/>
                  </a:lnTo>
                  <a:close/>
                  <a:moveTo>
                    <a:pt x="236" y="107"/>
                  </a:moveTo>
                  <a:cubicBezTo>
                    <a:pt x="285" y="107"/>
                    <a:pt x="285" y="107"/>
                    <a:pt x="285" y="107"/>
                  </a:cubicBezTo>
                  <a:cubicBezTo>
                    <a:pt x="192" y="207"/>
                    <a:pt x="192" y="207"/>
                    <a:pt x="192" y="207"/>
                  </a:cubicBezTo>
                  <a:lnTo>
                    <a:pt x="236" y="107"/>
                  </a:lnTo>
                  <a:close/>
                  <a:moveTo>
                    <a:pt x="245" y="85"/>
                  </a:moveTo>
                  <a:cubicBezTo>
                    <a:pt x="267" y="35"/>
                    <a:pt x="267" y="35"/>
                    <a:pt x="267" y="35"/>
                  </a:cubicBezTo>
                  <a:cubicBezTo>
                    <a:pt x="293" y="85"/>
                    <a:pt x="293" y="85"/>
                    <a:pt x="293" y="85"/>
                  </a:cubicBezTo>
                  <a:lnTo>
                    <a:pt x="245" y="85"/>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de-DE"/>
            </a:p>
          </p:txBody>
        </p:sp>
      </p:grpSp>
      <p:sp>
        <p:nvSpPr>
          <p:cNvPr id="11" name="Rectangle 13" hidden="1">
            <a:extLst>
              <a:ext uri="{FF2B5EF4-FFF2-40B4-BE49-F238E27FC236}">
                <a16:creationId xmlns:a16="http://schemas.microsoft.com/office/drawing/2014/main" id="{F97BD9D2-F62F-47CC-8078-68BD4C8882AC}"/>
              </a:ext>
            </a:extLst>
          </p:cNvPr>
          <p:cNvSpPr/>
          <p:nvPr userDrawn="1">
            <p:custDataLst>
              <p:tags r:id="rId4"/>
            </p:custDataLst>
          </p:nvPr>
        </p:nvSpPr>
        <p:spPr>
          <a:xfrm>
            <a:off x="371936" y="6579328"/>
            <a:ext cx="720000"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de-DE" sz="900" b="1">
                <a:solidFill>
                  <a:schemeClr val="accent1"/>
                </a:solidFill>
              </a:rPr>
              <a:t>SMARAGD</a:t>
            </a:r>
          </a:p>
        </p:txBody>
      </p:sp>
    </p:spTree>
    <p:extLst>
      <p:ext uri="{BB962C8B-B14F-4D97-AF65-F5344CB8AC3E}">
        <p14:creationId xmlns:p14="http://schemas.microsoft.com/office/powerpoint/2010/main" val="504067907"/>
      </p:ext>
    </p:extLst>
  </p:cSld>
  <p:clrMapOvr>
    <a:masterClrMapping/>
  </p:clrMapOvr>
  <p:extLst>
    <p:ext uri="{DCECCB84-F9BA-43D5-87BE-67443E8EF086}">
      <p15:sldGuideLst xmlns:p15="http://schemas.microsoft.com/office/powerpoint/2012/main">
        <p15:guide id="1" orient="horz" pos="1117">
          <p15:clr>
            <a:srgbClr val="FBAE40"/>
          </p15:clr>
        </p15:guide>
        <p15:guide id="2" pos="302">
          <p15:clr>
            <a:srgbClr val="FBAE40"/>
          </p15:clr>
        </p15:guide>
        <p15:guide id="3" pos="7378">
          <p15:clr>
            <a:srgbClr val="FBAE40"/>
          </p15:clr>
        </p15:guide>
        <p15:guide id="4" orient="horz" pos="402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91482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470" imgH="469" progId="TCLayout.ActiveDocument.1">
                  <p:embed/>
                </p:oleObj>
              </mc:Choice>
              <mc:Fallback>
                <p:oleObj name="think-cell Folie" r:id="rId9" imgW="470" imgH="469" progId="TCLayout.ActiveDocument.1">
                  <p:embed/>
                  <p:pic>
                    <p:nvPicPr>
                      <p:cNvPr id="3" name="Object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lvl="0" indent="0" algn="ctr" rtl="0" eaLnBrk="1">
              <a:lnSpc>
                <a:spcPct val="100000"/>
              </a:lnSpc>
              <a:spcBef>
                <a:spcPct val="0"/>
              </a:spcBef>
              <a:spcAft>
                <a:spcPct val="0"/>
              </a:spcAft>
              <a:buFont typeface="Wingdings 2" pitchFamily="18" charset="2"/>
              <a:buNone/>
            </a:pPr>
            <a:endParaRPr lang="de-DE" sz="2000" b="0" i="0" baseline="0">
              <a:solidFill>
                <a:schemeClr val="bg1"/>
              </a:solidFill>
              <a:latin typeface="Calibri" panose="020F0502020204030204" pitchFamily="34" charset="0"/>
              <a:ea typeface="+mj-ea"/>
              <a:cs typeface="+mj-cs"/>
              <a:sym typeface="Calibri" panose="020F0502020204030204" pitchFamily="34" charset="0"/>
            </a:endParaRPr>
          </a:p>
        </p:txBody>
      </p:sp>
      <p:sp>
        <p:nvSpPr>
          <p:cNvPr id="5" name="Text Placeholder 8" hidden="1"/>
          <p:cNvSpPr>
            <a:spLocks noGrp="1"/>
          </p:cNvSpPr>
          <p:nvPr>
            <p:ph type="body" sz="quarter" idx="13" hasCustomPrompt="1"/>
            <p:custDataLst>
              <p:tags r:id="rId3"/>
            </p:custDataLst>
          </p:nvPr>
        </p:nvSpPr>
        <p:spPr>
          <a:xfrm>
            <a:off x="469900" y="736688"/>
            <a:ext cx="11252200" cy="757255"/>
          </a:xfrm>
          <a:prstGeom prst="rect">
            <a:avLst/>
          </a:prstGeom>
        </p:spPr>
        <p:txBody>
          <a:bodyPr lIns="0" tIns="0" rIns="0" bIns="0">
            <a:noAutofit/>
          </a:bodyPr>
          <a:lstStyle>
            <a:lvl1pPr marL="0" indent="0" rtl="0">
              <a:spcAft>
                <a:spcPts val="0"/>
              </a:spcAft>
              <a:buNone/>
              <a:defRPr sz="2000" b="0">
                <a:solidFill>
                  <a:srgbClr val="575757"/>
                </a:solidFill>
              </a:defRPr>
            </a:lvl1pPr>
          </a:lstStyle>
          <a:p>
            <a:pPr lvl="0"/>
            <a:r>
              <a:rPr lang="de-DE" noProof="0"/>
              <a:t>Click </a:t>
            </a:r>
            <a:r>
              <a:rPr lang="de-DE" noProof="0" err="1"/>
              <a:t>to</a:t>
            </a:r>
            <a:r>
              <a:rPr lang="de-DE" noProof="0"/>
              <a:t> </a:t>
            </a:r>
            <a:r>
              <a:rPr lang="de-DE" noProof="0" err="1"/>
              <a:t>add</a:t>
            </a:r>
            <a:r>
              <a:rPr lang="de-DE" noProof="0"/>
              <a:t> </a:t>
            </a:r>
            <a:r>
              <a:rPr lang="de-DE" noProof="0" err="1"/>
              <a:t>subtitle</a:t>
            </a:r>
            <a:endParaRPr lang="de-DE" noProof="0"/>
          </a:p>
        </p:txBody>
      </p:sp>
      <p:sp>
        <p:nvSpPr>
          <p:cNvPr id="6" name="Title Placeholder 1" hidden="1"/>
          <p:cNvSpPr>
            <a:spLocks noGrp="1"/>
          </p:cNvSpPr>
          <p:nvPr>
            <p:ph type="title"/>
            <p:custDataLst>
              <p:tags r:id="rId4"/>
            </p:custDataLst>
          </p:nvPr>
        </p:nvSpPr>
        <p:spPr>
          <a:xfrm>
            <a:off x="469900" y="402586"/>
            <a:ext cx="11252200" cy="360000"/>
          </a:xfrm>
          <a:prstGeom prst="rect">
            <a:avLst/>
          </a:prstGeom>
        </p:spPr>
        <p:txBody>
          <a:bodyPr vert="horz" lIns="0" tIns="0" rIns="0" bIns="0" rtlCol="0" anchor="t" anchorCtr="0">
            <a:noAutofit/>
          </a:bodyPr>
          <a:lstStyle>
            <a:lvl1pPr rtl="0">
              <a:defRPr sz="2000"/>
            </a:lvl1pPr>
          </a:lstStyle>
          <a:p>
            <a:r>
              <a:rPr lang="de-DE" noProof="0"/>
              <a:t>Mastertitelformat bearbeiten</a:t>
            </a:r>
          </a:p>
        </p:txBody>
      </p:sp>
      <p:sp>
        <p:nvSpPr>
          <p:cNvPr id="7" name="Foliennummernplatzhalter 3">
            <a:extLst>
              <a:ext uri="{FF2B5EF4-FFF2-40B4-BE49-F238E27FC236}">
                <a16:creationId xmlns:a16="http://schemas.microsoft.com/office/drawing/2014/main" id="{3E13C783-B4E9-48C4-B6C9-030CC01284BC}"/>
              </a:ext>
            </a:extLst>
          </p:cNvPr>
          <p:cNvSpPr>
            <a:spLocks noGrp="1"/>
          </p:cNvSpPr>
          <p:nvPr>
            <p:ph type="sldNum" sz="quarter" idx="11"/>
          </p:nvPr>
        </p:nvSpPr>
        <p:spPr>
          <a:xfrm>
            <a:off x="11173679" y="6516919"/>
            <a:ext cx="598435" cy="246221"/>
          </a:xfrm>
          <a:prstGeom prst="rect">
            <a:avLst/>
          </a:prstGeom>
        </p:spPr>
        <p:txBody>
          <a:bodyPr/>
          <a:lstStyle>
            <a:lvl1pPr rtl="0">
              <a:defRPr/>
            </a:lvl1pPr>
          </a:lstStyle>
          <a:p>
            <a:pPr algn="r"/>
            <a:fld id="{D8E6F146-144E-4376-A851-2B252C9A0172}" type="slidenum">
              <a:rPr lang="de-DE" smtClean="0"/>
              <a:pPr algn="r"/>
              <a:t>‹#›</a:t>
            </a:fld>
            <a:endParaRPr lang="de-DE"/>
          </a:p>
        </p:txBody>
      </p:sp>
      <p:sp>
        <p:nvSpPr>
          <p:cNvPr id="8" name="Footer Placeholder 1" hidden="1"/>
          <p:cNvSpPr>
            <a:spLocks noGrp="1"/>
          </p:cNvSpPr>
          <p:nvPr>
            <p:ph type="ftr" sz="quarter" idx="4294967295"/>
            <p:custDataLst>
              <p:tags r:id="rId5"/>
            </p:custDataLst>
          </p:nvPr>
        </p:nvSpPr>
        <p:spPr>
          <a:xfrm>
            <a:off x="8400256" y="6516919"/>
            <a:ext cx="2772858" cy="246221"/>
          </a:xfrm>
          <a:prstGeom prst="rect">
            <a:avLst/>
          </a:prstGeom>
        </p:spPr>
        <p:txBody>
          <a:bodyPr/>
          <a:lstStyle>
            <a:lvl1pPr rtl="0">
              <a:defRPr/>
            </a:lvl1pPr>
          </a:lstStyle>
          <a:p>
            <a:r>
              <a:rPr lang="de-DE"/>
              <a:t>Westfalen Weser | SMARAGD</a:t>
            </a:r>
          </a:p>
        </p:txBody>
      </p:sp>
      <p:grpSp>
        <p:nvGrpSpPr>
          <p:cNvPr id="9" name="Group 9" hidden="1">
            <a:extLst>
              <a:ext uri="{FF2B5EF4-FFF2-40B4-BE49-F238E27FC236}">
                <a16:creationId xmlns:a16="http://schemas.microsoft.com/office/drawing/2014/main" id="{ABF4DA1C-EC78-4045-9F4F-6052E69CC7D4}"/>
              </a:ext>
            </a:extLst>
          </p:cNvPr>
          <p:cNvGrpSpPr>
            <a:grpSpLocks noChangeAspect="1"/>
          </p:cNvGrpSpPr>
          <p:nvPr userDrawn="1">
            <p:custDataLst>
              <p:tags r:id="rId6"/>
            </p:custDataLst>
          </p:nvPr>
        </p:nvGrpSpPr>
        <p:grpSpPr>
          <a:xfrm>
            <a:off x="83384" y="6381328"/>
            <a:ext cx="468000" cy="433336"/>
            <a:chOff x="9849154" y="2198172"/>
            <a:chExt cx="1198679" cy="1109877"/>
          </a:xfrm>
        </p:grpSpPr>
        <p:sp>
          <p:nvSpPr>
            <p:cNvPr id="10" name="Oval 10" hidden="1">
              <a:extLst>
                <a:ext uri="{FF2B5EF4-FFF2-40B4-BE49-F238E27FC236}">
                  <a16:creationId xmlns:a16="http://schemas.microsoft.com/office/drawing/2014/main" id="{F5F9F3D6-8763-429D-B95B-7C6A97AF03EB}"/>
                </a:ext>
              </a:extLst>
            </p:cNvPr>
            <p:cNvSpPr/>
            <p:nvPr/>
          </p:nvSpPr>
          <p:spPr>
            <a:xfrm>
              <a:off x="9849154" y="2198172"/>
              <a:ext cx="1198679" cy="11098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11" name="Freeform 228" hidden="1">
              <a:extLst>
                <a:ext uri="{FF2B5EF4-FFF2-40B4-BE49-F238E27FC236}">
                  <a16:creationId xmlns:a16="http://schemas.microsoft.com/office/drawing/2014/main" id="{13E873AD-91E2-4818-B869-3B8986D700F8}"/>
                </a:ext>
              </a:extLst>
            </p:cNvPr>
            <p:cNvSpPr>
              <a:spLocks noChangeAspect="1" noEditPoints="1"/>
            </p:cNvSpPr>
            <p:nvPr/>
          </p:nvSpPr>
          <p:spPr bwMode="auto">
            <a:xfrm>
              <a:off x="9901642" y="2300806"/>
              <a:ext cx="1093705" cy="904610"/>
            </a:xfrm>
            <a:custGeom>
              <a:avLst/>
              <a:gdLst>
                <a:gd name="T0" fmla="*/ 320 w 322"/>
                <a:gd name="T1" fmla="*/ 91 h 267"/>
                <a:gd name="T2" fmla="*/ 277 w 322"/>
                <a:gd name="T3" fmla="*/ 6 h 267"/>
                <a:gd name="T4" fmla="*/ 267 w 322"/>
                <a:gd name="T5" fmla="*/ 0 h 267"/>
                <a:gd name="T6" fmla="*/ 54 w 322"/>
                <a:gd name="T7" fmla="*/ 0 h 267"/>
                <a:gd name="T8" fmla="*/ 44 w 322"/>
                <a:gd name="T9" fmla="*/ 6 h 267"/>
                <a:gd name="T10" fmla="*/ 2 w 322"/>
                <a:gd name="T11" fmla="*/ 91 h 267"/>
                <a:gd name="T12" fmla="*/ 4 w 322"/>
                <a:gd name="T13" fmla="*/ 103 h 267"/>
                <a:gd name="T14" fmla="*/ 153 w 322"/>
                <a:gd name="T15" fmla="*/ 263 h 267"/>
                <a:gd name="T16" fmla="*/ 161 w 322"/>
                <a:gd name="T17" fmla="*/ 267 h 267"/>
                <a:gd name="T18" fmla="*/ 168 w 322"/>
                <a:gd name="T19" fmla="*/ 263 h 267"/>
                <a:gd name="T20" fmla="*/ 318 w 322"/>
                <a:gd name="T21" fmla="*/ 103 h 267"/>
                <a:gd name="T22" fmla="*/ 320 w 322"/>
                <a:gd name="T23" fmla="*/ 91 h 267"/>
                <a:gd name="T24" fmla="*/ 214 w 322"/>
                <a:gd name="T25" fmla="*/ 107 h 267"/>
                <a:gd name="T26" fmla="*/ 161 w 322"/>
                <a:gd name="T27" fmla="*/ 229 h 267"/>
                <a:gd name="T28" fmla="*/ 108 w 322"/>
                <a:gd name="T29" fmla="*/ 107 h 267"/>
                <a:gd name="T30" fmla="*/ 214 w 322"/>
                <a:gd name="T31" fmla="*/ 107 h 267"/>
                <a:gd name="T32" fmla="*/ 118 w 322"/>
                <a:gd name="T33" fmla="*/ 85 h 267"/>
                <a:gd name="T34" fmla="*/ 161 w 322"/>
                <a:gd name="T35" fmla="*/ 28 h 267"/>
                <a:gd name="T36" fmla="*/ 203 w 322"/>
                <a:gd name="T37" fmla="*/ 85 h 267"/>
                <a:gd name="T38" fmla="*/ 118 w 322"/>
                <a:gd name="T39" fmla="*/ 85 h 267"/>
                <a:gd name="T40" fmla="*/ 185 w 322"/>
                <a:gd name="T41" fmla="*/ 21 h 267"/>
                <a:gd name="T42" fmla="*/ 251 w 322"/>
                <a:gd name="T43" fmla="*/ 21 h 267"/>
                <a:gd name="T44" fmla="*/ 226 w 322"/>
                <a:gd name="T45" fmla="*/ 78 h 267"/>
                <a:gd name="T46" fmla="*/ 185 w 322"/>
                <a:gd name="T47" fmla="*/ 21 h 267"/>
                <a:gd name="T48" fmla="*/ 95 w 322"/>
                <a:gd name="T49" fmla="*/ 78 h 267"/>
                <a:gd name="T50" fmla="*/ 71 w 322"/>
                <a:gd name="T51" fmla="*/ 21 h 267"/>
                <a:gd name="T52" fmla="*/ 137 w 322"/>
                <a:gd name="T53" fmla="*/ 21 h 267"/>
                <a:gd name="T54" fmla="*/ 95 w 322"/>
                <a:gd name="T55" fmla="*/ 78 h 267"/>
                <a:gd name="T56" fmla="*/ 76 w 322"/>
                <a:gd name="T57" fmla="*/ 85 h 267"/>
                <a:gd name="T58" fmla="*/ 29 w 322"/>
                <a:gd name="T59" fmla="*/ 85 h 267"/>
                <a:gd name="T60" fmla="*/ 54 w 322"/>
                <a:gd name="T61" fmla="*/ 35 h 267"/>
                <a:gd name="T62" fmla="*/ 76 w 322"/>
                <a:gd name="T63" fmla="*/ 85 h 267"/>
                <a:gd name="T64" fmla="*/ 85 w 322"/>
                <a:gd name="T65" fmla="*/ 107 h 267"/>
                <a:gd name="T66" fmla="*/ 129 w 322"/>
                <a:gd name="T67" fmla="*/ 207 h 267"/>
                <a:gd name="T68" fmla="*/ 36 w 322"/>
                <a:gd name="T69" fmla="*/ 107 h 267"/>
                <a:gd name="T70" fmla="*/ 85 w 322"/>
                <a:gd name="T71" fmla="*/ 107 h 267"/>
                <a:gd name="T72" fmla="*/ 236 w 322"/>
                <a:gd name="T73" fmla="*/ 107 h 267"/>
                <a:gd name="T74" fmla="*/ 285 w 322"/>
                <a:gd name="T75" fmla="*/ 107 h 267"/>
                <a:gd name="T76" fmla="*/ 192 w 322"/>
                <a:gd name="T77" fmla="*/ 207 h 267"/>
                <a:gd name="T78" fmla="*/ 236 w 322"/>
                <a:gd name="T79" fmla="*/ 107 h 267"/>
                <a:gd name="T80" fmla="*/ 245 w 322"/>
                <a:gd name="T81" fmla="*/ 85 h 267"/>
                <a:gd name="T82" fmla="*/ 267 w 322"/>
                <a:gd name="T83" fmla="*/ 35 h 267"/>
                <a:gd name="T84" fmla="*/ 293 w 322"/>
                <a:gd name="T85" fmla="*/ 85 h 267"/>
                <a:gd name="T86" fmla="*/ 245 w 322"/>
                <a:gd name="T87" fmla="*/ 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7">
                  <a:moveTo>
                    <a:pt x="320" y="91"/>
                  </a:moveTo>
                  <a:cubicBezTo>
                    <a:pt x="277" y="6"/>
                    <a:pt x="277" y="6"/>
                    <a:pt x="277" y="6"/>
                  </a:cubicBezTo>
                  <a:cubicBezTo>
                    <a:pt x="275" y="2"/>
                    <a:pt x="271" y="0"/>
                    <a:pt x="267" y="0"/>
                  </a:cubicBezTo>
                  <a:cubicBezTo>
                    <a:pt x="54" y="0"/>
                    <a:pt x="54" y="0"/>
                    <a:pt x="54" y="0"/>
                  </a:cubicBezTo>
                  <a:cubicBezTo>
                    <a:pt x="50" y="0"/>
                    <a:pt x="46" y="2"/>
                    <a:pt x="44" y="6"/>
                  </a:cubicBezTo>
                  <a:cubicBezTo>
                    <a:pt x="2" y="91"/>
                    <a:pt x="2" y="91"/>
                    <a:pt x="2" y="91"/>
                  </a:cubicBezTo>
                  <a:cubicBezTo>
                    <a:pt x="0" y="95"/>
                    <a:pt x="0" y="100"/>
                    <a:pt x="4" y="103"/>
                  </a:cubicBezTo>
                  <a:cubicBezTo>
                    <a:pt x="153" y="263"/>
                    <a:pt x="153" y="263"/>
                    <a:pt x="153" y="263"/>
                  </a:cubicBezTo>
                  <a:cubicBezTo>
                    <a:pt x="155" y="265"/>
                    <a:pt x="158" y="267"/>
                    <a:pt x="161" y="267"/>
                  </a:cubicBezTo>
                  <a:cubicBezTo>
                    <a:pt x="164" y="267"/>
                    <a:pt x="166" y="265"/>
                    <a:pt x="168" y="263"/>
                  </a:cubicBezTo>
                  <a:cubicBezTo>
                    <a:pt x="318" y="103"/>
                    <a:pt x="318" y="103"/>
                    <a:pt x="318" y="103"/>
                  </a:cubicBezTo>
                  <a:cubicBezTo>
                    <a:pt x="321" y="100"/>
                    <a:pt x="322" y="95"/>
                    <a:pt x="320" y="91"/>
                  </a:cubicBezTo>
                  <a:close/>
                  <a:moveTo>
                    <a:pt x="214" y="107"/>
                  </a:moveTo>
                  <a:cubicBezTo>
                    <a:pt x="161" y="229"/>
                    <a:pt x="161" y="229"/>
                    <a:pt x="161" y="229"/>
                  </a:cubicBezTo>
                  <a:cubicBezTo>
                    <a:pt x="108" y="107"/>
                    <a:pt x="108" y="107"/>
                    <a:pt x="108" y="107"/>
                  </a:cubicBezTo>
                  <a:lnTo>
                    <a:pt x="214" y="107"/>
                  </a:lnTo>
                  <a:close/>
                  <a:moveTo>
                    <a:pt x="118" y="85"/>
                  </a:moveTo>
                  <a:cubicBezTo>
                    <a:pt x="161" y="28"/>
                    <a:pt x="161" y="28"/>
                    <a:pt x="161" y="28"/>
                  </a:cubicBezTo>
                  <a:cubicBezTo>
                    <a:pt x="203" y="85"/>
                    <a:pt x="203" y="85"/>
                    <a:pt x="203" y="85"/>
                  </a:cubicBezTo>
                  <a:lnTo>
                    <a:pt x="118" y="85"/>
                  </a:lnTo>
                  <a:close/>
                  <a:moveTo>
                    <a:pt x="185" y="21"/>
                  </a:moveTo>
                  <a:cubicBezTo>
                    <a:pt x="251" y="21"/>
                    <a:pt x="251" y="21"/>
                    <a:pt x="251" y="21"/>
                  </a:cubicBezTo>
                  <a:cubicBezTo>
                    <a:pt x="226" y="78"/>
                    <a:pt x="226" y="78"/>
                    <a:pt x="226" y="78"/>
                  </a:cubicBezTo>
                  <a:lnTo>
                    <a:pt x="185" y="21"/>
                  </a:lnTo>
                  <a:close/>
                  <a:moveTo>
                    <a:pt x="95" y="78"/>
                  </a:moveTo>
                  <a:cubicBezTo>
                    <a:pt x="71" y="21"/>
                    <a:pt x="71" y="21"/>
                    <a:pt x="71" y="21"/>
                  </a:cubicBezTo>
                  <a:cubicBezTo>
                    <a:pt x="137" y="21"/>
                    <a:pt x="137" y="21"/>
                    <a:pt x="137" y="21"/>
                  </a:cubicBezTo>
                  <a:lnTo>
                    <a:pt x="95" y="78"/>
                  </a:lnTo>
                  <a:close/>
                  <a:moveTo>
                    <a:pt x="76" y="85"/>
                  </a:moveTo>
                  <a:cubicBezTo>
                    <a:pt x="29" y="85"/>
                    <a:pt x="29" y="85"/>
                    <a:pt x="29" y="85"/>
                  </a:cubicBezTo>
                  <a:cubicBezTo>
                    <a:pt x="54" y="35"/>
                    <a:pt x="54" y="35"/>
                    <a:pt x="54" y="35"/>
                  </a:cubicBezTo>
                  <a:lnTo>
                    <a:pt x="76" y="85"/>
                  </a:lnTo>
                  <a:close/>
                  <a:moveTo>
                    <a:pt x="85" y="107"/>
                  </a:moveTo>
                  <a:cubicBezTo>
                    <a:pt x="129" y="207"/>
                    <a:pt x="129" y="207"/>
                    <a:pt x="129" y="207"/>
                  </a:cubicBezTo>
                  <a:cubicBezTo>
                    <a:pt x="36" y="107"/>
                    <a:pt x="36" y="107"/>
                    <a:pt x="36" y="107"/>
                  </a:cubicBezTo>
                  <a:lnTo>
                    <a:pt x="85" y="107"/>
                  </a:lnTo>
                  <a:close/>
                  <a:moveTo>
                    <a:pt x="236" y="107"/>
                  </a:moveTo>
                  <a:cubicBezTo>
                    <a:pt x="285" y="107"/>
                    <a:pt x="285" y="107"/>
                    <a:pt x="285" y="107"/>
                  </a:cubicBezTo>
                  <a:cubicBezTo>
                    <a:pt x="192" y="207"/>
                    <a:pt x="192" y="207"/>
                    <a:pt x="192" y="207"/>
                  </a:cubicBezTo>
                  <a:lnTo>
                    <a:pt x="236" y="107"/>
                  </a:lnTo>
                  <a:close/>
                  <a:moveTo>
                    <a:pt x="245" y="85"/>
                  </a:moveTo>
                  <a:cubicBezTo>
                    <a:pt x="267" y="35"/>
                    <a:pt x="267" y="35"/>
                    <a:pt x="267" y="35"/>
                  </a:cubicBezTo>
                  <a:cubicBezTo>
                    <a:pt x="293" y="85"/>
                    <a:pt x="293" y="85"/>
                    <a:pt x="293" y="85"/>
                  </a:cubicBezTo>
                  <a:lnTo>
                    <a:pt x="245" y="85"/>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de-DE"/>
            </a:p>
          </p:txBody>
        </p:sp>
      </p:grpSp>
      <p:sp>
        <p:nvSpPr>
          <p:cNvPr id="12" name="Rectangle 13" hidden="1">
            <a:extLst>
              <a:ext uri="{FF2B5EF4-FFF2-40B4-BE49-F238E27FC236}">
                <a16:creationId xmlns:a16="http://schemas.microsoft.com/office/drawing/2014/main" id="{2E136AF3-FF29-4C9D-AC7B-227AB31CE56E}"/>
              </a:ext>
            </a:extLst>
          </p:cNvPr>
          <p:cNvSpPr/>
          <p:nvPr userDrawn="1">
            <p:custDataLst>
              <p:tags r:id="rId7"/>
            </p:custDataLst>
          </p:nvPr>
        </p:nvSpPr>
        <p:spPr>
          <a:xfrm>
            <a:off x="371936" y="6579328"/>
            <a:ext cx="720000"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de-DE" sz="900" b="1">
                <a:solidFill>
                  <a:schemeClr val="accent1"/>
                </a:solidFill>
              </a:rPr>
              <a:t>SMARAGD</a:t>
            </a:r>
          </a:p>
        </p:txBody>
      </p:sp>
    </p:spTree>
    <p:extLst>
      <p:ext uri="{BB962C8B-B14F-4D97-AF65-F5344CB8AC3E}">
        <p14:creationId xmlns:p14="http://schemas.microsoft.com/office/powerpoint/2010/main" val="145476532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ED4EC9-AB38-31CD-F6C8-F5E4F7C9387A}"/>
              </a:ext>
            </a:extLst>
          </p:cNvPr>
          <p:cNvGraphicFramePr>
            <a:graphicFrameLocks noChangeAspect="1"/>
          </p:cNvGraphicFramePr>
          <p:nvPr userDrawn="1">
            <p:custDataLst>
              <p:tags r:id="rId1"/>
            </p:custDataLst>
            <p:extLst>
              <p:ext uri="{D42A27DB-BD31-4B8C-83A1-F6EECF244321}">
                <p14:modId xmlns:p14="http://schemas.microsoft.com/office/powerpoint/2010/main" val="321076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3" progId="TCLayout.ActiveDocument.1">
                  <p:embed/>
                </p:oleObj>
              </mc:Choice>
              <mc:Fallback>
                <p:oleObj name="think-cell Folie" r:id="rId3" imgW="404" imgH="403" progId="TCLayout.ActiveDocument.1">
                  <p:embed/>
                  <p:pic>
                    <p:nvPicPr>
                      <p:cNvPr id="4" name="think-cell data - do not delete" hidden="1">
                        <a:extLst>
                          <a:ext uri="{FF2B5EF4-FFF2-40B4-BE49-F238E27FC236}">
                            <a16:creationId xmlns:a16="http://schemas.microsoft.com/office/drawing/2014/main" id="{6BED4EC9-AB38-31CD-F6C8-F5E4F7C938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943E591-0879-BBAA-15C2-7E721429C5E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 Placeholder 8">
            <a:extLst>
              <a:ext uri="{FF2B5EF4-FFF2-40B4-BE49-F238E27FC236}">
                <a16:creationId xmlns:a16="http://schemas.microsoft.com/office/drawing/2014/main" id="{7B613AF0-92FA-A179-7B91-6FA3130C9CA8}"/>
              </a:ext>
            </a:extLst>
          </p:cNvPr>
          <p:cNvSpPr>
            <a:spLocks noGrp="1"/>
          </p:cNvSpPr>
          <p:nvPr>
            <p:ph type="body" sz="quarter" idx="13" hasCustomPrompt="1"/>
          </p:nvPr>
        </p:nvSpPr>
        <p:spPr>
          <a:xfrm>
            <a:off x="450000" y="771086"/>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1" name="Title Placeholder 1">
            <a:extLst>
              <a:ext uri="{FF2B5EF4-FFF2-40B4-BE49-F238E27FC236}">
                <a16:creationId xmlns:a16="http://schemas.microsoft.com/office/drawing/2014/main" id="{7FFDED02-92C6-AABA-2CDC-DD883236DF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4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152770689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21_Title Slide - White">
    <p:bg bwMode="gray">
      <p:bgRef idx="1001">
        <a:schemeClr val="bg1"/>
      </p:bgRef>
    </p:bg>
    <p:spTree>
      <p:nvGrpSpPr>
        <p:cNvPr id="1" name=""/>
        <p:cNvGrpSpPr/>
        <p:nvPr/>
      </p:nvGrpSpPr>
      <p:grpSpPr>
        <a:xfrm>
          <a:off x="0" y="0"/>
          <a:ext cx="0" cy="0"/>
          <a:chOff x="0" y="0"/>
          <a:chExt cx="0" cy="0"/>
        </a:xfrm>
      </p:grpSpPr>
      <p:pic>
        <p:nvPicPr>
          <p:cNvPr id="11" name="Picture Placeholder 9">
            <a:extLst>
              <a:ext uri="{FF2B5EF4-FFF2-40B4-BE49-F238E27FC236}">
                <a16:creationId xmlns:a16="http://schemas.microsoft.com/office/drawing/2014/main" id="{794D57F9-A42B-7BAD-B6D5-51650241101B}"/>
              </a:ext>
            </a:extLst>
          </p:cNvPr>
          <p:cNvPicPr>
            <a:picLocks noChangeAspect="1"/>
          </p:cNvPicPr>
          <p:nvPr userDrawn="1"/>
        </p:nvPicPr>
        <p:blipFill>
          <a:blip r:embed="rId3"/>
          <a:srcRect/>
          <a:stretch/>
        </p:blipFill>
        <p:spPr>
          <a:xfrm>
            <a:off x="5321963" y="-6019"/>
            <a:ext cx="6870037" cy="6870037"/>
          </a:xfrm>
          <a:prstGeom prst="rect">
            <a:avLst/>
          </a:prstGeom>
        </p:spPr>
      </p:pic>
      <p:graphicFrame>
        <p:nvGraphicFramePr>
          <p:cNvPr id="8" name="think-cell data - do not delete" hidden="1">
            <a:extLst>
              <a:ext uri="{FF2B5EF4-FFF2-40B4-BE49-F238E27FC236}">
                <a16:creationId xmlns:a16="http://schemas.microsoft.com/office/drawing/2014/main" id="{049D1F7B-E3BF-CD4A-FF36-A4543167E913}"/>
              </a:ext>
            </a:extLst>
          </p:cNvPr>
          <p:cNvGraphicFramePr>
            <a:graphicFrameLocks noChangeAspect="1"/>
          </p:cNvGraphicFramePr>
          <p:nvPr userDrawn="1">
            <p:custDataLst>
              <p:tags r:id="rId1"/>
            </p:custDataLst>
            <p:extLst>
              <p:ext uri="{D42A27DB-BD31-4B8C-83A1-F6EECF244321}">
                <p14:modId xmlns:p14="http://schemas.microsoft.com/office/powerpoint/2010/main" val="313330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4" imgH="403" progId="TCLayout.ActiveDocument.1">
                  <p:embed/>
                </p:oleObj>
              </mc:Choice>
              <mc:Fallback>
                <p:oleObj name="think-cell Folie" r:id="rId4" imgW="404" imgH="403" progId="TCLayout.ActiveDocument.1">
                  <p:embed/>
                  <p:pic>
                    <p:nvPicPr>
                      <p:cNvPr id="8" name="think-cell data - do not delete" hidden="1">
                        <a:extLst>
                          <a:ext uri="{FF2B5EF4-FFF2-40B4-BE49-F238E27FC236}">
                            <a16:creationId xmlns:a16="http://schemas.microsoft.com/office/drawing/2014/main" id="{049D1F7B-E3BF-CD4A-FF36-A4543167E9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0D18254D-79A6-4423-5E6A-63D0BE0F25ED}"/>
              </a:ext>
            </a:extLst>
          </p:cNvPr>
          <p:cNvSpPr>
            <a:spLocks noGrp="1"/>
          </p:cNvSpPr>
          <p:nvPr>
            <p:ph type="body" idx="10" hasCustomPrompt="1"/>
          </p:nvPr>
        </p:nvSpPr>
        <p:spPr>
          <a:xfrm>
            <a:off x="619561" y="6085947"/>
            <a:ext cx="5056409" cy="378694"/>
          </a:xfrm>
        </p:spPr>
        <p:txBody>
          <a:bodyPr>
            <a:normAutofit/>
          </a:bodyPr>
          <a:lstStyle>
            <a:lvl1pPr marL="0" indent="0">
              <a:buNone/>
              <a:defRPr sz="16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itle 1">
            <a:extLst>
              <a:ext uri="{FF2B5EF4-FFF2-40B4-BE49-F238E27FC236}">
                <a16:creationId xmlns:a16="http://schemas.microsoft.com/office/drawing/2014/main" id="{375E82B0-58EF-A156-E52F-D732819448D4}"/>
              </a:ext>
            </a:extLst>
          </p:cNvPr>
          <p:cNvSpPr>
            <a:spLocks noGrp="1"/>
          </p:cNvSpPr>
          <p:nvPr>
            <p:ph type="title" hasCustomPrompt="1"/>
          </p:nvPr>
        </p:nvSpPr>
        <p:spPr>
          <a:xfrm>
            <a:off x="596891" y="3489262"/>
            <a:ext cx="5079079" cy="1186041"/>
          </a:xfrm>
        </p:spPr>
        <p:txBody>
          <a:bodyPr vert="horz" anchor="b">
            <a:normAutofit/>
          </a:bodyPr>
          <a:lstStyle>
            <a:lvl1pPr>
              <a:defRPr sz="3200" b="0" i="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a:t>Click to edit master title style</a:t>
            </a:r>
          </a:p>
        </p:txBody>
      </p:sp>
      <p:sp>
        <p:nvSpPr>
          <p:cNvPr id="7" name="Text Placeholder 2">
            <a:extLst>
              <a:ext uri="{FF2B5EF4-FFF2-40B4-BE49-F238E27FC236}">
                <a16:creationId xmlns:a16="http://schemas.microsoft.com/office/drawing/2014/main" id="{1D5E2E64-6AFA-6E1B-7C19-0598B9993F52}"/>
              </a:ext>
            </a:extLst>
          </p:cNvPr>
          <p:cNvSpPr>
            <a:spLocks noGrp="1"/>
          </p:cNvSpPr>
          <p:nvPr>
            <p:ph type="body" idx="1"/>
          </p:nvPr>
        </p:nvSpPr>
        <p:spPr>
          <a:xfrm>
            <a:off x="611875" y="4795478"/>
            <a:ext cx="5064096" cy="897110"/>
          </a:xfrm>
        </p:spPr>
        <p:txBody>
          <a:bodyPr>
            <a:normAutofit/>
          </a:bodyPr>
          <a:lstStyle>
            <a:lvl1pPr marL="0" indent="0">
              <a:buNone/>
              <a:defRPr sz="2400"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22" name="Group 21">
            <a:extLst>
              <a:ext uri="{FF2B5EF4-FFF2-40B4-BE49-F238E27FC236}">
                <a16:creationId xmlns:a16="http://schemas.microsoft.com/office/drawing/2014/main" id="{D47CB3E3-66C4-0577-AC97-2400D5B8C411}"/>
              </a:ext>
            </a:extLst>
          </p:cNvPr>
          <p:cNvGrpSpPr/>
          <p:nvPr userDrawn="1"/>
        </p:nvGrpSpPr>
        <p:grpSpPr>
          <a:xfrm>
            <a:off x="450000" y="341312"/>
            <a:ext cx="1819656" cy="347472"/>
            <a:chOff x="398463" y="404813"/>
            <a:chExt cx="1627187" cy="307976"/>
          </a:xfrm>
          <a:solidFill>
            <a:sysClr val="window" lastClr="FFFFFF"/>
          </a:solidFill>
        </p:grpSpPr>
        <p:sp>
          <p:nvSpPr>
            <p:cNvPr id="23" name="Oval 5">
              <a:extLst>
                <a:ext uri="{FF2B5EF4-FFF2-40B4-BE49-F238E27FC236}">
                  <a16:creationId xmlns:a16="http://schemas.microsoft.com/office/drawing/2014/main" id="{A84553E2-D0DA-A556-25FB-05E9EB9B3049}"/>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24" name="Freeform 6">
              <a:extLst>
                <a:ext uri="{FF2B5EF4-FFF2-40B4-BE49-F238E27FC236}">
                  <a16:creationId xmlns:a16="http://schemas.microsoft.com/office/drawing/2014/main" id="{9FA18673-C248-594C-04A9-EDDFB07D208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25" name="Rectangle 7">
              <a:extLst>
                <a:ext uri="{FF2B5EF4-FFF2-40B4-BE49-F238E27FC236}">
                  <a16:creationId xmlns:a16="http://schemas.microsoft.com/office/drawing/2014/main" id="{7A52F40E-459F-7957-8C12-C902DFD71CE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26" name="Freeform 8">
              <a:extLst>
                <a:ext uri="{FF2B5EF4-FFF2-40B4-BE49-F238E27FC236}">
                  <a16:creationId xmlns:a16="http://schemas.microsoft.com/office/drawing/2014/main" id="{0768C843-6E31-5D1B-D2F8-3BF5F0FE254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27" name="Rectangle 9">
              <a:extLst>
                <a:ext uri="{FF2B5EF4-FFF2-40B4-BE49-F238E27FC236}">
                  <a16:creationId xmlns:a16="http://schemas.microsoft.com/office/drawing/2014/main" id="{EE9E373E-D33B-A1C8-5470-E9EBA11F90F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28" name="Rectangle 10">
              <a:extLst>
                <a:ext uri="{FF2B5EF4-FFF2-40B4-BE49-F238E27FC236}">
                  <a16:creationId xmlns:a16="http://schemas.microsoft.com/office/drawing/2014/main" id="{ED231541-56A2-E772-F368-486A76464FD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29" name="Freeform 11">
              <a:extLst>
                <a:ext uri="{FF2B5EF4-FFF2-40B4-BE49-F238E27FC236}">
                  <a16:creationId xmlns:a16="http://schemas.microsoft.com/office/drawing/2014/main" id="{328FA2D4-018E-D236-DB1D-63B1D7999E58}"/>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30" name="Freeform 12">
              <a:extLst>
                <a:ext uri="{FF2B5EF4-FFF2-40B4-BE49-F238E27FC236}">
                  <a16:creationId xmlns:a16="http://schemas.microsoft.com/office/drawing/2014/main" id="{8007413F-6402-1B2A-8553-4B25B454861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31" name="Freeform 13">
              <a:extLst>
                <a:ext uri="{FF2B5EF4-FFF2-40B4-BE49-F238E27FC236}">
                  <a16:creationId xmlns:a16="http://schemas.microsoft.com/office/drawing/2014/main" id="{659FD883-85D7-BF1C-BD63-121146BC5E7E}"/>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32" name="Freeform 14">
              <a:extLst>
                <a:ext uri="{FF2B5EF4-FFF2-40B4-BE49-F238E27FC236}">
                  <a16:creationId xmlns:a16="http://schemas.microsoft.com/office/drawing/2014/main" id="{601D5D16-04A9-D5C1-4A7B-4C41771EEFA5}"/>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Tree>
    <p:extLst>
      <p:ext uri="{BB962C8B-B14F-4D97-AF65-F5344CB8AC3E}">
        <p14:creationId xmlns:p14="http://schemas.microsoft.com/office/powerpoint/2010/main" val="30505312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1_Title, subtitle - Black">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3895675-383F-723A-1D40-76EEC8A650A2}"/>
              </a:ext>
            </a:extLst>
          </p:cNvPr>
          <p:cNvPicPr>
            <a:picLocks noChangeAspect="1"/>
          </p:cNvPicPr>
          <p:nvPr userDrawn="1"/>
        </p:nvPicPr>
        <p:blipFill>
          <a:blip r:embed="rId2"/>
          <a:stretch>
            <a:fillRect/>
          </a:stretch>
        </p:blipFill>
        <p:spPr>
          <a:xfrm>
            <a:off x="0" y="8389"/>
            <a:ext cx="12192000" cy="6858000"/>
          </a:xfrm>
          <a:prstGeom prst="rect">
            <a:avLst/>
          </a:prstGeom>
        </p:spPr>
      </p:pic>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7200" y="684000"/>
            <a:ext cx="11274552" cy="757255"/>
          </a:xfrm>
          <a:prstGeom prst="rect">
            <a:avLst/>
          </a:prstGeom>
        </p:spPr>
        <p:txBody>
          <a:bodyPr lIns="0" tIns="0" rIns="0" bIns="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7200" y="345992"/>
            <a:ext cx="11274552"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
        <p:nvSpPr>
          <p:cNvPr id="6" name="TextBox 5">
            <a:extLst>
              <a:ext uri="{FF2B5EF4-FFF2-40B4-BE49-F238E27FC236}">
                <a16:creationId xmlns:a16="http://schemas.microsoft.com/office/drawing/2014/main" id="{4DC768E0-3DB6-6F39-7B51-A70FAF17F1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8" name="Copyright">
            <a:extLst>
              <a:ext uri="{FF2B5EF4-FFF2-40B4-BE49-F238E27FC236}">
                <a16:creationId xmlns:a16="http://schemas.microsoft.com/office/drawing/2014/main" id="{72921667-C13E-653C-D07E-BB15972D94F9}"/>
              </a:ext>
            </a:extLst>
          </p:cNvPr>
          <p:cNvSpPr txBox="1"/>
          <p:nvPr userDrawn="1"/>
        </p:nvSpPr>
        <p:spPr>
          <a:xfrm>
            <a:off x="457200" y="6519672"/>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Deloitte Consulting: AI@SAP Center of Excellence</a:t>
            </a:r>
          </a:p>
        </p:txBody>
      </p:sp>
    </p:spTree>
    <p:extLst>
      <p:ext uri="{BB962C8B-B14F-4D97-AF65-F5344CB8AC3E}">
        <p14:creationId xmlns:p14="http://schemas.microsoft.com/office/powerpoint/2010/main" val="4252609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7200" y="345992"/>
            <a:ext cx="11274552" cy="342000"/>
          </a:xfrm>
          <a:prstGeom prst="rect">
            <a:avLst/>
          </a:prstGeom>
        </p:spPr>
        <p:txBody>
          <a:bodyPr vert="horz" lIns="0" tIns="0" rIns="0" bIns="0" rtlCol="0" anchor="t" anchorCtr="0">
            <a:noAutofit/>
          </a:bodyPr>
          <a:lstStyle>
            <a:lvl1pPr>
              <a:defRPr sz="2100">
                <a:latin typeface="Aptos" panose="020B0004020202020204" pitchFamily="34" charset="0"/>
              </a:defRPr>
            </a:lvl1pPr>
          </a:lstStyle>
          <a:p>
            <a:r>
              <a:rPr lang="en-US"/>
              <a:t>Click to add title</a:t>
            </a:r>
          </a:p>
        </p:txBody>
      </p:sp>
      <p:sp>
        <p:nvSpPr>
          <p:cNvPr id="2" name="Copyright">
            <a:extLst>
              <a:ext uri="{FF2B5EF4-FFF2-40B4-BE49-F238E27FC236}">
                <a16:creationId xmlns:a16="http://schemas.microsoft.com/office/drawing/2014/main" id="{CF2D72D7-9254-23D6-6684-6C08CFEA588B}"/>
              </a:ext>
            </a:extLst>
          </p:cNvPr>
          <p:cNvSpPr txBox="1"/>
          <p:nvPr userDrawn="1"/>
        </p:nvSpPr>
        <p:spPr>
          <a:xfrm>
            <a:off x="457200" y="6519672"/>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Deloitte Consulting: AI@SAP Center of Excellence</a:t>
            </a:r>
          </a:p>
        </p:txBody>
      </p:sp>
    </p:spTree>
    <p:extLst>
      <p:ext uri="{BB962C8B-B14F-4D97-AF65-F5344CB8AC3E}">
        <p14:creationId xmlns:p14="http://schemas.microsoft.com/office/powerpoint/2010/main" val="2822407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DFBE1A5-BFA8-2C05-4101-33A4231D84A9}"/>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3" name="Picture 2">
            <a:extLst>
              <a:ext uri="{FF2B5EF4-FFF2-40B4-BE49-F238E27FC236}">
                <a16:creationId xmlns:a16="http://schemas.microsoft.com/office/drawing/2014/main" id="{F69F58C9-6E65-F83C-9778-F6458425E98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45325" b="-7933"/>
          <a:stretch/>
        </p:blipFill>
        <p:spPr>
          <a:xfrm>
            <a:off x="495300" y="0"/>
            <a:ext cx="11696701" cy="6858000"/>
          </a:xfrm>
          <a:prstGeom prst="rect">
            <a:avLst/>
          </a:prstGeom>
        </p:spPr>
      </p:pic>
      <p:sp>
        <p:nvSpPr>
          <p:cNvPr id="11" name="Title 1">
            <a:extLst>
              <a:ext uri="{FF2B5EF4-FFF2-40B4-BE49-F238E27FC236}">
                <a16:creationId xmlns:a16="http://schemas.microsoft.com/office/drawing/2014/main" id="{30C7B107-143F-4458-1409-A71ED3D67841}"/>
              </a:ext>
            </a:extLst>
          </p:cNvPr>
          <p:cNvSpPr>
            <a:spLocks noGrp="1"/>
          </p:cNvSpPr>
          <p:nvPr>
            <p:ph type="title" hasCustomPrompt="1"/>
          </p:nvPr>
        </p:nvSpPr>
        <p:spPr>
          <a:xfrm>
            <a:off x="831850" y="1709738"/>
            <a:ext cx="3124514" cy="2852737"/>
          </a:xfrm>
        </p:spPr>
        <p:txBody>
          <a:bodyPr anchor="t">
            <a:normAutofit/>
          </a:bodyPr>
          <a:lstStyle>
            <a:lvl1pPr>
              <a:defRPr sz="36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12" name="Text Placeholder 2">
            <a:extLst>
              <a:ext uri="{FF2B5EF4-FFF2-40B4-BE49-F238E27FC236}">
                <a16:creationId xmlns:a16="http://schemas.microsoft.com/office/drawing/2014/main" id="{5ED69E5C-1026-DC5F-2D8D-4E3535FB2929}"/>
              </a:ext>
            </a:extLst>
          </p:cNvPr>
          <p:cNvSpPr>
            <a:spLocks noGrp="1"/>
          </p:cNvSpPr>
          <p:nvPr>
            <p:ph type="body" idx="1"/>
          </p:nvPr>
        </p:nvSpPr>
        <p:spPr>
          <a:xfrm>
            <a:off x="844550" y="4600095"/>
            <a:ext cx="5251450" cy="1500187"/>
          </a:xfrm>
        </p:spPr>
        <p:txBody>
          <a:bodyPr/>
          <a:lstStyle>
            <a:lvl1pPr marL="0" indent="0">
              <a:buNone/>
              <a:defRPr sz="24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7" name="Picture 6">
            <a:extLst>
              <a:ext uri="{FF2B5EF4-FFF2-40B4-BE49-F238E27FC236}">
                <a16:creationId xmlns:a16="http://schemas.microsoft.com/office/drawing/2014/main" id="{23B8E836-2196-15E5-577B-04CEB5C09D55}"/>
              </a:ext>
            </a:extLst>
          </p:cNvPr>
          <p:cNvPicPr>
            <a:picLocks noChangeAspect="1"/>
          </p:cNvPicPr>
          <p:nvPr userDrawn="1"/>
        </p:nvPicPr>
        <p:blipFill>
          <a:blip r:embed="rId4"/>
          <a:stretch>
            <a:fillRect/>
          </a:stretch>
        </p:blipFill>
        <p:spPr>
          <a:xfrm>
            <a:off x="8847664" y="4439364"/>
            <a:ext cx="1825012" cy="2577830"/>
          </a:xfrm>
          <a:prstGeom prst="rect">
            <a:avLst/>
          </a:prstGeom>
        </p:spPr>
      </p:pic>
      <p:pic>
        <p:nvPicPr>
          <p:cNvPr id="2" name="Picture 1">
            <a:extLst>
              <a:ext uri="{FF2B5EF4-FFF2-40B4-BE49-F238E27FC236}">
                <a16:creationId xmlns:a16="http://schemas.microsoft.com/office/drawing/2014/main" id="{5F4CED63-F66F-3E36-2CEB-6114BEF09D1C}"/>
              </a:ext>
            </a:extLst>
          </p:cNvPr>
          <p:cNvPicPr>
            <a:picLocks noChangeAspect="1"/>
          </p:cNvPicPr>
          <p:nvPr userDrawn="1"/>
        </p:nvPicPr>
        <p:blipFill>
          <a:blip r:embed="rId5"/>
          <a:stretch>
            <a:fillRect/>
          </a:stretch>
        </p:blipFill>
        <p:spPr>
          <a:xfrm>
            <a:off x="6174312" y="589479"/>
            <a:ext cx="478926" cy="478926"/>
          </a:xfrm>
          <a:prstGeom prst="rect">
            <a:avLst/>
          </a:prstGeom>
        </p:spPr>
      </p:pic>
    </p:spTree>
    <p:extLst>
      <p:ext uri="{BB962C8B-B14F-4D97-AF65-F5344CB8AC3E}">
        <p14:creationId xmlns:p14="http://schemas.microsoft.com/office/powerpoint/2010/main" val="135930131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 Subtitle">
    <p:bg>
      <p:bgPr>
        <a:solidFill>
          <a:schemeClr val="tx1"/>
        </a:solidFill>
        <a:effectLst/>
      </p:bgPr>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822490"/>
            <a:ext cx="11277600" cy="502623"/>
          </a:xfrm>
          <a:prstGeom prst="rect">
            <a:avLst/>
          </a:prstGeom>
        </p:spPr>
        <p:txBody>
          <a:bodyPr lIns="0" tIns="0" rIns="0" bIns="0">
            <a:noAutofit/>
          </a:bodyPr>
          <a:lstStyle>
            <a:lvl1pPr marL="0" indent="0">
              <a:buNone/>
              <a:defRPr sz="2400" b="0">
                <a:solidFill>
                  <a:schemeClr val="bg1">
                    <a:alpha val="50147"/>
                  </a:schemeClr>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502623"/>
          </a:xfrm>
          <a:prstGeom prst="rect">
            <a:avLst/>
          </a:prstGeom>
        </p:spPr>
        <p:txBody>
          <a:bodyPr vert="horz" lIns="0" tIns="0" rIns="0" bIns="0" rtlCol="0" anchor="t" anchorCtr="0">
            <a:noAutofit/>
          </a:bodyPr>
          <a:lstStyle>
            <a:lvl1pPr>
              <a:defRPr sz="3200" b="0" i="0">
                <a:solidFill>
                  <a:schemeClr val="bg1"/>
                </a:solidFill>
                <a:latin typeface="Calibri Light" panose="020F0302020204030204" pitchFamily="34" charset="0"/>
                <a:cs typeface="Calibri Light" panose="020F0302020204030204" pitchFamily="34" charset="0"/>
              </a:defRPr>
            </a:lvl1pPr>
          </a:lstStyle>
          <a:p>
            <a:r>
              <a:rPr lang="en-US"/>
              <a:t>Click to add title</a:t>
            </a:r>
          </a:p>
        </p:txBody>
      </p:sp>
      <p:sp>
        <p:nvSpPr>
          <p:cNvPr id="3" name="TextBox 2">
            <a:extLst>
              <a:ext uri="{FF2B5EF4-FFF2-40B4-BE49-F238E27FC236}">
                <a16:creationId xmlns:a16="http://schemas.microsoft.com/office/drawing/2014/main" id="{6854753D-14DE-8370-E1C4-98434628AE7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8616742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cSld name="5_Divider - graphic">
    <p:bg bwMode="gray">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30FFA7-8923-3660-2CE9-03F93C64AD73}"/>
              </a:ext>
            </a:extLst>
          </p:cNvPr>
          <p:cNvPicPr>
            <a:picLocks noChangeAspect="1"/>
          </p:cNvPicPr>
          <p:nvPr userDrawn="1"/>
        </p:nvPicPr>
        <p:blipFill>
          <a:blip r:embed="rId3"/>
          <a:srcRect/>
          <a:stretch/>
        </p:blipFill>
        <p:spPr>
          <a:xfrm flipH="1">
            <a:off x="0" y="0"/>
            <a:ext cx="12192000" cy="6858000"/>
          </a:xfrm>
          <a:prstGeom prst="rect">
            <a:avLst/>
          </a:prstGeom>
        </p:spPr>
      </p:pic>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5" progId="TCLayout.ActiveDocument.1">
                  <p:embed/>
                </p:oleObj>
              </mc:Choice>
              <mc:Fallback>
                <p:oleObj name="think-cell Folie" r:id="rId4"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gray">
          <a:xfrm>
            <a:off x="457200" y="2557140"/>
            <a:ext cx="6986588" cy="1592403"/>
          </a:xfrm>
          <a:prstGeom prst="rect">
            <a:avLst/>
          </a:prstGeom>
        </p:spPr>
        <p:txBody>
          <a:bodyPr vert="horz" anchor="b"/>
          <a:lstStyle>
            <a:lvl1pPr>
              <a:lnSpc>
                <a:spcPct val="95000"/>
              </a:lnSpc>
              <a:defRPr sz="3600" b="1">
                <a:solidFill>
                  <a:schemeClr val="bg1"/>
                </a:solidFill>
                <a:latin typeface="Aptos" panose="020B0004020202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p:cNvSpPr>
            <a:spLocks noGrp="1"/>
          </p:cNvSpPr>
          <p:nvPr>
            <p:ph type="body" idx="1" hasCustomPrompt="1"/>
          </p:nvPr>
        </p:nvSpPr>
        <p:spPr bwMode="gray">
          <a:xfrm>
            <a:off x="457199" y="4149543"/>
            <a:ext cx="6986587" cy="1566532"/>
          </a:xfrm>
        </p:spPr>
        <p:txBody>
          <a:bodyPr lIns="0" tIns="0" rIns="0" bIns="0">
            <a:noAutofit/>
          </a:bodyPr>
          <a:lstStyle>
            <a:lvl1pPr marL="0" indent="0">
              <a:lnSpc>
                <a:spcPct val="95000"/>
              </a:lnSpc>
              <a:spcAft>
                <a:spcPts val="0"/>
              </a:spcAft>
              <a:buNone/>
              <a:defRPr sz="2000" b="0">
                <a:solidFill>
                  <a:schemeClr val="bg1"/>
                </a:solidFill>
                <a:latin typeface="Aptos" panose="020B0004020202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add subtitle</a:t>
            </a:r>
          </a:p>
        </p:txBody>
      </p:sp>
      <p:sp>
        <p:nvSpPr>
          <p:cNvPr id="7" name="CaseCode">
            <a:extLst>
              <a:ext uri="{FF2B5EF4-FFF2-40B4-BE49-F238E27FC236}">
                <a16:creationId xmlns:a16="http://schemas.microsoft.com/office/drawing/2014/main" id="{F684A669-26C5-90D5-704C-199677EB5DCB}"/>
              </a:ext>
            </a:extLst>
          </p:cNvPr>
          <p:cNvSpPr txBox="1"/>
          <p:nvPr/>
        </p:nvSpPr>
        <p:spPr>
          <a:xfrm>
            <a:off x="6335184" y="6519672"/>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rgbClr val="75787B"/>
                </a:solidFill>
                <a:latin typeface="Aptos" panose="020B0004020202020204" pitchFamily="34" charset="0"/>
                <a:cs typeface="Calibri" panose="020F0502020204030204" pitchFamily="34" charset="0"/>
              </a:rPr>
              <a:t>Presentation title</a:t>
            </a:r>
            <a:br>
              <a:rPr lang="en-US" sz="800" noProof="0">
                <a:solidFill>
                  <a:srgbClr val="75787B"/>
                </a:solidFill>
                <a:latin typeface="Aptos" panose="020B0004020202020204" pitchFamily="34" charset="0"/>
                <a:cs typeface="Calibri" panose="020F0502020204030204" pitchFamily="34" charset="0"/>
              </a:rPr>
            </a:br>
            <a:r>
              <a:rPr lang="en-US" sz="800" noProof="0">
                <a:solidFill>
                  <a:srgbClr val="75787B"/>
                </a:solidFill>
                <a:latin typeface="Aptos" panose="020B0004020202020204" pitchFamily="34" charset="0"/>
                <a:cs typeface="Calibri" panose="020F0502020204030204" pitchFamily="34" charset="0"/>
              </a:rPr>
              <a:t>[To edit, click View &gt; Slide Master &gt; Slide Master]</a:t>
            </a:r>
          </a:p>
        </p:txBody>
      </p:sp>
      <p:sp>
        <p:nvSpPr>
          <p:cNvPr id="9" name="Copyright">
            <a:extLst>
              <a:ext uri="{FF2B5EF4-FFF2-40B4-BE49-F238E27FC236}">
                <a16:creationId xmlns:a16="http://schemas.microsoft.com/office/drawing/2014/main" id="{007BB995-EE99-3880-DCE6-C93F71A128CE}"/>
              </a:ext>
            </a:extLst>
          </p:cNvPr>
          <p:cNvSpPr txBox="1"/>
          <p:nvPr/>
        </p:nvSpPr>
        <p:spPr>
          <a:xfrm>
            <a:off x="457200" y="6519672"/>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Deloitte Consulting: AI@SAP Center of Excellence</a:t>
            </a:r>
          </a:p>
        </p:txBody>
      </p:sp>
      <p:sp>
        <p:nvSpPr>
          <p:cNvPr id="10" name="TextBox 9">
            <a:extLst>
              <a:ext uri="{FF2B5EF4-FFF2-40B4-BE49-F238E27FC236}">
                <a16:creationId xmlns:a16="http://schemas.microsoft.com/office/drawing/2014/main" id="{561CC79A-BB5E-1920-0382-D1E9D54533B4}"/>
              </a:ext>
            </a:extLst>
          </p:cNvPr>
          <p:cNvSpPr txBox="1"/>
          <p:nvPr/>
        </p:nvSpPr>
        <p:spPr>
          <a:xfrm>
            <a:off x="11426826" y="6519672"/>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rgbClr val="75787B"/>
                </a:solidFill>
                <a:latin typeface="Aptos" panose="020B0004020202020204" pitchFamily="34" charset="0"/>
                <a:cs typeface="Calibri" panose="020F0502020204030204" pitchFamily="34" charset="0"/>
              </a:rPr>
              <a:pPr marL="0" indent="0" algn="r">
                <a:spcBef>
                  <a:spcPts val="450"/>
                </a:spcBef>
                <a:buSzPct val="100000"/>
                <a:buFont typeface="Arial"/>
                <a:buNone/>
              </a:pPr>
              <a:t>‹#›</a:t>
            </a:fld>
            <a:endParaRPr lang="en-US" sz="800" noProof="0">
              <a:solidFill>
                <a:srgbClr val="75787B"/>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1443444325"/>
      </p:ext>
    </p:extLst>
  </p:cSld>
  <p:clrMapOvr>
    <a:masterClrMapping/>
  </p:clrMapOvr>
  <p:transition>
    <p:fade/>
  </p:transition>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 White">
    <p:spTree>
      <p:nvGrpSpPr>
        <p:cNvPr id="1" name=""/>
        <p:cNvGrpSpPr/>
        <p:nvPr/>
      </p:nvGrpSpPr>
      <p:grpSpPr>
        <a:xfrm>
          <a:off x="0" y="0"/>
          <a:ext cx="0" cy="0"/>
          <a:chOff x="0" y="0"/>
          <a:chExt cx="0" cy="0"/>
        </a:xfrm>
      </p:grpSpPr>
      <p:sp>
        <p:nvSpPr>
          <p:cNvPr id="43" name="Text Placeholder">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
        <p:nvSpPr>
          <p:cNvPr id="16" name="MIO_AGENDA_IGNORE_NAVIGATION" hidden="1">
            <a:extLst>
              <a:ext uri="{FF2B5EF4-FFF2-40B4-BE49-F238E27FC236}">
                <a16:creationId xmlns:a16="http://schemas.microsoft.com/office/drawing/2014/main" id="{D35CEE80-9913-49B6-AD2D-CD6015DCEA12}"/>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17" name="MIO_AGENDA_IGNORE_CHAPTER_REFERENCE" hidden="1">
            <a:extLst>
              <a:ext uri="{FF2B5EF4-FFF2-40B4-BE49-F238E27FC236}">
                <a16:creationId xmlns:a16="http://schemas.microsoft.com/office/drawing/2014/main" id="{6BB5887F-93D5-475B-917E-FCC7B89F3723}"/>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pic>
        <p:nvPicPr>
          <p:cNvPr id="18" name="Picture 17">
            <a:extLst>
              <a:ext uri="{FF2B5EF4-FFF2-40B4-BE49-F238E27FC236}">
                <a16:creationId xmlns:a16="http://schemas.microsoft.com/office/drawing/2014/main" id="{6D37D77E-C437-42FD-91ED-69906088553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0694852" y="5659120"/>
            <a:ext cx="1198880" cy="1198880"/>
          </a:xfrm>
          <a:prstGeom prst="rect">
            <a:avLst/>
          </a:prstGeom>
        </p:spPr>
      </p:pic>
      <p:sp>
        <p:nvSpPr>
          <p:cNvPr id="42" name="Title">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pic>
        <p:nvPicPr>
          <p:cNvPr id="19" name="Grafik 18">
            <a:extLst>
              <a:ext uri="{FF2B5EF4-FFF2-40B4-BE49-F238E27FC236}">
                <a16:creationId xmlns:a16="http://schemas.microsoft.com/office/drawing/2014/main" id="{831349D2-DAF0-41C5-BA94-B41BAA89F582}"/>
              </a:ext>
            </a:extLst>
          </p:cNvPr>
          <p:cNvPicPr>
            <a:picLocks noChangeAspect="1"/>
          </p:cNvPicPr>
          <p:nvPr/>
        </p:nvPicPr>
        <p:blipFill>
          <a:blip r:embed="rId3"/>
          <a:stretch>
            <a:fillRect/>
          </a:stretch>
        </p:blipFill>
        <p:spPr>
          <a:xfrm>
            <a:off x="458636" y="342232"/>
            <a:ext cx="1818000" cy="339914"/>
          </a:xfrm>
          <a:prstGeom prst="rect">
            <a:avLst/>
          </a:prstGeom>
        </p:spPr>
      </p:pic>
    </p:spTree>
    <p:extLst>
      <p:ext uri="{BB962C8B-B14F-4D97-AF65-F5344CB8AC3E}">
        <p14:creationId xmlns:p14="http://schemas.microsoft.com/office/powerpoint/2010/main" val="888407907"/>
      </p:ext>
    </p:extLst>
  </p:cSld>
  <p:clrMapOvr>
    <a:masterClrMapping/>
  </p:clrMapOvr>
  <p:transition>
    <p:fade/>
  </p:transition>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 Black">
    <p:spTree>
      <p:nvGrpSpPr>
        <p:cNvPr id="1" name=""/>
        <p:cNvGrpSpPr/>
        <p:nvPr/>
      </p:nvGrpSpPr>
      <p:grpSpPr>
        <a:xfrm>
          <a:off x="0" y="0"/>
          <a:ext cx="0" cy="0"/>
          <a:chOff x="0" y="0"/>
          <a:chExt cx="0" cy="0"/>
        </a:xfrm>
      </p:grpSpPr>
      <p:sp>
        <p:nvSpPr>
          <p:cNvPr id="43" name="Text Placeholder">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
        <p:nvSpPr>
          <p:cNvPr id="16" name="MIO_AGENDA_IGNORE_NAVIGATION" hidden="1">
            <a:extLst>
              <a:ext uri="{FF2B5EF4-FFF2-40B4-BE49-F238E27FC236}">
                <a16:creationId xmlns:a16="http://schemas.microsoft.com/office/drawing/2014/main" id="{E87F14BC-2A89-442C-A2A4-F8C495F64EDE}"/>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18" name="MIO_AGENDA_IGNORE_CHAPTER_REFERENCE" hidden="1">
            <a:extLst>
              <a:ext uri="{FF2B5EF4-FFF2-40B4-BE49-F238E27FC236}">
                <a16:creationId xmlns:a16="http://schemas.microsoft.com/office/drawing/2014/main" id="{47AE036B-D905-4E75-9AA0-BBD4F9B323D9}"/>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pic>
        <p:nvPicPr>
          <p:cNvPr id="19" name="Picture 18">
            <a:extLst>
              <a:ext uri="{FF2B5EF4-FFF2-40B4-BE49-F238E27FC236}">
                <a16:creationId xmlns:a16="http://schemas.microsoft.com/office/drawing/2014/main" id="{462EDD38-A67F-487C-BB7B-5F5DC45273C2}"/>
              </a:ext>
            </a:extLst>
          </p:cNvPr>
          <p:cNvPicPr>
            <a:picLocks noChangeAspect="1"/>
          </p:cNvPicPr>
          <p:nvPr/>
        </p:nvPicPr>
        <p:blipFill>
          <a:blip r:embed="rId2"/>
          <a:srcRect/>
          <a:stretch/>
        </p:blipFill>
        <p:spPr>
          <a:xfrm>
            <a:off x="10694852" y="5659120"/>
            <a:ext cx="1198880" cy="1198880"/>
          </a:xfrm>
          <a:prstGeom prst="rect">
            <a:avLst/>
          </a:prstGeom>
        </p:spPr>
      </p:pic>
      <p:sp>
        <p:nvSpPr>
          <p:cNvPr id="53" name="Title">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pic>
        <p:nvPicPr>
          <p:cNvPr id="20" name="Grafik 19">
            <a:extLst>
              <a:ext uri="{FF2B5EF4-FFF2-40B4-BE49-F238E27FC236}">
                <a16:creationId xmlns:a16="http://schemas.microsoft.com/office/drawing/2014/main" id="{C412CF89-26F0-4AB2-8D88-137CCA6147C5}"/>
              </a:ext>
            </a:extLst>
          </p:cNvPr>
          <p:cNvPicPr>
            <a:picLocks noChangeAspect="1"/>
          </p:cNvPicPr>
          <p:nvPr/>
        </p:nvPicPr>
        <p:blipFill>
          <a:blip r:embed="rId3"/>
          <a:stretch>
            <a:fillRect/>
          </a:stretch>
        </p:blipFill>
        <p:spPr>
          <a:xfrm>
            <a:off x="458636" y="342232"/>
            <a:ext cx="1818000" cy="339914"/>
          </a:xfrm>
          <a:prstGeom prst="rect">
            <a:avLst/>
          </a:prstGeom>
        </p:spPr>
      </p:pic>
    </p:spTree>
    <p:extLst>
      <p:ext uri="{BB962C8B-B14F-4D97-AF65-F5344CB8AC3E}">
        <p14:creationId xmlns:p14="http://schemas.microsoft.com/office/powerpoint/2010/main" val="4161609300"/>
      </p:ext>
    </p:extLst>
  </p:cSld>
  <p:clrMapOvr>
    <a:masterClrMapping/>
  </p:clrMapOvr>
  <p:transition>
    <p:fade/>
  </p:transition>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Slide - Black Page Image">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0" name="MIO_AGENDA_IGNORE_NAVIGATION" hidden="1">
            <a:extLst>
              <a:ext uri="{FF2B5EF4-FFF2-40B4-BE49-F238E27FC236}">
                <a16:creationId xmlns:a16="http://schemas.microsoft.com/office/drawing/2014/main" id="{21E6B44B-2911-4D90-ADF1-345D287BEC40}"/>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31" name="MIO_AGENDA_IGNORE_CHAPTER_REFERENCE" hidden="1">
            <a:extLst>
              <a:ext uri="{FF2B5EF4-FFF2-40B4-BE49-F238E27FC236}">
                <a16:creationId xmlns:a16="http://schemas.microsoft.com/office/drawing/2014/main" id="{D22541A4-6CCB-49E3-87E5-CEF66BC7C1D8}"/>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pic>
        <p:nvPicPr>
          <p:cNvPr id="32" name="Picture 31">
            <a:extLst>
              <a:ext uri="{FF2B5EF4-FFF2-40B4-BE49-F238E27FC236}">
                <a16:creationId xmlns:a16="http://schemas.microsoft.com/office/drawing/2014/main" id="{81AB6879-BEBD-4350-977F-6C88566174B5}"/>
              </a:ext>
            </a:extLst>
          </p:cNvPr>
          <p:cNvPicPr>
            <a:picLocks noChangeAspect="1"/>
          </p:cNvPicPr>
          <p:nvPr/>
        </p:nvPicPr>
        <p:blipFill>
          <a:blip r:embed="rId2"/>
          <a:srcRect/>
          <a:stretch/>
        </p:blipFill>
        <p:spPr>
          <a:xfrm>
            <a:off x="10694852" y="5659120"/>
            <a:ext cx="1198880" cy="1198880"/>
          </a:xfrm>
          <a:prstGeom prst="rect">
            <a:avLst/>
          </a:prstGeom>
        </p:spPr>
      </p:pic>
      <p:pic>
        <p:nvPicPr>
          <p:cNvPr id="33" name="Grafik 32">
            <a:extLst>
              <a:ext uri="{FF2B5EF4-FFF2-40B4-BE49-F238E27FC236}">
                <a16:creationId xmlns:a16="http://schemas.microsoft.com/office/drawing/2014/main" id="{25B7AF9E-742A-47DF-A61D-D1C76DE36B38}"/>
              </a:ext>
            </a:extLst>
          </p:cNvPr>
          <p:cNvPicPr>
            <a:picLocks noChangeAspect="1"/>
          </p:cNvPicPr>
          <p:nvPr/>
        </p:nvPicPr>
        <p:blipFill>
          <a:blip r:embed="rId3"/>
          <a:stretch>
            <a:fillRect/>
          </a:stretch>
        </p:blipFill>
        <p:spPr>
          <a:xfrm>
            <a:off x="458636" y="342232"/>
            <a:ext cx="1818000" cy="339914"/>
          </a:xfrm>
          <a:prstGeom prst="rect">
            <a:avLst/>
          </a:prstGeom>
        </p:spPr>
      </p:pic>
    </p:spTree>
    <p:extLst>
      <p:ext uri="{BB962C8B-B14F-4D97-AF65-F5344CB8AC3E}">
        <p14:creationId xmlns:p14="http://schemas.microsoft.com/office/powerpoint/2010/main" val="1143782475"/>
      </p:ext>
    </p:extLst>
  </p:cSld>
  <p:clrMapOvr>
    <a:masterClrMapping/>
  </p:clrMapOvr>
  <p:transition>
    <p:fade/>
  </p:transition>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Slide - Circle with tex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222750D-2EAF-4C12-8740-B6E6A9615013}"/>
              </a:ext>
            </a:extLst>
          </p:cNvPr>
          <p:cNvSpPr>
            <a:spLocks noGrp="1"/>
          </p:cNvSpPr>
          <p:nvPr>
            <p:ph type="pic" sz="quarter" idx="11"/>
          </p:nvPr>
        </p:nvSpPr>
        <p:spPr>
          <a:xfrm>
            <a:off x="0" y="0"/>
            <a:ext cx="12192000" cy="6858000"/>
          </a:xfrm>
          <a:prstGeom prst="rect">
            <a:avLst/>
          </a:prstGeom>
        </p:spPr>
        <p:txBody>
          <a:bodyPr/>
          <a:lstStyle>
            <a:lvl1pPr>
              <a:defRPr>
                <a:solidFill>
                  <a:schemeClr val="tx1"/>
                </a:solidFill>
              </a:defRPr>
            </a:lvl1pPr>
          </a:lstStyle>
          <a:p>
            <a:r>
              <a:rPr lang="en-US" noProof="0"/>
              <a:t>Click icon to add picture</a:t>
            </a:r>
          </a:p>
        </p:txBody>
      </p:sp>
      <p:sp>
        <p:nvSpPr>
          <p:cNvPr id="44" name="Text Placeholder">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16" name="MIO_AGENDA_IGNORE_NAVIGATION" hidden="1">
            <a:extLst>
              <a:ext uri="{FF2B5EF4-FFF2-40B4-BE49-F238E27FC236}">
                <a16:creationId xmlns:a16="http://schemas.microsoft.com/office/drawing/2014/main" id="{9970BE9A-08D6-4159-A7B6-88479C7815D6}"/>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27" name="MIO_AGENDA_IGNORE_CHAPTER_REFERENCE" hidden="1">
            <a:extLst>
              <a:ext uri="{FF2B5EF4-FFF2-40B4-BE49-F238E27FC236}">
                <a16:creationId xmlns:a16="http://schemas.microsoft.com/office/drawing/2014/main" id="{470398AC-9E3C-4202-BC74-310D36FEDC82}"/>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pic>
        <p:nvPicPr>
          <p:cNvPr id="28" name="Picture 27">
            <a:extLst>
              <a:ext uri="{FF2B5EF4-FFF2-40B4-BE49-F238E27FC236}">
                <a16:creationId xmlns:a16="http://schemas.microsoft.com/office/drawing/2014/main" id="{91CFDFEF-967E-43B5-BC07-2E7BB4B5875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0694852" y="5659120"/>
            <a:ext cx="1198880" cy="1198880"/>
          </a:xfrm>
          <a:prstGeom prst="rect">
            <a:avLst/>
          </a:prstGeom>
        </p:spPr>
      </p:pic>
      <p:sp>
        <p:nvSpPr>
          <p:cNvPr id="41" name="Title">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pic>
        <p:nvPicPr>
          <p:cNvPr id="30" name="Grafik 29">
            <a:extLst>
              <a:ext uri="{FF2B5EF4-FFF2-40B4-BE49-F238E27FC236}">
                <a16:creationId xmlns:a16="http://schemas.microsoft.com/office/drawing/2014/main" id="{1A2DAA7F-8705-4A88-8757-C05EBC23AB1F}"/>
              </a:ext>
            </a:extLst>
          </p:cNvPr>
          <p:cNvPicPr>
            <a:picLocks noChangeAspect="1"/>
          </p:cNvPicPr>
          <p:nvPr/>
        </p:nvPicPr>
        <p:blipFill>
          <a:blip r:embed="rId3"/>
          <a:stretch>
            <a:fillRect/>
          </a:stretch>
        </p:blipFill>
        <p:spPr>
          <a:xfrm>
            <a:off x="458636" y="342232"/>
            <a:ext cx="1818000" cy="339914"/>
          </a:xfrm>
          <a:prstGeom prst="rect">
            <a:avLst/>
          </a:prstGeom>
        </p:spPr>
      </p:pic>
    </p:spTree>
    <p:extLst>
      <p:ext uri="{BB962C8B-B14F-4D97-AF65-F5344CB8AC3E}">
        <p14:creationId xmlns:p14="http://schemas.microsoft.com/office/powerpoint/2010/main" val="3741764658"/>
      </p:ext>
    </p:extLst>
  </p:cSld>
  <p:clrMapOvr>
    <a:masterClrMapping/>
  </p:clrMapOvr>
  <p:transition>
    <p:fade/>
  </p:transition>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ivider - Deloitte white">
    <p:spTree>
      <p:nvGrpSpPr>
        <p:cNvPr id="1" name=""/>
        <p:cNvGrpSpPr/>
        <p:nvPr/>
      </p:nvGrpSpPr>
      <p:grpSpPr>
        <a:xfrm>
          <a:off x="0" y="0"/>
          <a:ext cx="0" cy="0"/>
          <a:chOff x="0" y="0"/>
          <a:chExt cx="0" cy="0"/>
        </a:xfrm>
      </p:grpSpPr>
      <p:sp>
        <p:nvSpPr>
          <p:cNvPr id="2" name="Title"/>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
        <p:nvSpPr>
          <p:cNvPr id="4" name="MIO_AGENDA_IGNORE_NAVIGATION" hidden="1">
            <a:extLst>
              <a:ext uri="{FF2B5EF4-FFF2-40B4-BE49-F238E27FC236}">
                <a16:creationId xmlns:a16="http://schemas.microsoft.com/office/drawing/2014/main" id="{A2163211-8843-4B3A-A173-4CC8DE6FF39B}"/>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5" name="MIO_AGENDA_IGNORE_CHAPTER_REFERENCE" hidden="1">
            <a:extLst>
              <a:ext uri="{FF2B5EF4-FFF2-40B4-BE49-F238E27FC236}">
                <a16:creationId xmlns:a16="http://schemas.microsoft.com/office/drawing/2014/main" id="{8F02921B-CECB-4A04-AB2B-50AE546A3B6D}"/>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Tree>
    <p:extLst>
      <p:ext uri="{BB962C8B-B14F-4D97-AF65-F5344CB8AC3E}">
        <p14:creationId xmlns:p14="http://schemas.microsoft.com/office/powerpoint/2010/main" val="2710338808"/>
      </p:ext>
    </p:extLst>
  </p:cSld>
  <p:clrMapOvr>
    <a:masterClrMapping/>
  </p:clrMapOvr>
  <p:transition>
    <p:fade/>
  </p:transition>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ivider - Deloitte green accent 4">
    <p:spTree>
      <p:nvGrpSpPr>
        <p:cNvPr id="1" name=""/>
        <p:cNvGrpSpPr/>
        <p:nvPr/>
      </p:nvGrpSpPr>
      <p:grpSpPr>
        <a:xfrm>
          <a:off x="0" y="0"/>
          <a:ext cx="0" cy="0"/>
          <a:chOff x="0" y="0"/>
          <a:chExt cx="0" cy="0"/>
        </a:xfrm>
      </p:grpSpPr>
      <p:sp>
        <p:nvSpPr>
          <p:cNvPr id="18" name="Title"/>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MIO_AGENDA_IGNORE_NAVIGATION" hidden="1">
            <a:extLst>
              <a:ext uri="{FF2B5EF4-FFF2-40B4-BE49-F238E27FC236}">
                <a16:creationId xmlns:a16="http://schemas.microsoft.com/office/drawing/2014/main" id="{B33AFD28-F06F-4496-B660-E40557BF44B7}"/>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9" name="MIO_AGENDA_IGNORE_CHAPTER_REFERENCE" hidden="1">
            <a:extLst>
              <a:ext uri="{FF2B5EF4-FFF2-40B4-BE49-F238E27FC236}">
                <a16:creationId xmlns:a16="http://schemas.microsoft.com/office/drawing/2014/main" id="{9233F6B7-3A6D-4D1B-A7FB-196EDC508EEF}"/>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10" name="CaseCode">
            <a:extLst>
              <a:ext uri="{FF2B5EF4-FFF2-40B4-BE49-F238E27FC236}">
                <a16:creationId xmlns:a16="http://schemas.microsoft.com/office/drawing/2014/main" id="{882A5C28-0BF5-4D8F-94C9-8EE9CE72457D}"/>
              </a:ext>
            </a:extLst>
          </p:cNvPr>
          <p:cNvSpPr txBox="1"/>
          <p:nvPr>
            <p:custDataLst>
              <p:tags r:id="rId1"/>
            </p:custDataLst>
          </p:nvPr>
        </p:nvSpPr>
        <p:spPr>
          <a:xfrm>
            <a:off x="6335184" y="6519673"/>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Presentation title</a:t>
            </a:r>
            <a:br>
              <a:rPr lang="en-US" sz="900" baseline="0" noProof="0">
                <a:solidFill>
                  <a:schemeClr val="bg1"/>
                </a:solidFill>
                <a:latin typeface="Calibri" panose="020F0502020204030204" pitchFamily="34" charset="0"/>
                <a:cs typeface="Calibri" panose="020F0502020204030204" pitchFamily="34" charset="0"/>
              </a:rPr>
            </a:br>
            <a:r>
              <a:rPr lang="en-US"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opyright">
            <a:extLst>
              <a:ext uri="{FF2B5EF4-FFF2-40B4-BE49-F238E27FC236}">
                <a16:creationId xmlns:a16="http://schemas.microsoft.com/office/drawing/2014/main" id="{8F3C3DFA-9FB3-46AB-BDF5-39E1DC272933}"/>
              </a:ext>
            </a:extLst>
          </p:cNvPr>
          <p:cNvSpPr txBox="1"/>
          <p:nvPr>
            <p:custDataLst>
              <p:tags r:id="rId2"/>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Deloitte 2022</a:t>
            </a:r>
          </a:p>
        </p:txBody>
      </p:sp>
      <p:sp>
        <p:nvSpPr>
          <p:cNvPr id="12" name="TextBox 11">
            <a:extLst>
              <a:ext uri="{FF2B5EF4-FFF2-40B4-BE49-F238E27FC236}">
                <a16:creationId xmlns:a16="http://schemas.microsoft.com/office/drawing/2014/main" id="{DF6FC1D4-487D-4C1C-A92F-A0C6E30EA16B}"/>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baseline="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57906296"/>
      </p:ext>
    </p:extLst>
  </p:cSld>
  <p:clrMapOvr>
    <a:masterClrMapping/>
  </p:clrMapOvr>
  <p:transition>
    <p:fade/>
  </p:transition>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ivider - Deloitte black">
    <p:spTree>
      <p:nvGrpSpPr>
        <p:cNvPr id="1" name=""/>
        <p:cNvGrpSpPr/>
        <p:nvPr/>
      </p:nvGrpSpPr>
      <p:grpSpPr>
        <a:xfrm>
          <a:off x="0" y="0"/>
          <a:ext cx="0" cy="0"/>
          <a:chOff x="0" y="0"/>
          <a:chExt cx="0" cy="0"/>
        </a:xfrm>
      </p:grpSpPr>
      <p:sp>
        <p:nvSpPr>
          <p:cNvPr id="18" name="Title"/>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MIO_AGENDA_IGNORE_NAVIGATION" hidden="1">
            <a:extLst>
              <a:ext uri="{FF2B5EF4-FFF2-40B4-BE49-F238E27FC236}">
                <a16:creationId xmlns:a16="http://schemas.microsoft.com/office/drawing/2014/main" id="{8361DA31-7C99-49AA-A40D-CC798429750C}"/>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8" name="MIO_AGENDA_IGNORE_CHAPTER_REFERENCE" hidden="1">
            <a:extLst>
              <a:ext uri="{FF2B5EF4-FFF2-40B4-BE49-F238E27FC236}">
                <a16:creationId xmlns:a16="http://schemas.microsoft.com/office/drawing/2014/main" id="{D1BC51F7-D24C-4262-85CD-7EFD0E8E4885}"/>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9" name="CaseCode">
            <a:extLst>
              <a:ext uri="{FF2B5EF4-FFF2-40B4-BE49-F238E27FC236}">
                <a16:creationId xmlns:a16="http://schemas.microsoft.com/office/drawing/2014/main" id="{7D770CEC-7A1C-4675-B9F6-4684B6BC5EEF}"/>
              </a:ext>
            </a:extLst>
          </p:cNvPr>
          <p:cNvSpPr txBox="1"/>
          <p:nvPr>
            <p:custDataLst>
              <p:tags r:id="rId1"/>
            </p:custDataLst>
          </p:nvPr>
        </p:nvSpPr>
        <p:spPr>
          <a:xfrm>
            <a:off x="6335184" y="6519673"/>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Presentation title</a:t>
            </a:r>
            <a:br>
              <a:rPr lang="en-US" sz="900" baseline="0" noProof="0">
                <a:solidFill>
                  <a:schemeClr val="bg1"/>
                </a:solidFill>
                <a:latin typeface="Calibri" panose="020F0502020204030204" pitchFamily="34" charset="0"/>
                <a:cs typeface="Calibri" panose="020F0502020204030204" pitchFamily="34" charset="0"/>
              </a:rPr>
            </a:br>
            <a:r>
              <a:rPr lang="en-US"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opyright">
            <a:extLst>
              <a:ext uri="{FF2B5EF4-FFF2-40B4-BE49-F238E27FC236}">
                <a16:creationId xmlns:a16="http://schemas.microsoft.com/office/drawing/2014/main" id="{32612B95-CBCE-43BD-ACD5-F7E8E28AD6C4}"/>
              </a:ext>
            </a:extLst>
          </p:cNvPr>
          <p:cNvSpPr txBox="1"/>
          <p:nvPr>
            <p:custDataLst>
              <p:tags r:id="rId2"/>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Deloitte 2022</a:t>
            </a:r>
          </a:p>
        </p:txBody>
      </p:sp>
      <p:sp>
        <p:nvSpPr>
          <p:cNvPr id="11" name="TextBox 10">
            <a:extLst>
              <a:ext uri="{FF2B5EF4-FFF2-40B4-BE49-F238E27FC236}">
                <a16:creationId xmlns:a16="http://schemas.microsoft.com/office/drawing/2014/main" id="{20997DD9-C2E6-4412-906F-CEA396FE065F}"/>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baseline="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34395210"/>
      </p:ext>
    </p:extLst>
  </p:cSld>
  <p:clrMapOvr>
    <a:masterClrMapping/>
  </p:clrMapOvr>
  <p:transition>
    <p:fade/>
  </p:transition>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ivider - Deloitte green accent 1">
    <p:spTree>
      <p:nvGrpSpPr>
        <p:cNvPr id="1" name=""/>
        <p:cNvGrpSpPr/>
        <p:nvPr/>
      </p:nvGrpSpPr>
      <p:grpSpPr>
        <a:xfrm>
          <a:off x="0" y="0"/>
          <a:ext cx="0" cy="0"/>
          <a:chOff x="0" y="0"/>
          <a:chExt cx="0" cy="0"/>
        </a:xfrm>
      </p:grpSpPr>
      <p:sp>
        <p:nvSpPr>
          <p:cNvPr id="2" name="Title"/>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MIO_AGENDA_IGNORE_NAVIGATION" hidden="1">
            <a:extLst>
              <a:ext uri="{FF2B5EF4-FFF2-40B4-BE49-F238E27FC236}">
                <a16:creationId xmlns:a16="http://schemas.microsoft.com/office/drawing/2014/main" id="{0837ED46-4108-4499-BE40-E17599CFD675}"/>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8" name="MIO_AGENDA_IGNORE_CHAPTER_REFERENCE" hidden="1">
            <a:extLst>
              <a:ext uri="{FF2B5EF4-FFF2-40B4-BE49-F238E27FC236}">
                <a16:creationId xmlns:a16="http://schemas.microsoft.com/office/drawing/2014/main" id="{BD69D7E4-8FB7-4417-A428-3FC842962DF0}"/>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9" name="CaseCode">
            <a:extLst>
              <a:ext uri="{FF2B5EF4-FFF2-40B4-BE49-F238E27FC236}">
                <a16:creationId xmlns:a16="http://schemas.microsoft.com/office/drawing/2014/main" id="{EE7151CE-534A-4DA8-B077-606246FFE4AA}"/>
              </a:ext>
            </a:extLst>
          </p:cNvPr>
          <p:cNvSpPr txBox="1"/>
          <p:nvPr>
            <p:custDataLst>
              <p:tags r:id="rId1"/>
            </p:custDataLst>
          </p:nvPr>
        </p:nvSpPr>
        <p:spPr>
          <a:xfrm>
            <a:off x="6335184" y="6519673"/>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a:solidFill>
                  <a:schemeClr val="bg1"/>
                </a:solidFill>
              </a:rPr>
              <a:t>Bosch Mobility GenAI @ SAP</a:t>
            </a:r>
            <a:endParaRPr lang="en-US" sz="900" baseline="0" noProof="0">
              <a:solidFill>
                <a:schemeClr val="bg1"/>
              </a:solidFill>
              <a:latin typeface="Calibri" panose="020F0502020204030204" pitchFamily="34" charset="0"/>
              <a:cs typeface="Calibri" panose="020F0502020204030204" pitchFamily="34" charset="0"/>
            </a:endParaRPr>
          </a:p>
        </p:txBody>
      </p:sp>
      <p:sp>
        <p:nvSpPr>
          <p:cNvPr id="13" name="Copyright">
            <a:extLst>
              <a:ext uri="{FF2B5EF4-FFF2-40B4-BE49-F238E27FC236}">
                <a16:creationId xmlns:a16="http://schemas.microsoft.com/office/drawing/2014/main" id="{9F6D2D6D-4A12-45B7-A359-4B35E6BD19C6}"/>
              </a:ext>
            </a:extLst>
          </p:cNvPr>
          <p:cNvSpPr txBox="1"/>
          <p:nvPr>
            <p:custDataLst>
              <p:tags r:id="rId2"/>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Deloitte 2025</a:t>
            </a:r>
          </a:p>
        </p:txBody>
      </p:sp>
      <p:sp>
        <p:nvSpPr>
          <p:cNvPr id="14" name="TextBox 13">
            <a:extLst>
              <a:ext uri="{FF2B5EF4-FFF2-40B4-BE49-F238E27FC236}">
                <a16:creationId xmlns:a16="http://schemas.microsoft.com/office/drawing/2014/main" id="{9F5B17B4-6589-41B3-A983-093BB26C9BCC}"/>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baseline="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79502798"/>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38265EC-DBCA-A61F-03ED-013C13A46C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000" y="0"/>
            <a:ext cx="6096000" cy="6858000"/>
          </a:xfrm>
          <a:prstGeom prst="rect">
            <a:avLst/>
          </a:prstGeom>
        </p:spPr>
      </p:pic>
      <p:pic>
        <p:nvPicPr>
          <p:cNvPr id="9" name="Picture 8">
            <a:extLst>
              <a:ext uri="{FF2B5EF4-FFF2-40B4-BE49-F238E27FC236}">
                <a16:creationId xmlns:a16="http://schemas.microsoft.com/office/drawing/2014/main" id="{91A8D8E4-2887-E61E-264C-510B1F66BE3F}"/>
              </a:ext>
            </a:extLst>
          </p:cNvPr>
          <p:cNvPicPr>
            <a:picLocks noChangeAspect="1"/>
          </p:cNvPicPr>
          <p:nvPr userDrawn="1"/>
        </p:nvPicPr>
        <p:blipFill>
          <a:blip r:embed="rId3"/>
          <a:stretch>
            <a:fillRect/>
          </a:stretch>
        </p:blipFill>
        <p:spPr>
          <a:xfrm rot="5400000">
            <a:off x="7481331" y="4628590"/>
            <a:ext cx="1378378" cy="1946959"/>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a:xfrm>
            <a:off x="838200" y="365125"/>
            <a:ext cx="52578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1825625"/>
            <a:ext cx="52578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345D12D3-D358-0501-0F40-086002D67F4C}"/>
              </a:ext>
            </a:extLst>
          </p:cNvPr>
          <p:cNvPicPr>
            <a:picLocks noChangeAspect="1"/>
          </p:cNvPicPr>
          <p:nvPr userDrawn="1"/>
        </p:nvPicPr>
        <p:blipFill>
          <a:blip r:embed="rId4"/>
          <a:stretch>
            <a:fillRect/>
          </a:stretch>
        </p:blipFill>
        <p:spPr>
          <a:xfrm>
            <a:off x="10928700" y="908278"/>
            <a:ext cx="670266" cy="670266"/>
          </a:xfrm>
          <a:prstGeom prst="rect">
            <a:avLst/>
          </a:prstGeom>
        </p:spPr>
      </p:pic>
    </p:spTree>
    <p:extLst>
      <p:ext uri="{BB962C8B-B14F-4D97-AF65-F5344CB8AC3E}">
        <p14:creationId xmlns:p14="http://schemas.microsoft.com/office/powerpoint/2010/main" val="38785537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ivider - Deloitte green accent 2">
    <p:spTree>
      <p:nvGrpSpPr>
        <p:cNvPr id="1" name=""/>
        <p:cNvGrpSpPr/>
        <p:nvPr/>
      </p:nvGrpSpPr>
      <p:grpSpPr>
        <a:xfrm>
          <a:off x="0" y="0"/>
          <a:ext cx="0" cy="0"/>
          <a:chOff x="0" y="0"/>
          <a:chExt cx="0" cy="0"/>
        </a:xfrm>
      </p:grpSpPr>
      <p:sp>
        <p:nvSpPr>
          <p:cNvPr id="18" name="Title"/>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MIO_AGENDA_IGNORE_NAVIGATION" hidden="1">
            <a:extLst>
              <a:ext uri="{FF2B5EF4-FFF2-40B4-BE49-F238E27FC236}">
                <a16:creationId xmlns:a16="http://schemas.microsoft.com/office/drawing/2014/main" id="{9FC4547F-C195-4067-8008-B68776595B5D}"/>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8" name="MIO_AGENDA_IGNORE_CHAPTER_REFERENCE" hidden="1">
            <a:extLst>
              <a:ext uri="{FF2B5EF4-FFF2-40B4-BE49-F238E27FC236}">
                <a16:creationId xmlns:a16="http://schemas.microsoft.com/office/drawing/2014/main" id="{12EACD47-41DE-4CD2-A21A-14DBE7C985AF}"/>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9" name="CaseCode">
            <a:extLst>
              <a:ext uri="{FF2B5EF4-FFF2-40B4-BE49-F238E27FC236}">
                <a16:creationId xmlns:a16="http://schemas.microsoft.com/office/drawing/2014/main" id="{6354E020-0B8B-4490-8FBE-69D3AA2C5D8E}"/>
              </a:ext>
            </a:extLst>
          </p:cNvPr>
          <p:cNvSpPr txBox="1"/>
          <p:nvPr>
            <p:custDataLst>
              <p:tags r:id="rId1"/>
            </p:custDataLst>
          </p:nvPr>
        </p:nvSpPr>
        <p:spPr>
          <a:xfrm>
            <a:off x="6335184" y="6519673"/>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Presentation title</a:t>
            </a:r>
            <a:br>
              <a:rPr lang="en-US" sz="900" baseline="0" noProof="0">
                <a:solidFill>
                  <a:schemeClr val="bg1"/>
                </a:solidFill>
                <a:latin typeface="Calibri" panose="020F0502020204030204" pitchFamily="34" charset="0"/>
                <a:cs typeface="Calibri" panose="020F0502020204030204" pitchFamily="34" charset="0"/>
              </a:rPr>
            </a:br>
            <a:r>
              <a:rPr lang="en-US"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opyright">
            <a:extLst>
              <a:ext uri="{FF2B5EF4-FFF2-40B4-BE49-F238E27FC236}">
                <a16:creationId xmlns:a16="http://schemas.microsoft.com/office/drawing/2014/main" id="{1775EE3B-1424-455C-B471-9011952BEC3A}"/>
              </a:ext>
            </a:extLst>
          </p:cNvPr>
          <p:cNvSpPr txBox="1"/>
          <p:nvPr>
            <p:custDataLst>
              <p:tags r:id="rId2"/>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Deloitte 2022</a:t>
            </a:r>
          </a:p>
        </p:txBody>
      </p:sp>
      <p:sp>
        <p:nvSpPr>
          <p:cNvPr id="14" name="TextBox 13">
            <a:extLst>
              <a:ext uri="{FF2B5EF4-FFF2-40B4-BE49-F238E27FC236}">
                <a16:creationId xmlns:a16="http://schemas.microsoft.com/office/drawing/2014/main" id="{18004DD8-5CCD-47AF-881E-102D039801F2}"/>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baseline="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68049317"/>
      </p:ext>
    </p:extLst>
  </p:cSld>
  <p:clrMapOvr>
    <a:masterClrMapping/>
  </p:clrMapOvr>
  <p:transition>
    <p:fade/>
  </p:transition>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ivider - Deloitte green accent 3">
    <p:spTree>
      <p:nvGrpSpPr>
        <p:cNvPr id="1" name=""/>
        <p:cNvGrpSpPr/>
        <p:nvPr/>
      </p:nvGrpSpPr>
      <p:grpSpPr>
        <a:xfrm>
          <a:off x="0" y="0"/>
          <a:ext cx="0" cy="0"/>
          <a:chOff x="0" y="0"/>
          <a:chExt cx="0" cy="0"/>
        </a:xfrm>
      </p:grpSpPr>
      <p:sp>
        <p:nvSpPr>
          <p:cNvPr id="2" name="Title"/>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MIO_AGENDA_IGNORE_NAVIGATION" hidden="1">
            <a:extLst>
              <a:ext uri="{FF2B5EF4-FFF2-40B4-BE49-F238E27FC236}">
                <a16:creationId xmlns:a16="http://schemas.microsoft.com/office/drawing/2014/main" id="{27CF3F4C-5874-4930-8527-36305B15F574}"/>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11" name="MIO_AGENDA_IGNORE_CHAPTER_REFERENCE" hidden="1">
            <a:extLst>
              <a:ext uri="{FF2B5EF4-FFF2-40B4-BE49-F238E27FC236}">
                <a16:creationId xmlns:a16="http://schemas.microsoft.com/office/drawing/2014/main" id="{BBDF0290-19AC-4946-8A62-805CF2CCDC9C}"/>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12" name="CaseCode">
            <a:extLst>
              <a:ext uri="{FF2B5EF4-FFF2-40B4-BE49-F238E27FC236}">
                <a16:creationId xmlns:a16="http://schemas.microsoft.com/office/drawing/2014/main" id="{A5F15993-9A11-497E-9B56-FBC6CFC14D87}"/>
              </a:ext>
            </a:extLst>
          </p:cNvPr>
          <p:cNvSpPr txBox="1"/>
          <p:nvPr>
            <p:custDataLst>
              <p:tags r:id="rId1"/>
            </p:custDataLst>
          </p:nvPr>
        </p:nvSpPr>
        <p:spPr>
          <a:xfrm>
            <a:off x="6335184" y="6519673"/>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Presentation title</a:t>
            </a:r>
            <a:br>
              <a:rPr lang="en-US" sz="900" baseline="0" noProof="0">
                <a:solidFill>
                  <a:schemeClr val="bg1"/>
                </a:solidFill>
                <a:latin typeface="Calibri" panose="020F0502020204030204" pitchFamily="34" charset="0"/>
                <a:cs typeface="Calibri" panose="020F0502020204030204" pitchFamily="34" charset="0"/>
              </a:rPr>
            </a:br>
            <a:r>
              <a:rPr lang="en-US"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opyright">
            <a:extLst>
              <a:ext uri="{FF2B5EF4-FFF2-40B4-BE49-F238E27FC236}">
                <a16:creationId xmlns:a16="http://schemas.microsoft.com/office/drawing/2014/main" id="{9688FFC8-7352-479D-AA3C-FD6DC60CED1B}"/>
              </a:ext>
            </a:extLst>
          </p:cNvPr>
          <p:cNvSpPr txBox="1"/>
          <p:nvPr>
            <p:custDataLst>
              <p:tags r:id="rId2"/>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Deloitte 2022</a:t>
            </a:r>
          </a:p>
        </p:txBody>
      </p:sp>
      <p:sp>
        <p:nvSpPr>
          <p:cNvPr id="14" name="TextBox 13">
            <a:extLst>
              <a:ext uri="{FF2B5EF4-FFF2-40B4-BE49-F238E27FC236}">
                <a16:creationId xmlns:a16="http://schemas.microsoft.com/office/drawing/2014/main" id="{46829B2D-FBA8-486E-BA8A-D44EBE6D7A73}"/>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baseline="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72345295"/>
      </p:ext>
    </p:extLst>
  </p:cSld>
  <p:clrMapOvr>
    <a:masterClrMapping/>
  </p:clrMapOvr>
  <p:transition>
    <p:fade/>
  </p:transition>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Key statement green accent 2">
    <p:spTree>
      <p:nvGrpSpPr>
        <p:cNvPr id="1" name=""/>
        <p:cNvGrpSpPr/>
        <p:nvPr/>
      </p:nvGrpSpPr>
      <p:grpSpPr>
        <a:xfrm>
          <a:off x="0" y="0"/>
          <a:ext cx="0" cy="0"/>
          <a:chOff x="0" y="0"/>
          <a:chExt cx="0" cy="0"/>
        </a:xfrm>
      </p:grpSpPr>
      <p:sp>
        <p:nvSpPr>
          <p:cNvPr id="4" name="Text Placeholder"/>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MIO_AGENDA_IGNORE_NAVIGATION" hidden="1">
            <a:extLst>
              <a:ext uri="{FF2B5EF4-FFF2-40B4-BE49-F238E27FC236}">
                <a16:creationId xmlns:a16="http://schemas.microsoft.com/office/drawing/2014/main" id="{CAC30FC8-4769-493E-8A50-EE686BE7D3B5}"/>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7" name="MIO_AGENDA_IGNORE_CHAPTER_REFERENCE" hidden="1">
            <a:extLst>
              <a:ext uri="{FF2B5EF4-FFF2-40B4-BE49-F238E27FC236}">
                <a16:creationId xmlns:a16="http://schemas.microsoft.com/office/drawing/2014/main" id="{A86122FE-538F-4A32-A4D5-095A77004C94}"/>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8" name="CaseCode">
            <a:extLst>
              <a:ext uri="{FF2B5EF4-FFF2-40B4-BE49-F238E27FC236}">
                <a16:creationId xmlns:a16="http://schemas.microsoft.com/office/drawing/2014/main" id="{8543C88E-E176-4291-8A87-994374277F5E}"/>
              </a:ext>
            </a:extLst>
          </p:cNvPr>
          <p:cNvSpPr txBox="1"/>
          <p:nvPr>
            <p:custDataLst>
              <p:tags r:id="rId1"/>
            </p:custDataLst>
          </p:nvPr>
        </p:nvSpPr>
        <p:spPr>
          <a:xfrm>
            <a:off x="6335184" y="6519673"/>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Presentation title</a:t>
            </a:r>
            <a:br>
              <a:rPr lang="en-US" sz="900" baseline="0" noProof="0">
                <a:solidFill>
                  <a:schemeClr val="bg1"/>
                </a:solidFill>
                <a:latin typeface="Calibri" panose="020F0502020204030204" pitchFamily="34" charset="0"/>
                <a:cs typeface="Calibri" panose="020F0502020204030204" pitchFamily="34" charset="0"/>
              </a:rPr>
            </a:br>
            <a:r>
              <a:rPr lang="en-US"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2A178BA9-7781-4CBD-AA26-059841B96E10}"/>
              </a:ext>
            </a:extLst>
          </p:cNvPr>
          <p:cNvSpPr txBox="1"/>
          <p:nvPr>
            <p:custDataLst>
              <p:tags r:id="rId2"/>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Deloitte 2022</a:t>
            </a:r>
          </a:p>
        </p:txBody>
      </p:sp>
      <p:sp>
        <p:nvSpPr>
          <p:cNvPr id="13" name="TextBox 12">
            <a:extLst>
              <a:ext uri="{FF2B5EF4-FFF2-40B4-BE49-F238E27FC236}">
                <a16:creationId xmlns:a16="http://schemas.microsoft.com/office/drawing/2014/main" id="{17DB4A35-A981-4070-976E-FF0B78FCCF1C}"/>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baseline="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0328464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Key statement Green Accent 4">
    <p:spTree>
      <p:nvGrpSpPr>
        <p:cNvPr id="1" name=""/>
        <p:cNvGrpSpPr/>
        <p:nvPr/>
      </p:nvGrpSpPr>
      <p:grpSpPr>
        <a:xfrm>
          <a:off x="0" y="0"/>
          <a:ext cx="0" cy="0"/>
          <a:chOff x="0" y="0"/>
          <a:chExt cx="0" cy="0"/>
        </a:xfrm>
      </p:grpSpPr>
      <p:sp>
        <p:nvSpPr>
          <p:cNvPr id="13" name="Text Placeholder"/>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MIO_AGENDA_IGNORE_NAVIGATION" hidden="1">
            <a:extLst>
              <a:ext uri="{FF2B5EF4-FFF2-40B4-BE49-F238E27FC236}">
                <a16:creationId xmlns:a16="http://schemas.microsoft.com/office/drawing/2014/main" id="{8AC01345-8637-49F7-B27A-1F3623D0EA44}"/>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7" name="MIO_AGENDA_IGNORE_CHAPTER_REFERENCE" hidden="1">
            <a:extLst>
              <a:ext uri="{FF2B5EF4-FFF2-40B4-BE49-F238E27FC236}">
                <a16:creationId xmlns:a16="http://schemas.microsoft.com/office/drawing/2014/main" id="{1537F287-C3D9-41AB-A895-877ED68E01DE}"/>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8" name="CaseCode">
            <a:extLst>
              <a:ext uri="{FF2B5EF4-FFF2-40B4-BE49-F238E27FC236}">
                <a16:creationId xmlns:a16="http://schemas.microsoft.com/office/drawing/2014/main" id="{3937E4FF-E016-44F3-AD4A-BD40518CEBF5}"/>
              </a:ext>
            </a:extLst>
          </p:cNvPr>
          <p:cNvSpPr txBox="1"/>
          <p:nvPr>
            <p:custDataLst>
              <p:tags r:id="rId1"/>
            </p:custDataLst>
          </p:nvPr>
        </p:nvSpPr>
        <p:spPr>
          <a:xfrm>
            <a:off x="6335184" y="6519673"/>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Presentation title</a:t>
            </a:r>
            <a:br>
              <a:rPr lang="en-US" sz="900" baseline="0" noProof="0">
                <a:solidFill>
                  <a:schemeClr val="bg1"/>
                </a:solidFill>
                <a:latin typeface="Calibri" panose="020F0502020204030204" pitchFamily="34" charset="0"/>
                <a:cs typeface="Calibri" panose="020F0502020204030204" pitchFamily="34" charset="0"/>
              </a:rPr>
            </a:br>
            <a:r>
              <a:rPr lang="en-US"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70F3F35D-F2C2-4AB4-B366-EEC863736AF6}"/>
              </a:ext>
            </a:extLst>
          </p:cNvPr>
          <p:cNvSpPr txBox="1"/>
          <p:nvPr>
            <p:custDataLst>
              <p:tags r:id="rId2"/>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Deloitte 2022</a:t>
            </a:r>
          </a:p>
        </p:txBody>
      </p:sp>
      <p:sp>
        <p:nvSpPr>
          <p:cNvPr id="14" name="TextBox 13">
            <a:extLst>
              <a:ext uri="{FF2B5EF4-FFF2-40B4-BE49-F238E27FC236}">
                <a16:creationId xmlns:a16="http://schemas.microsoft.com/office/drawing/2014/main" id="{34DB589F-A6FF-45A0-9279-59580FC81C96}"/>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baseline="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4863766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Key statement teal">
    <p:spTree>
      <p:nvGrpSpPr>
        <p:cNvPr id="1" name=""/>
        <p:cNvGrpSpPr/>
        <p:nvPr/>
      </p:nvGrpSpPr>
      <p:grpSpPr>
        <a:xfrm>
          <a:off x="0" y="0"/>
          <a:ext cx="0" cy="0"/>
          <a:chOff x="0" y="0"/>
          <a:chExt cx="0" cy="0"/>
        </a:xfrm>
      </p:grpSpPr>
      <p:sp>
        <p:nvSpPr>
          <p:cNvPr id="6" name="MIO_AGENDA_IGNORE_NAVIGATION" hidden="1">
            <a:extLst>
              <a:ext uri="{FF2B5EF4-FFF2-40B4-BE49-F238E27FC236}">
                <a16:creationId xmlns:a16="http://schemas.microsoft.com/office/drawing/2014/main" id="{8A2ACF0E-68DE-4019-9B26-9765BBDE1FC4}"/>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7" name="MIO_AGENDA_IGNORE_CHAPTER_REFERENCE" hidden="1">
            <a:extLst>
              <a:ext uri="{FF2B5EF4-FFF2-40B4-BE49-F238E27FC236}">
                <a16:creationId xmlns:a16="http://schemas.microsoft.com/office/drawing/2014/main" id="{8170BC7A-230F-4CFF-B510-7C11B6B6B394}"/>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8" name="CaseCode">
            <a:extLst>
              <a:ext uri="{FF2B5EF4-FFF2-40B4-BE49-F238E27FC236}">
                <a16:creationId xmlns:a16="http://schemas.microsoft.com/office/drawing/2014/main" id="{11B7F5CA-811D-4AE2-962B-BF8A99E307A8}"/>
              </a:ext>
            </a:extLst>
          </p:cNvPr>
          <p:cNvSpPr txBox="1"/>
          <p:nvPr>
            <p:custDataLst>
              <p:tags r:id="rId1"/>
            </p:custDataLst>
          </p:nvPr>
        </p:nvSpPr>
        <p:spPr>
          <a:xfrm>
            <a:off x="6335184" y="6519673"/>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Presentation title</a:t>
            </a:r>
            <a:br>
              <a:rPr lang="en-US" sz="900" baseline="0" noProof="0">
                <a:solidFill>
                  <a:schemeClr val="bg1"/>
                </a:solidFill>
                <a:latin typeface="Calibri" panose="020F0502020204030204" pitchFamily="34" charset="0"/>
                <a:cs typeface="Calibri" panose="020F0502020204030204" pitchFamily="34" charset="0"/>
              </a:rPr>
            </a:br>
            <a:r>
              <a:rPr lang="en-US"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7EB031C3-69E1-4133-9550-E7CB21DD10E3}"/>
              </a:ext>
            </a:extLst>
          </p:cNvPr>
          <p:cNvSpPr txBox="1"/>
          <p:nvPr>
            <p:custDataLst>
              <p:tags r:id="rId2"/>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Deloitte 2022</a:t>
            </a:r>
          </a:p>
        </p:txBody>
      </p:sp>
      <p:sp>
        <p:nvSpPr>
          <p:cNvPr id="13" name="TextBox 12">
            <a:extLst>
              <a:ext uri="{FF2B5EF4-FFF2-40B4-BE49-F238E27FC236}">
                <a16:creationId xmlns:a16="http://schemas.microsoft.com/office/drawing/2014/main" id="{8E089A2F-E1F6-41D3-964D-CBD86C232A5E}"/>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baseline="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baseline="0" noProof="0">
              <a:solidFill>
                <a:schemeClr val="bg1"/>
              </a:solidFill>
              <a:latin typeface="Calibri" panose="020F0502020204030204" pitchFamily="34" charset="0"/>
              <a:cs typeface="Calibri" panose="020F0502020204030204" pitchFamily="34" charset="0"/>
            </a:endParaRPr>
          </a:p>
        </p:txBody>
      </p:sp>
      <p:sp>
        <p:nvSpPr>
          <p:cNvPr id="9" name="Text Placeholder">
            <a:extLst>
              <a:ext uri="{FF2B5EF4-FFF2-40B4-BE49-F238E27FC236}">
                <a16:creationId xmlns:a16="http://schemas.microsoft.com/office/drawing/2014/main" id="{49B5320A-11DF-45D8-82E3-989BED6B597C}"/>
              </a:ext>
            </a:extLst>
          </p:cNvPr>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236164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Key statement black">
    <p:spTree>
      <p:nvGrpSpPr>
        <p:cNvPr id="1" name=""/>
        <p:cNvGrpSpPr/>
        <p:nvPr/>
      </p:nvGrpSpPr>
      <p:grpSpPr>
        <a:xfrm>
          <a:off x="0" y="0"/>
          <a:ext cx="0" cy="0"/>
          <a:chOff x="0" y="0"/>
          <a:chExt cx="0" cy="0"/>
        </a:xfrm>
      </p:grpSpPr>
      <p:sp>
        <p:nvSpPr>
          <p:cNvPr id="6" name="MIO_AGENDA_IGNORE_NAVIGATION" hidden="1">
            <a:extLst>
              <a:ext uri="{FF2B5EF4-FFF2-40B4-BE49-F238E27FC236}">
                <a16:creationId xmlns:a16="http://schemas.microsoft.com/office/drawing/2014/main" id="{BE26B797-9949-48A3-976D-A898E3C18E42}"/>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7" name="MIO_AGENDA_IGNORE_CHAPTER_REFERENCE" hidden="1">
            <a:extLst>
              <a:ext uri="{FF2B5EF4-FFF2-40B4-BE49-F238E27FC236}">
                <a16:creationId xmlns:a16="http://schemas.microsoft.com/office/drawing/2014/main" id="{14E60C47-69F3-4ABA-80FD-E5DF82E7BA19}"/>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8" name="CaseCode">
            <a:extLst>
              <a:ext uri="{FF2B5EF4-FFF2-40B4-BE49-F238E27FC236}">
                <a16:creationId xmlns:a16="http://schemas.microsoft.com/office/drawing/2014/main" id="{09112F48-72C6-45E5-A1E0-1581DF24E17A}"/>
              </a:ext>
            </a:extLst>
          </p:cNvPr>
          <p:cNvSpPr txBox="1"/>
          <p:nvPr>
            <p:custDataLst>
              <p:tags r:id="rId1"/>
            </p:custDataLst>
          </p:nvPr>
        </p:nvSpPr>
        <p:spPr>
          <a:xfrm>
            <a:off x="6335184" y="6519673"/>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Presentation title</a:t>
            </a:r>
            <a:br>
              <a:rPr lang="en-US" sz="900" baseline="0" noProof="0">
                <a:solidFill>
                  <a:schemeClr val="bg1"/>
                </a:solidFill>
                <a:latin typeface="Calibri" panose="020F0502020204030204" pitchFamily="34" charset="0"/>
                <a:cs typeface="Calibri" panose="020F0502020204030204" pitchFamily="34" charset="0"/>
              </a:rPr>
            </a:br>
            <a:r>
              <a:rPr lang="en-US"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A22A7399-BED7-4421-B384-268352145493}"/>
              </a:ext>
            </a:extLst>
          </p:cNvPr>
          <p:cNvSpPr txBox="1"/>
          <p:nvPr>
            <p:custDataLst>
              <p:tags r:id="rId2"/>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Deloitte 2022</a:t>
            </a:r>
          </a:p>
        </p:txBody>
      </p:sp>
      <p:sp>
        <p:nvSpPr>
          <p:cNvPr id="14" name="TextBox 13">
            <a:extLst>
              <a:ext uri="{FF2B5EF4-FFF2-40B4-BE49-F238E27FC236}">
                <a16:creationId xmlns:a16="http://schemas.microsoft.com/office/drawing/2014/main" id="{9FBAD39A-8E4D-4CED-BFA6-6A113684235A}"/>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baseline="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baseline="0" noProof="0">
              <a:solidFill>
                <a:schemeClr val="bg1"/>
              </a:solidFill>
              <a:latin typeface="Calibri" panose="020F0502020204030204" pitchFamily="34" charset="0"/>
              <a:cs typeface="Calibri" panose="020F0502020204030204" pitchFamily="34" charset="0"/>
            </a:endParaRPr>
          </a:p>
        </p:txBody>
      </p:sp>
      <p:sp>
        <p:nvSpPr>
          <p:cNvPr id="9" name="Text Placeholder">
            <a:extLst>
              <a:ext uri="{FF2B5EF4-FFF2-40B4-BE49-F238E27FC236}">
                <a16:creationId xmlns:a16="http://schemas.microsoft.com/office/drawing/2014/main" id="{0B218C54-9132-4035-AE4B-9AB4B0A07EDB}"/>
              </a:ext>
            </a:extLst>
          </p:cNvPr>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5815792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Key statement white">
    <p:spTree>
      <p:nvGrpSpPr>
        <p:cNvPr id="1" name=""/>
        <p:cNvGrpSpPr/>
        <p:nvPr/>
      </p:nvGrpSpPr>
      <p:grpSpPr>
        <a:xfrm>
          <a:off x="0" y="0"/>
          <a:ext cx="0" cy="0"/>
          <a:chOff x="0" y="0"/>
          <a:chExt cx="0" cy="0"/>
        </a:xfrm>
      </p:grpSpPr>
      <p:sp>
        <p:nvSpPr>
          <p:cNvPr id="4" name="Text Placeholder"/>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
        <p:nvSpPr>
          <p:cNvPr id="3" name="MIO_AGENDA_IGNORE_NAVIGATION" hidden="1">
            <a:extLst>
              <a:ext uri="{FF2B5EF4-FFF2-40B4-BE49-F238E27FC236}">
                <a16:creationId xmlns:a16="http://schemas.microsoft.com/office/drawing/2014/main" id="{7583F471-57B6-4DAA-89A7-6E0D0C078BFC}"/>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5" name="MIO_AGENDA_IGNORE_CHAPTER_REFERENCE" hidden="1">
            <a:extLst>
              <a:ext uri="{FF2B5EF4-FFF2-40B4-BE49-F238E27FC236}">
                <a16:creationId xmlns:a16="http://schemas.microsoft.com/office/drawing/2014/main" id="{D1E299B4-0A88-451E-904B-278ECCE2D8C1}"/>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Tree>
    <p:extLst>
      <p:ext uri="{BB962C8B-B14F-4D97-AF65-F5344CB8AC3E}">
        <p14:creationId xmlns:p14="http://schemas.microsoft.com/office/powerpoint/2010/main" val="15443974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Content Placeholder"/>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81830918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15928625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Letter Layout">
    <p:spTree>
      <p:nvGrpSpPr>
        <p:cNvPr id="1" name=""/>
        <p:cNvGrpSpPr/>
        <p:nvPr/>
      </p:nvGrpSpPr>
      <p:grpSpPr>
        <a:xfrm>
          <a:off x="0" y="0"/>
          <a:ext cx="0" cy="0"/>
          <a:chOff x="0" y="0"/>
          <a:chExt cx="0" cy="0"/>
        </a:xfrm>
      </p:grpSpPr>
      <p:sp>
        <p:nvSpPr>
          <p:cNvPr id="5" name="Text upper right"/>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left"/>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right"/>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pic>
        <p:nvPicPr>
          <p:cNvPr id="27" name="Grafik 26">
            <a:extLst>
              <a:ext uri="{FF2B5EF4-FFF2-40B4-BE49-F238E27FC236}">
                <a16:creationId xmlns:a16="http://schemas.microsoft.com/office/drawing/2014/main" id="{0BEBA5BA-2E43-4386-B7E4-9B110BB162CA}"/>
              </a:ext>
            </a:extLst>
          </p:cNvPr>
          <p:cNvPicPr>
            <a:picLocks noChangeAspect="1"/>
          </p:cNvPicPr>
          <p:nvPr/>
        </p:nvPicPr>
        <p:blipFill>
          <a:blip r:embed="rId2"/>
          <a:stretch>
            <a:fillRect/>
          </a:stretch>
        </p:blipFill>
        <p:spPr>
          <a:xfrm>
            <a:off x="458636" y="342232"/>
            <a:ext cx="1818000" cy="339914"/>
          </a:xfrm>
          <a:prstGeom prst="rect">
            <a:avLst/>
          </a:prstGeom>
        </p:spPr>
      </p:pic>
    </p:spTree>
    <p:extLst>
      <p:ext uri="{BB962C8B-B14F-4D97-AF65-F5344CB8AC3E}">
        <p14:creationId xmlns:p14="http://schemas.microsoft.com/office/powerpoint/2010/main" val="392672453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BA79E2-9E53-C258-EF3C-3D34E1689E7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9228"/>
          <a:stretch/>
        </p:blipFill>
        <p:spPr>
          <a:xfrm>
            <a:off x="9297649" y="0"/>
            <a:ext cx="2894352" cy="6858000"/>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a:xfrm>
            <a:off x="838200" y="365125"/>
            <a:ext cx="9031356"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1825625"/>
            <a:ext cx="903135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28A6F1EA-1AD1-1753-27DE-CAF61184E0CB}"/>
              </a:ext>
            </a:extLst>
          </p:cNvPr>
          <p:cNvPicPr>
            <a:picLocks noChangeAspect="1"/>
          </p:cNvPicPr>
          <p:nvPr userDrawn="1"/>
        </p:nvPicPr>
        <p:blipFill>
          <a:blip r:embed="rId3"/>
          <a:stretch>
            <a:fillRect/>
          </a:stretch>
        </p:blipFill>
        <p:spPr>
          <a:xfrm>
            <a:off x="10638808" y="551453"/>
            <a:ext cx="476453" cy="476453"/>
          </a:xfrm>
          <a:prstGeom prst="rect">
            <a:avLst/>
          </a:prstGeom>
        </p:spPr>
      </p:pic>
    </p:spTree>
    <p:extLst>
      <p:ext uri="{BB962C8B-B14F-4D97-AF65-F5344CB8AC3E}">
        <p14:creationId xmlns:p14="http://schemas.microsoft.com/office/powerpoint/2010/main" val="69207640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3715186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left"/>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right"/>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ubtitle">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24918448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3540030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Subtitle"/>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7" name="Title">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8" name="Chart Title / Headline"/>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8" name="Text bottom">
            <a:extLst>
              <a:ext uri="{FF2B5EF4-FFF2-40B4-BE49-F238E27FC236}">
                <a16:creationId xmlns:a16="http://schemas.microsoft.com/office/drawing/2014/main" id="{4B6E095B-6E26-41E6-AFC8-FF16F0C3C866}"/>
              </a:ext>
            </a:extLst>
          </p:cNvPr>
          <p:cNvSpPr>
            <a:spLocks noGrp="1"/>
          </p:cNvSpPr>
          <p:nvPr>
            <p:ph type="body" sz="quarter" idx="23"/>
          </p:nvPr>
        </p:nvSpPr>
        <p:spPr>
          <a:xfrm>
            <a:off x="463297" y="6121016"/>
            <a:ext cx="1127387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66933067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3" name="Chart Placeholder"/>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Chart Title / Headline"/>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bottom"/>
          <p:cNvSpPr>
            <a:spLocks noGrp="1"/>
          </p:cNvSpPr>
          <p:nvPr>
            <p:ph type="body" sz="quarter" idx="23"/>
          </p:nvPr>
        </p:nvSpPr>
        <p:spPr>
          <a:xfrm>
            <a:off x="463297" y="6121016"/>
            <a:ext cx="11273879" cy="241685"/>
          </a:xfrm>
        </p:spPr>
        <p:txBody>
          <a:bodyPr>
            <a:noAutofit/>
          </a:bodyPr>
          <a:lstStyle>
            <a:lvl1pPr>
              <a:spcAft>
                <a:spcPts val="0"/>
              </a:spcAft>
              <a:defRPr sz="900"/>
            </a:lvl1pPr>
          </a:lstStyle>
          <a:p>
            <a:pPr lvl="0"/>
            <a:r>
              <a:rPr lang="en-US"/>
              <a:t>Click to edit Master text styles</a:t>
            </a:r>
          </a:p>
        </p:txBody>
      </p:sp>
      <p:sp>
        <p:nvSpPr>
          <p:cNvPr id="10" name="Subtitle">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left">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1027616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6" name="Chart Title right / Headline"/>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bottom"/>
          <p:cNvSpPr>
            <a:spLocks noGrp="1"/>
          </p:cNvSpPr>
          <p:nvPr>
            <p:ph type="body" sz="quarter" idx="23"/>
          </p:nvPr>
        </p:nvSpPr>
        <p:spPr>
          <a:xfrm>
            <a:off x="463297" y="6121016"/>
            <a:ext cx="11273879" cy="241685"/>
          </a:xfrm>
        </p:spPr>
        <p:txBody>
          <a:bodyPr>
            <a:noAutofit/>
          </a:bodyPr>
          <a:lstStyle>
            <a:lvl1pPr>
              <a:spcAft>
                <a:spcPts val="0"/>
              </a:spcAft>
              <a:defRPr sz="900"/>
            </a:lvl1pPr>
          </a:lstStyle>
          <a:p>
            <a:pPr lvl="0"/>
            <a:r>
              <a:rPr lang="en-US"/>
              <a:t>Click to edit Master text styles</a:t>
            </a:r>
          </a:p>
        </p:txBody>
      </p:sp>
      <p:sp>
        <p:nvSpPr>
          <p:cNvPr id="9" name="Chart Placeholder left"/>
          <p:cNvSpPr>
            <a:spLocks noGrp="1"/>
          </p:cNvSpPr>
          <p:nvPr>
            <p:ph type="chart" sz="quarter" idx="24"/>
          </p:nvPr>
        </p:nvSpPr>
        <p:spPr>
          <a:xfrm>
            <a:off x="460271" y="2115775"/>
            <a:ext cx="5480304" cy="3996002"/>
          </a:xfrm>
        </p:spPr>
        <p:txBody>
          <a:bodyPr>
            <a:noAutofit/>
          </a:bodyPr>
          <a:lstStyle>
            <a:lvl1pPr>
              <a:defRPr sz="1200"/>
            </a:lvl1pPr>
          </a:lstStyle>
          <a:p>
            <a:r>
              <a:rPr lang="en-US"/>
              <a:t>Click icon to add chart</a:t>
            </a:r>
            <a:endParaRPr lang="en-GB"/>
          </a:p>
        </p:txBody>
      </p:sp>
      <p:sp>
        <p:nvSpPr>
          <p:cNvPr id="12" name="Chart Title left / Headline"/>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right">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Subtitle">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7766581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8" name="Content right"/>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ubtitle">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left">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0049671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Right"/>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Left"/>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ubtitle">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69993949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left"/>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Chart Title left / Headline"/>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bottom"/>
          <p:cNvSpPr>
            <a:spLocks noGrp="1"/>
          </p:cNvSpPr>
          <p:nvPr>
            <p:ph type="body" sz="quarter" idx="23"/>
          </p:nvPr>
        </p:nvSpPr>
        <p:spPr>
          <a:xfrm>
            <a:off x="463297" y="6121016"/>
            <a:ext cx="11273879" cy="241685"/>
          </a:xfrm>
        </p:spPr>
        <p:txBody>
          <a:bodyPr>
            <a:noAutofit/>
          </a:bodyPr>
          <a:lstStyle>
            <a:lvl1pPr>
              <a:spcAft>
                <a:spcPts val="0"/>
              </a:spcAft>
              <a:defRPr sz="900"/>
            </a:lvl1pPr>
          </a:lstStyle>
          <a:p>
            <a:pPr lvl="0"/>
            <a:r>
              <a:rPr lang="en-US" noProof="0"/>
              <a:t>Click to edit Master text styles</a:t>
            </a:r>
          </a:p>
        </p:txBody>
      </p:sp>
      <p:sp>
        <p:nvSpPr>
          <p:cNvPr id="19" name="Chart Placeholder center">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Chart Title center / Headline">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right">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Chart Title right / Headline">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Subtitle">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59878082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1"/>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2"/>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3"/>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4"/>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bottom left"/>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bottom center left"/>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bottom center right"/>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bottom right"/>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ubtitle">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2072721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72019AB-075A-532E-A0C8-DE2FFFF83C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6345"/>
          <a:stretch/>
        </p:blipFill>
        <p:spPr>
          <a:xfrm>
            <a:off x="3828263" y="5011557"/>
            <a:ext cx="8363738" cy="1846444"/>
          </a:xfrm>
          <a:prstGeom prst="rect">
            <a:avLst/>
          </a:prstGeom>
        </p:spPr>
      </p:pic>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1408767"/>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02BD7080-167D-75DC-AF13-461D41AD7C3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4928"/>
          <a:stretch/>
        </p:blipFill>
        <p:spPr>
          <a:xfrm rot="5400000">
            <a:off x="6031669" y="5952447"/>
            <a:ext cx="858043" cy="1271698"/>
          </a:xfrm>
          <a:prstGeom prst="rect">
            <a:avLst/>
          </a:prstGeom>
        </p:spPr>
      </p:pic>
      <p:pic>
        <p:nvPicPr>
          <p:cNvPr id="4" name="Picture 3">
            <a:extLst>
              <a:ext uri="{FF2B5EF4-FFF2-40B4-BE49-F238E27FC236}">
                <a16:creationId xmlns:a16="http://schemas.microsoft.com/office/drawing/2014/main" id="{F6C5AA1F-F3DB-F78C-B4AA-50D0CFE99D6D}"/>
              </a:ext>
            </a:extLst>
          </p:cNvPr>
          <p:cNvPicPr>
            <a:picLocks noChangeAspect="1"/>
          </p:cNvPicPr>
          <p:nvPr userDrawn="1"/>
        </p:nvPicPr>
        <p:blipFill>
          <a:blip r:embed="rId4"/>
          <a:stretch>
            <a:fillRect/>
          </a:stretch>
        </p:blipFill>
        <p:spPr>
          <a:xfrm>
            <a:off x="10887286" y="5760105"/>
            <a:ext cx="476453" cy="476453"/>
          </a:xfrm>
          <a:prstGeom prst="rect">
            <a:avLst/>
          </a:prstGeom>
        </p:spPr>
      </p:pic>
      <p:sp>
        <p:nvSpPr>
          <p:cNvPr id="6" name="Title 1">
            <a:extLst>
              <a:ext uri="{FF2B5EF4-FFF2-40B4-BE49-F238E27FC236}">
                <a16:creationId xmlns:a16="http://schemas.microsoft.com/office/drawing/2014/main" id="{3C9B4C8F-129E-B42F-4F02-9B7E1E5D470D}"/>
              </a:ext>
            </a:extLst>
          </p:cNvPr>
          <p:cNvSpPr>
            <a:spLocks noGrp="1"/>
          </p:cNvSpPr>
          <p:nvPr>
            <p:ph type="title" hasCustomPrompt="1"/>
          </p:nvPr>
        </p:nvSpPr>
        <p:spPr>
          <a:xfrm>
            <a:off x="838199" y="365125"/>
            <a:ext cx="10525539" cy="884325"/>
          </a:xfrm>
        </p:spPr>
        <p:txBody>
          <a:bodyPr/>
          <a:lstStyle/>
          <a:p>
            <a:r>
              <a:rPr lang="en-US"/>
              <a:t>CLICK TO EDIT MASTER TITLE STYLE</a:t>
            </a:r>
          </a:p>
        </p:txBody>
      </p:sp>
    </p:spTree>
    <p:extLst>
      <p:ext uri="{BB962C8B-B14F-4D97-AF65-F5344CB8AC3E}">
        <p14:creationId xmlns:p14="http://schemas.microsoft.com/office/powerpoint/2010/main" val="16050420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8" name="Picture Placeholder 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2"/>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3"/>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4"/>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upper left"/>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upper right"/>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bottom left"/>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bottom right"/>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Subtitle">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36789397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left"/>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right"/>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left"/>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right"/>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Subtitle">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54281100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6" name="Subtitle">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pic>
        <p:nvPicPr>
          <p:cNvPr id="4" name="Picture Placeholder 4">
            <a:extLst>
              <a:ext uri="{FF2B5EF4-FFF2-40B4-BE49-F238E27FC236}">
                <a16:creationId xmlns:a16="http://schemas.microsoft.com/office/drawing/2014/main" id="{097EE739-21A0-48AB-BA1F-43BB5C9F0B2E}"/>
              </a:ext>
            </a:extLst>
          </p:cNvPr>
          <p:cNvPicPr>
            <a:picLocks noChangeAspect="1"/>
          </p:cNvPicPr>
          <p:nvPr userDrawn="1"/>
        </p:nvPicPr>
        <p:blipFill>
          <a:blip r:embed="rId2"/>
          <a:srcRect l="3556" r="3556"/>
          <a:stretch>
            <a:fillRect/>
          </a:stretch>
        </p:blipFill>
        <p:spPr>
          <a:xfrm>
            <a:off x="10206338" y="157488"/>
            <a:ext cx="1858144" cy="1045206"/>
          </a:xfrm>
          <a:prstGeom prst="rect">
            <a:avLst/>
          </a:prstGeom>
        </p:spPr>
      </p:pic>
      <p:sp>
        <p:nvSpPr>
          <p:cNvPr id="9" name="Copyright">
            <a:extLst>
              <a:ext uri="{FF2B5EF4-FFF2-40B4-BE49-F238E27FC236}">
                <a16:creationId xmlns:a16="http://schemas.microsoft.com/office/drawing/2014/main" id="{F5306701-DF7F-4623-95CB-5B62F79A67D1}"/>
              </a:ext>
            </a:extLst>
          </p:cNvPr>
          <p:cNvSpPr txBox="1"/>
          <p:nvPr userDrawn="1"/>
        </p:nvSpPr>
        <p:spPr>
          <a:xfrm>
            <a:off x="457200" y="651506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fr-FR" sz="675" noProof="0">
                <a:solidFill>
                  <a:schemeClr val="tx1"/>
                </a:solidFill>
                <a:latin typeface="Calibri" panose="020F0502020204030204" pitchFamily="34" charset="0"/>
                <a:cs typeface="Calibri" panose="020F0502020204030204" pitchFamily="34" charset="0"/>
              </a:rPr>
              <a:t>© Deloitte 2025</a:t>
            </a:r>
            <a:endParaRPr lang="en-US" sz="675"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3889036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8081924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itle ( as Text PH)">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Subtitle ( as Text PH)">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57945621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14" name="Content Placeholder"/>
          <p:cNvSpPr>
            <a:spLocks noGrp="1"/>
          </p:cNvSpPr>
          <p:nvPr>
            <p:ph idx="1"/>
          </p:nvPr>
        </p:nvSpPr>
        <p:spPr>
          <a:xfrm>
            <a:off x="461823" y="1714500"/>
            <a:ext cx="11277600" cy="464820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Subtitle">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04111943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0" name="Text middle">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center">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right">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ubtitle">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44441897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left">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center right">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center left">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right">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2562435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 column icon green">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left">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center right">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center left">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right">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aseCode">
            <a:extLst>
              <a:ext uri="{FF2B5EF4-FFF2-40B4-BE49-F238E27FC236}">
                <a16:creationId xmlns:a16="http://schemas.microsoft.com/office/drawing/2014/main" id="{80722BCF-EAC6-4563-95CB-8DBE842E9D04}"/>
              </a:ext>
            </a:extLst>
          </p:cNvPr>
          <p:cNvSpPr txBox="1"/>
          <p:nvPr>
            <p:custDataLst>
              <p:tags r:id="rId1"/>
            </p:custDataLst>
          </p:nvPr>
        </p:nvSpPr>
        <p:spPr>
          <a:xfrm>
            <a:off x="6335184" y="6519673"/>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Presentation title</a:t>
            </a:r>
            <a:br>
              <a:rPr lang="en-US" sz="900" baseline="0" noProof="0">
                <a:solidFill>
                  <a:schemeClr val="bg1"/>
                </a:solidFill>
                <a:latin typeface="Calibri" panose="020F0502020204030204" pitchFamily="34" charset="0"/>
                <a:cs typeface="Calibri" panose="020F0502020204030204" pitchFamily="34" charset="0"/>
              </a:rPr>
            </a:br>
            <a:r>
              <a:rPr lang="en-US"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7" name="Copyright">
            <a:extLst>
              <a:ext uri="{FF2B5EF4-FFF2-40B4-BE49-F238E27FC236}">
                <a16:creationId xmlns:a16="http://schemas.microsoft.com/office/drawing/2014/main" id="{C900FBF6-54F6-4B67-A1F3-CFB545048C2A}"/>
              </a:ext>
            </a:extLst>
          </p:cNvPr>
          <p:cNvSpPr txBox="1"/>
          <p:nvPr>
            <p:custDataLst>
              <p:tags r:id="rId2"/>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aseline="0" noProof="0">
                <a:solidFill>
                  <a:schemeClr val="bg1"/>
                </a:solidFill>
                <a:latin typeface="Calibri" panose="020F0502020204030204" pitchFamily="34" charset="0"/>
                <a:cs typeface="Calibri" panose="020F0502020204030204" pitchFamily="34" charset="0"/>
              </a:rPr>
              <a:t>Deloitte 2022</a:t>
            </a:r>
          </a:p>
        </p:txBody>
      </p:sp>
      <p:sp>
        <p:nvSpPr>
          <p:cNvPr id="22" name="TextBox 21">
            <a:extLst>
              <a:ext uri="{FF2B5EF4-FFF2-40B4-BE49-F238E27FC236}">
                <a16:creationId xmlns:a16="http://schemas.microsoft.com/office/drawing/2014/main" id="{168D3198-C277-4239-A0FE-263D3F9A09AF}"/>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baseline="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2862466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top left">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top right">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bottom left">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bottom right">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Subtitle">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03594685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4_Title and Content">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733AB80-8B4A-51A1-F69C-1A2EA07E76E9}"/>
              </a:ext>
            </a:extLst>
          </p:cNvPr>
          <p:cNvPicPr>
            <a:picLocks noChangeAspect="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 y="0"/>
            <a:ext cx="12192000" cy="6858000"/>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a:xfrm>
            <a:off x="838199" y="775252"/>
            <a:ext cx="10515599" cy="487492"/>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1408767"/>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480779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6" name="Text left"/>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bottom right"/>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sp>
        <p:nvSpPr>
          <p:cNvPr id="17" name="MIO_AGENDA_LAST_SLIDE" hidden="1">
            <a:extLst>
              <a:ext uri="{FF2B5EF4-FFF2-40B4-BE49-F238E27FC236}">
                <a16:creationId xmlns:a16="http://schemas.microsoft.com/office/drawing/2014/main" id="{249491D1-41CC-455A-8F05-5CEA24B33A18}"/>
              </a:ext>
            </a:extLst>
          </p:cNvPr>
          <p:cNvSpPr/>
          <p:nvPr/>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18" name="MIO_AGENDA_IGNORE_NAVIGATION" hidden="1">
            <a:extLst>
              <a:ext uri="{FF2B5EF4-FFF2-40B4-BE49-F238E27FC236}">
                <a16:creationId xmlns:a16="http://schemas.microsoft.com/office/drawing/2014/main" id="{9518ECE1-C45A-4DB9-B0F0-E67A14C77DA2}"/>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19" name="MIO_AGENDA_IGNORE_CHAPTER_REFERENCE" hidden="1">
            <a:extLst>
              <a:ext uri="{FF2B5EF4-FFF2-40B4-BE49-F238E27FC236}">
                <a16:creationId xmlns:a16="http://schemas.microsoft.com/office/drawing/2014/main" id="{642E351A-DEBD-43E5-AD67-7FEDF79D24F3}"/>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pic>
        <p:nvPicPr>
          <p:cNvPr id="31" name="Grafik 30">
            <a:extLst>
              <a:ext uri="{FF2B5EF4-FFF2-40B4-BE49-F238E27FC236}">
                <a16:creationId xmlns:a16="http://schemas.microsoft.com/office/drawing/2014/main" id="{D109A4F2-59E7-4F3B-A1C3-E78CBC0CDAEE}"/>
              </a:ext>
            </a:extLst>
          </p:cNvPr>
          <p:cNvPicPr>
            <a:picLocks noChangeAspect="1"/>
          </p:cNvPicPr>
          <p:nvPr/>
        </p:nvPicPr>
        <p:blipFill>
          <a:blip r:embed="rId2"/>
          <a:stretch>
            <a:fillRect/>
          </a:stretch>
        </p:blipFill>
        <p:spPr>
          <a:xfrm>
            <a:off x="458636" y="342232"/>
            <a:ext cx="1818000" cy="339914"/>
          </a:xfrm>
          <a:prstGeom prst="rect">
            <a:avLst/>
          </a:prstGeom>
        </p:spPr>
      </p:pic>
    </p:spTree>
    <p:extLst>
      <p:ext uri="{BB962C8B-B14F-4D97-AF65-F5344CB8AC3E}">
        <p14:creationId xmlns:p14="http://schemas.microsoft.com/office/powerpoint/2010/main" val="40625179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End slide Black">
    <p:spTree>
      <p:nvGrpSpPr>
        <p:cNvPr id="1" name=""/>
        <p:cNvGrpSpPr/>
        <p:nvPr/>
      </p:nvGrpSpPr>
      <p:grpSpPr>
        <a:xfrm>
          <a:off x="0" y="0"/>
          <a:ext cx="0" cy="0"/>
          <a:chOff x="0" y="0"/>
          <a:chExt cx="0" cy="0"/>
        </a:xfrm>
      </p:grpSpPr>
      <p:sp>
        <p:nvSpPr>
          <p:cNvPr id="6" name="Text left"/>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bottom right"/>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sp>
        <p:nvSpPr>
          <p:cNvPr id="21" name="MIO_AGENDA_LAST_SLIDE" hidden="1">
            <a:extLst>
              <a:ext uri="{FF2B5EF4-FFF2-40B4-BE49-F238E27FC236}">
                <a16:creationId xmlns:a16="http://schemas.microsoft.com/office/drawing/2014/main" id="{4DE01233-0E5B-4D44-9AA0-8C2FAEC3AA99}"/>
              </a:ext>
            </a:extLst>
          </p:cNvPr>
          <p:cNvSpPr/>
          <p:nvPr/>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22" name="MIO_AGENDA_IGNORE_NAVIGATION" hidden="1">
            <a:extLst>
              <a:ext uri="{FF2B5EF4-FFF2-40B4-BE49-F238E27FC236}">
                <a16:creationId xmlns:a16="http://schemas.microsoft.com/office/drawing/2014/main" id="{C544D53A-D969-4D8A-9227-FE63C48016F6}"/>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23" name="MIO_AGENDA_IGNORE_CHAPTER_REFERENCE" hidden="1">
            <a:extLst>
              <a:ext uri="{FF2B5EF4-FFF2-40B4-BE49-F238E27FC236}">
                <a16:creationId xmlns:a16="http://schemas.microsoft.com/office/drawing/2014/main" id="{73E0B1A6-781D-43D1-9647-99C9EAE528B1}"/>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pic>
        <p:nvPicPr>
          <p:cNvPr id="20" name="Grafik 19">
            <a:extLst>
              <a:ext uri="{FF2B5EF4-FFF2-40B4-BE49-F238E27FC236}">
                <a16:creationId xmlns:a16="http://schemas.microsoft.com/office/drawing/2014/main" id="{E4856739-3458-4D94-A382-126C11F895B5}"/>
              </a:ext>
            </a:extLst>
          </p:cNvPr>
          <p:cNvPicPr>
            <a:picLocks noChangeAspect="1"/>
          </p:cNvPicPr>
          <p:nvPr/>
        </p:nvPicPr>
        <p:blipFill>
          <a:blip r:embed="rId2"/>
          <a:stretch>
            <a:fillRect/>
          </a:stretch>
        </p:blipFill>
        <p:spPr>
          <a:xfrm>
            <a:off x="458636" y="342232"/>
            <a:ext cx="1818000" cy="339914"/>
          </a:xfrm>
          <a:prstGeom prst="rect">
            <a:avLst/>
          </a:prstGeom>
        </p:spPr>
      </p:pic>
    </p:spTree>
    <p:extLst>
      <p:ext uri="{BB962C8B-B14F-4D97-AF65-F5344CB8AC3E}">
        <p14:creationId xmlns:p14="http://schemas.microsoft.com/office/powerpoint/2010/main" val="280850801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Only - Black">
    <p:spTree>
      <p:nvGrpSpPr>
        <p:cNvPr id="1" name=""/>
        <p:cNvGrpSpPr/>
        <p:nvPr/>
      </p:nvGrpSpPr>
      <p:grpSpPr>
        <a:xfrm>
          <a:off x="0" y="0"/>
          <a:ext cx="0" cy="0"/>
          <a:chOff x="0" y="0"/>
          <a:chExt cx="0" cy="0"/>
        </a:xfrm>
      </p:grpSpPr>
      <p:sp>
        <p:nvSpPr>
          <p:cNvPr id="7" name="MIO_VALID_LAYOUT" hidden="1">
            <a:extLst>
              <a:ext uri="{FF2B5EF4-FFF2-40B4-BE49-F238E27FC236}">
                <a16:creationId xmlns:a16="http://schemas.microsoft.com/office/drawing/2014/main" id="{83AF7E6C-5496-4190-AE22-49321A84B469}"/>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11" name="MIO_VALID_LAYOUT" hidden="1">
            <a:extLst>
              <a:ext uri="{FF2B5EF4-FFF2-40B4-BE49-F238E27FC236}">
                <a16:creationId xmlns:a16="http://schemas.microsoft.com/office/drawing/2014/main" id="{636C7600-5E54-4871-BD57-39F7D85C9645}"/>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2" name="Title">
            <a:extLst>
              <a:ext uri="{FF2B5EF4-FFF2-40B4-BE49-F238E27FC236}">
                <a16:creationId xmlns:a16="http://schemas.microsoft.com/office/drawing/2014/main" id="{7A5342FA-67EE-4ADC-9C59-3703A4E3061F}"/>
              </a:ext>
            </a:extLst>
          </p:cNvPr>
          <p:cNvSpPr>
            <a:spLocks noGrp="1"/>
          </p:cNvSpPr>
          <p:nvPr>
            <p:ph type="title"/>
          </p:nvPr>
        </p:nvSpPr>
        <p:spPr/>
        <p:txBody>
          <a:bodyPr/>
          <a:lstStyle>
            <a:lvl1pPr>
              <a:defRPr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5109543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subtitle - Black">
    <p:spTree>
      <p:nvGrpSpPr>
        <p:cNvPr id="1" name=""/>
        <p:cNvGrpSpPr/>
        <p:nvPr/>
      </p:nvGrpSpPr>
      <p:grpSpPr>
        <a:xfrm>
          <a:off x="0" y="0"/>
          <a:ext cx="0" cy="0"/>
          <a:chOff x="0" y="0"/>
          <a:chExt cx="0" cy="0"/>
        </a:xfrm>
      </p:grpSpPr>
      <p:sp>
        <p:nvSpPr>
          <p:cNvPr id="10" name="Subtitle"/>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5" name="MIO_VALID_LAYOUT" hidden="1">
            <a:extLst>
              <a:ext uri="{FF2B5EF4-FFF2-40B4-BE49-F238E27FC236}">
                <a16:creationId xmlns:a16="http://schemas.microsoft.com/office/drawing/2014/main" id="{EDA56DE6-A1BA-458D-8E96-17188D541BFA}"/>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2" name="Title">
            <a:extLst>
              <a:ext uri="{FF2B5EF4-FFF2-40B4-BE49-F238E27FC236}">
                <a16:creationId xmlns:a16="http://schemas.microsoft.com/office/drawing/2014/main" id="{012A54FD-069B-4D28-8BAD-8C8AADEED9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04771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Title, subtitle, 1 column text with charts">
    <p:spTree>
      <p:nvGrpSpPr>
        <p:cNvPr id="1" name=""/>
        <p:cNvGrpSpPr/>
        <p:nvPr/>
      </p:nvGrpSpPr>
      <p:grpSpPr>
        <a:xfrm>
          <a:off x="0" y="0"/>
          <a:ext cx="0" cy="0"/>
          <a:chOff x="0" y="0"/>
          <a:chExt cx="0" cy="0"/>
        </a:xfrm>
      </p:grpSpPr>
      <p:sp>
        <p:nvSpPr>
          <p:cNvPr id="8" name="Subtitle"/>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0" name="Content"/>
          <p:cNvSpPr>
            <a:spLocks noGrp="1"/>
          </p:cNvSpPr>
          <p:nvPr>
            <p:ph idx="1"/>
          </p:nvPr>
        </p:nvSpPr>
        <p:spPr>
          <a:xfrm>
            <a:off x="460887" y="1714500"/>
            <a:ext cx="11277598" cy="4648199"/>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MIO_VALID_LAYOUT" hidden="1">
            <a:extLst>
              <a:ext uri="{FF2B5EF4-FFF2-40B4-BE49-F238E27FC236}">
                <a16:creationId xmlns:a16="http://schemas.microsoft.com/office/drawing/2014/main" id="{C4C53B51-12E9-46AC-A69D-84DDBEA6B078}"/>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2" name="Title">
            <a:extLst>
              <a:ext uri="{FF2B5EF4-FFF2-40B4-BE49-F238E27FC236}">
                <a16:creationId xmlns:a16="http://schemas.microsoft.com/office/drawing/2014/main" id="{1EC1E235-3062-4F03-8411-7E415A89448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7416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_Title, subtitle &amp; chart">
    <p:spTree>
      <p:nvGrpSpPr>
        <p:cNvPr id="1" name=""/>
        <p:cNvGrpSpPr/>
        <p:nvPr/>
      </p:nvGrpSpPr>
      <p:grpSpPr>
        <a:xfrm>
          <a:off x="0" y="0"/>
          <a:ext cx="0" cy="0"/>
          <a:chOff x="0" y="0"/>
          <a:chExt cx="0" cy="0"/>
        </a:xfrm>
      </p:grpSpPr>
      <p:sp>
        <p:nvSpPr>
          <p:cNvPr id="15" name="Subtitle"/>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7" name="Chart Placeholder 3"/>
          <p:cNvSpPr>
            <a:spLocks noGrp="1"/>
          </p:cNvSpPr>
          <p:nvPr>
            <p:ph type="chart" sz="quarter" idx="15"/>
          </p:nvPr>
        </p:nvSpPr>
        <p:spPr>
          <a:xfrm>
            <a:off x="464509" y="2080551"/>
            <a:ext cx="11281285" cy="4040463"/>
          </a:xfrm>
          <a:prstGeom prst="rect">
            <a:avLst/>
          </a:prstGeom>
        </p:spPr>
        <p:txBody>
          <a:bodyPr/>
          <a:lstStyle/>
          <a:p>
            <a:r>
              <a:rPr lang="en-US"/>
              <a:t>Click icon to add chart</a:t>
            </a:r>
            <a:endParaRPr lang="en-GB"/>
          </a:p>
        </p:txBody>
      </p:sp>
      <p:sp>
        <p:nvSpPr>
          <p:cNvPr id="18" name="Headline / Chart title"/>
          <p:cNvSpPr>
            <a:spLocks noGrp="1"/>
          </p:cNvSpPr>
          <p:nvPr>
            <p:ph type="body" sz="quarter" idx="18"/>
          </p:nvPr>
        </p:nvSpPr>
        <p:spPr>
          <a:xfrm>
            <a:off x="457200" y="1723364"/>
            <a:ext cx="11288595" cy="357187"/>
          </a:xfrm>
        </p:spPr>
        <p:txBody>
          <a:bodyPr/>
          <a:lstStyle/>
          <a:p>
            <a:pPr lvl="0"/>
            <a:r>
              <a:rPr lang="en-US"/>
              <a:t>Click to edit Master text styles</a:t>
            </a:r>
          </a:p>
        </p:txBody>
      </p:sp>
      <p:sp>
        <p:nvSpPr>
          <p:cNvPr id="19" name="Text bottom"/>
          <p:cNvSpPr>
            <a:spLocks noGrp="1"/>
          </p:cNvSpPr>
          <p:nvPr>
            <p:ph type="body" sz="quarter" idx="23"/>
          </p:nvPr>
        </p:nvSpPr>
        <p:spPr>
          <a:xfrm>
            <a:off x="463297" y="6121016"/>
            <a:ext cx="11273879" cy="241685"/>
          </a:xfrm>
        </p:spPr>
        <p:txBody>
          <a:bodyPr>
            <a:normAutofit/>
          </a:bodyPr>
          <a:lstStyle>
            <a:lvl1pPr>
              <a:spcAft>
                <a:spcPts val="0"/>
              </a:spcAft>
              <a:defRPr sz="900"/>
            </a:lvl1pPr>
          </a:lstStyle>
          <a:p>
            <a:pPr lvl="0"/>
            <a:r>
              <a:rPr lang="en-US"/>
              <a:t>Click to edit Master text styles</a:t>
            </a:r>
          </a:p>
        </p:txBody>
      </p:sp>
      <p:sp>
        <p:nvSpPr>
          <p:cNvPr id="8" name="MIO_VALID_LAYOUT" hidden="1">
            <a:extLst>
              <a:ext uri="{FF2B5EF4-FFF2-40B4-BE49-F238E27FC236}">
                <a16:creationId xmlns:a16="http://schemas.microsoft.com/office/drawing/2014/main" id="{B9C5E24D-2264-4B37-BBC9-253349E5F4FF}"/>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2" name="Title">
            <a:extLst>
              <a:ext uri="{FF2B5EF4-FFF2-40B4-BE49-F238E27FC236}">
                <a16:creationId xmlns:a16="http://schemas.microsoft.com/office/drawing/2014/main" id="{CA599738-D568-49F1-87EE-956C570FD9F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8064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2 char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3" name="Chart Placeholder 2"/>
          <p:cNvSpPr>
            <a:spLocks noGrp="1"/>
          </p:cNvSpPr>
          <p:nvPr>
            <p:ph type="chart" sz="quarter" idx="21"/>
          </p:nvPr>
        </p:nvSpPr>
        <p:spPr>
          <a:xfrm>
            <a:off x="6357038" y="2136645"/>
            <a:ext cx="5381445" cy="3971013"/>
          </a:xfrm>
        </p:spPr>
        <p:txBody>
          <a:bodyPr/>
          <a:lstStyle/>
          <a:p>
            <a:r>
              <a:rPr lang="en-US"/>
              <a:t>Click icon to add chart</a:t>
            </a:r>
            <a:endParaRPr lang="en-GB"/>
          </a:p>
        </p:txBody>
      </p:sp>
      <p:sp>
        <p:nvSpPr>
          <p:cNvPr id="6" name="Text Placeholder 5"/>
          <p:cNvSpPr>
            <a:spLocks noGrp="1"/>
          </p:cNvSpPr>
          <p:nvPr>
            <p:ph type="body" sz="quarter" idx="22"/>
          </p:nvPr>
        </p:nvSpPr>
        <p:spPr>
          <a:xfrm>
            <a:off x="6357041" y="1714500"/>
            <a:ext cx="5381443" cy="383350"/>
          </a:xfrm>
        </p:spPr>
        <p:txBody>
          <a:bodyPr/>
          <a:lstStyle/>
          <a:p>
            <a:pPr lvl="0"/>
            <a:r>
              <a:rPr lang="en-US"/>
              <a:t>Click to edit Master text styles</a:t>
            </a:r>
          </a:p>
        </p:txBody>
      </p:sp>
      <p:sp>
        <p:nvSpPr>
          <p:cNvPr id="15" name="Text Placeholder 7"/>
          <p:cNvSpPr>
            <a:spLocks noGrp="1"/>
          </p:cNvSpPr>
          <p:nvPr>
            <p:ph type="body" sz="quarter" idx="23"/>
          </p:nvPr>
        </p:nvSpPr>
        <p:spPr>
          <a:xfrm>
            <a:off x="463297" y="6121016"/>
            <a:ext cx="11273879" cy="241685"/>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887" y="2136645"/>
            <a:ext cx="5372330" cy="3971013"/>
          </a:xfrm>
        </p:spPr>
        <p:txBody>
          <a:bodyPr/>
          <a:lstStyle/>
          <a:p>
            <a:r>
              <a:rPr lang="en-US"/>
              <a:t>Click icon to add chart</a:t>
            </a:r>
            <a:endParaRPr lang="en-GB"/>
          </a:p>
        </p:txBody>
      </p:sp>
      <p:sp>
        <p:nvSpPr>
          <p:cNvPr id="12" name="Text Placeholder 5"/>
          <p:cNvSpPr>
            <a:spLocks noGrp="1"/>
          </p:cNvSpPr>
          <p:nvPr>
            <p:ph type="body" sz="quarter" idx="25"/>
          </p:nvPr>
        </p:nvSpPr>
        <p:spPr>
          <a:xfrm>
            <a:off x="460887" y="1714500"/>
            <a:ext cx="5374803" cy="383350"/>
          </a:xfrm>
        </p:spPr>
        <p:txBody>
          <a:bodyPr/>
          <a:lstStyle/>
          <a:p>
            <a:pPr lvl="0"/>
            <a:r>
              <a:rPr lang="en-US"/>
              <a:t>Click to edit Master text styles</a:t>
            </a:r>
          </a:p>
        </p:txBody>
      </p:sp>
      <p:sp>
        <p:nvSpPr>
          <p:cNvPr id="13" name="MIO_VALID_LAYOUT" hidden="1">
            <a:extLst>
              <a:ext uri="{FF2B5EF4-FFF2-40B4-BE49-F238E27FC236}">
                <a16:creationId xmlns:a16="http://schemas.microsoft.com/office/drawing/2014/main" id="{C2140F0C-FA1D-42CA-9599-41C4E3B59FD5}"/>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5" name="Title 4">
            <a:extLst>
              <a:ext uri="{FF2B5EF4-FFF2-40B4-BE49-F238E27FC236}">
                <a16:creationId xmlns:a16="http://schemas.microsoft.com/office/drawing/2014/main" id="{CDC52FF8-2BD1-46C1-8105-1A586215419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5946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3 chart - Black">
    <p:spTree>
      <p:nvGrpSpPr>
        <p:cNvPr id="1" name=""/>
        <p:cNvGrpSpPr/>
        <p:nvPr/>
      </p:nvGrpSpPr>
      <p:grpSpPr>
        <a:xfrm>
          <a:off x="0" y="0"/>
          <a:ext cx="0" cy="0"/>
          <a:chOff x="0" y="0"/>
          <a:chExt cx="0" cy="0"/>
        </a:xfrm>
      </p:grpSpPr>
      <p:sp>
        <p:nvSpPr>
          <p:cNvPr id="15" name="Subtitle"/>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7" name="Chart Placeholder 3"/>
          <p:cNvSpPr>
            <a:spLocks noGrp="1"/>
          </p:cNvSpPr>
          <p:nvPr>
            <p:ph type="chart" sz="quarter" idx="15"/>
          </p:nvPr>
        </p:nvSpPr>
        <p:spPr>
          <a:xfrm>
            <a:off x="460887" y="2064085"/>
            <a:ext cx="3552881" cy="4043571"/>
          </a:xfrm>
          <a:prstGeom prst="rect">
            <a:avLst/>
          </a:prstGeom>
        </p:spPr>
        <p:txBody>
          <a:bodyPr/>
          <a:lstStyle/>
          <a:p>
            <a:r>
              <a:rPr lang="en-US"/>
              <a:t>Click icon to add chart</a:t>
            </a:r>
            <a:endParaRPr lang="en-GB"/>
          </a:p>
        </p:txBody>
      </p:sp>
      <p:sp>
        <p:nvSpPr>
          <p:cNvPr id="18" name="Headline left / Chart title"/>
          <p:cNvSpPr>
            <a:spLocks noGrp="1"/>
          </p:cNvSpPr>
          <p:nvPr>
            <p:ph type="body" sz="quarter" idx="18"/>
          </p:nvPr>
        </p:nvSpPr>
        <p:spPr>
          <a:xfrm>
            <a:off x="460887" y="1714500"/>
            <a:ext cx="3552313" cy="354954"/>
          </a:xfrm>
        </p:spPr>
        <p:txBody>
          <a:bodyPr/>
          <a:lstStyle/>
          <a:p>
            <a:pPr lvl="0"/>
            <a:r>
              <a:rPr lang="en-US"/>
              <a:t>Click to edit Master text styles</a:t>
            </a:r>
          </a:p>
        </p:txBody>
      </p:sp>
      <p:sp>
        <p:nvSpPr>
          <p:cNvPr id="7" name="Chart Placeholder 3"/>
          <p:cNvSpPr>
            <a:spLocks noGrp="1"/>
          </p:cNvSpPr>
          <p:nvPr>
            <p:ph type="chart" sz="quarter" idx="19"/>
          </p:nvPr>
        </p:nvSpPr>
        <p:spPr>
          <a:xfrm>
            <a:off x="4317849" y="2064085"/>
            <a:ext cx="3567833" cy="4043571"/>
          </a:xfrm>
          <a:prstGeom prst="rect">
            <a:avLst/>
          </a:prstGeom>
        </p:spPr>
        <p:txBody>
          <a:bodyPr/>
          <a:lstStyle/>
          <a:p>
            <a:r>
              <a:rPr lang="en-US"/>
              <a:t>Click icon to add chart</a:t>
            </a:r>
            <a:endParaRPr lang="en-GB"/>
          </a:p>
        </p:txBody>
      </p:sp>
      <p:sp>
        <p:nvSpPr>
          <p:cNvPr id="8" name="Headline center / Chart title"/>
          <p:cNvSpPr>
            <a:spLocks noGrp="1"/>
          </p:cNvSpPr>
          <p:nvPr>
            <p:ph type="body" sz="quarter" idx="20"/>
          </p:nvPr>
        </p:nvSpPr>
        <p:spPr>
          <a:xfrm>
            <a:off x="4317847" y="1714500"/>
            <a:ext cx="3567833" cy="354954"/>
          </a:xfrm>
        </p:spPr>
        <p:txBody>
          <a:bodyPr/>
          <a:lstStyle/>
          <a:p>
            <a:pPr lvl="0"/>
            <a:r>
              <a:rPr lang="en-US"/>
              <a:t>Click to edit Master text styles</a:t>
            </a:r>
          </a:p>
        </p:txBody>
      </p:sp>
      <p:sp>
        <p:nvSpPr>
          <p:cNvPr id="9" name="Chart Placeholder 3"/>
          <p:cNvSpPr>
            <a:spLocks noGrp="1"/>
          </p:cNvSpPr>
          <p:nvPr>
            <p:ph type="chart" sz="quarter" idx="21"/>
          </p:nvPr>
        </p:nvSpPr>
        <p:spPr>
          <a:xfrm>
            <a:off x="8167555" y="2064085"/>
            <a:ext cx="3552886" cy="4043571"/>
          </a:xfrm>
          <a:prstGeom prst="rect">
            <a:avLst/>
          </a:prstGeom>
        </p:spPr>
        <p:txBody>
          <a:bodyPr/>
          <a:lstStyle/>
          <a:p>
            <a:r>
              <a:rPr lang="en-US"/>
              <a:t>Click icon to add chart</a:t>
            </a:r>
            <a:endParaRPr lang="en-GB"/>
          </a:p>
        </p:txBody>
      </p:sp>
      <p:sp>
        <p:nvSpPr>
          <p:cNvPr id="10" name="Headline right / Chart title"/>
          <p:cNvSpPr>
            <a:spLocks noGrp="1"/>
          </p:cNvSpPr>
          <p:nvPr>
            <p:ph type="body" sz="quarter" idx="22"/>
          </p:nvPr>
        </p:nvSpPr>
        <p:spPr>
          <a:xfrm>
            <a:off x="8167555" y="1714500"/>
            <a:ext cx="3552886" cy="354954"/>
          </a:xfrm>
        </p:spPr>
        <p:txBody>
          <a:bodyPr/>
          <a:lstStyle/>
          <a:p>
            <a:pPr lvl="0"/>
            <a:r>
              <a:rPr lang="en-US"/>
              <a:t>Click to edit Master text styles</a:t>
            </a:r>
          </a:p>
        </p:txBody>
      </p:sp>
      <p:sp>
        <p:nvSpPr>
          <p:cNvPr id="12" name="Text bottom"/>
          <p:cNvSpPr>
            <a:spLocks noGrp="1"/>
          </p:cNvSpPr>
          <p:nvPr>
            <p:ph type="body" sz="quarter" idx="23"/>
          </p:nvPr>
        </p:nvSpPr>
        <p:spPr>
          <a:xfrm>
            <a:off x="463297" y="6121016"/>
            <a:ext cx="11273879" cy="241685"/>
          </a:xfrm>
        </p:spPr>
        <p:txBody>
          <a:bodyPr>
            <a:normAutofit/>
          </a:bodyPr>
          <a:lstStyle>
            <a:lvl1pPr>
              <a:spcAft>
                <a:spcPts val="0"/>
              </a:spcAft>
              <a:defRPr sz="900"/>
            </a:lvl1pPr>
          </a:lstStyle>
          <a:p>
            <a:pPr lvl="0"/>
            <a:r>
              <a:rPr lang="en-US"/>
              <a:t>Click to edit Master text styles</a:t>
            </a:r>
          </a:p>
        </p:txBody>
      </p:sp>
      <p:sp>
        <p:nvSpPr>
          <p:cNvPr id="13" name="MIO_VALID_LAYOUT" hidden="1">
            <a:extLst>
              <a:ext uri="{FF2B5EF4-FFF2-40B4-BE49-F238E27FC236}">
                <a16:creationId xmlns:a16="http://schemas.microsoft.com/office/drawing/2014/main" id="{8DE0E4EB-2CC6-4FB2-8DAE-A99F30E30E6D}"/>
              </a:ext>
            </a:extLst>
          </p:cNvPr>
          <p:cNvSpPr/>
          <p:nvPr/>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a:solidFill>
                <a:schemeClr val="tx1"/>
              </a:solidFill>
            </a:endParaRPr>
          </a:p>
        </p:txBody>
      </p:sp>
      <p:sp>
        <p:nvSpPr>
          <p:cNvPr id="2" name="Title">
            <a:extLst>
              <a:ext uri="{FF2B5EF4-FFF2-40B4-BE49-F238E27FC236}">
                <a16:creationId xmlns:a16="http://schemas.microsoft.com/office/drawing/2014/main" id="{CAB8D8EA-18D3-4433-A2E1-2A9E61E55C8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8424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1_Title, subtitle - Blac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3895675-383F-723A-1D40-76EEC8A650A2}"/>
              </a:ext>
            </a:extLst>
          </p:cNvPr>
          <p:cNvPicPr>
            <a:picLocks noChangeAspect="1"/>
          </p:cNvPicPr>
          <p:nvPr userDrawn="1"/>
        </p:nvPicPr>
        <p:blipFill>
          <a:blip r:embed="rId2"/>
          <a:stretch>
            <a:fillRect/>
          </a:stretch>
        </p:blipFill>
        <p:spPr>
          <a:xfrm>
            <a:off x="0" y="8389"/>
            <a:ext cx="12192000" cy="6858000"/>
          </a:xfrm>
          <a:prstGeom prst="rect">
            <a:avLst/>
          </a:prstGeom>
        </p:spPr>
      </p:pic>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7200" y="684000"/>
            <a:ext cx="11274552" cy="757255"/>
          </a:xfrm>
          <a:prstGeom prst="rect">
            <a:avLst/>
          </a:prstGeom>
        </p:spPr>
        <p:txBody>
          <a:bodyPr lIns="0" tIns="0" rIns="0" bIns="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7200" y="345992"/>
            <a:ext cx="11274552"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
        <p:nvSpPr>
          <p:cNvPr id="6" name="TextBox 5">
            <a:extLst>
              <a:ext uri="{FF2B5EF4-FFF2-40B4-BE49-F238E27FC236}">
                <a16:creationId xmlns:a16="http://schemas.microsoft.com/office/drawing/2014/main" id="{4DC768E0-3DB6-6F39-7B51-A70FAF17F1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8" name="Copyright">
            <a:extLst>
              <a:ext uri="{FF2B5EF4-FFF2-40B4-BE49-F238E27FC236}">
                <a16:creationId xmlns:a16="http://schemas.microsoft.com/office/drawing/2014/main" id="{72921667-C13E-653C-D07E-BB15972D94F9}"/>
              </a:ext>
            </a:extLst>
          </p:cNvPr>
          <p:cNvSpPr txBox="1"/>
          <p:nvPr userDrawn="1"/>
        </p:nvSpPr>
        <p:spPr>
          <a:xfrm>
            <a:off x="457200" y="6519672"/>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Deloitte Consulting: AI@SAP Center of Excellence</a:t>
            </a:r>
          </a:p>
        </p:txBody>
      </p:sp>
    </p:spTree>
    <p:extLst>
      <p:ext uri="{BB962C8B-B14F-4D97-AF65-F5344CB8AC3E}">
        <p14:creationId xmlns:p14="http://schemas.microsoft.com/office/powerpoint/2010/main" val="3555433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943E591-0879-BBAA-15C2-7E721429C5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a:xfrm>
            <a:off x="838199" y="775252"/>
            <a:ext cx="10515599" cy="487492"/>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1408767"/>
            <a:ext cx="10515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998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360B917-FCDD-A198-BE3A-210F4989E408}"/>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rot="5400000">
            <a:off x="3401025" y="-1932972"/>
            <a:ext cx="5389947" cy="12192002"/>
          </a:xfrm>
          <a:prstGeom prst="rect">
            <a:avLst/>
          </a:prstGeom>
        </p:spPr>
      </p:pic>
      <p:pic>
        <p:nvPicPr>
          <p:cNvPr id="15" name="Picture 14">
            <a:extLst>
              <a:ext uri="{FF2B5EF4-FFF2-40B4-BE49-F238E27FC236}">
                <a16:creationId xmlns:a16="http://schemas.microsoft.com/office/drawing/2014/main" id="{C9AD46B9-8BC1-34C5-DE8F-AF917880C83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3099"/>
          <a:stretch/>
        </p:blipFill>
        <p:spPr>
          <a:xfrm>
            <a:off x="5363737" y="0"/>
            <a:ext cx="6828263" cy="1645083"/>
          </a:xfrm>
          <a:prstGeom prst="rect">
            <a:avLst/>
          </a:prstGeom>
        </p:spPr>
      </p:pic>
      <p:pic>
        <p:nvPicPr>
          <p:cNvPr id="14" name="Picture 13">
            <a:extLst>
              <a:ext uri="{FF2B5EF4-FFF2-40B4-BE49-F238E27FC236}">
                <a16:creationId xmlns:a16="http://schemas.microsoft.com/office/drawing/2014/main" id="{52CE9ACB-725B-7897-4084-C57A15B47F9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14120"/>
          <a:stretch/>
        </p:blipFill>
        <p:spPr>
          <a:xfrm>
            <a:off x="-1272" y="5212556"/>
            <a:ext cx="6680851" cy="1645083"/>
          </a:xfrm>
          <a:prstGeom prst="rect">
            <a:avLst/>
          </a:prstGeom>
        </p:spPr>
      </p:pic>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2017210"/>
            <a:ext cx="10515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66725441-B8CD-562F-0C1D-3B7D7053B55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39780"/>
          <a:stretch/>
        </p:blipFill>
        <p:spPr>
          <a:xfrm>
            <a:off x="9791601" y="-2494"/>
            <a:ext cx="1298044" cy="1104121"/>
          </a:xfrm>
          <a:prstGeom prst="rect">
            <a:avLst/>
          </a:prstGeom>
        </p:spPr>
      </p:pic>
      <p:pic>
        <p:nvPicPr>
          <p:cNvPr id="16" name="Picture 15">
            <a:extLst>
              <a:ext uri="{FF2B5EF4-FFF2-40B4-BE49-F238E27FC236}">
                <a16:creationId xmlns:a16="http://schemas.microsoft.com/office/drawing/2014/main" id="{FF95FF06-1D7B-CECF-1C8A-08CC0A8B7F0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63508"/>
          <a:stretch/>
        </p:blipFill>
        <p:spPr>
          <a:xfrm>
            <a:off x="4488771" y="6188566"/>
            <a:ext cx="1298045" cy="669073"/>
          </a:xfrm>
          <a:prstGeom prst="rect">
            <a:avLst/>
          </a:prstGeom>
        </p:spPr>
      </p:pic>
      <p:pic>
        <p:nvPicPr>
          <p:cNvPr id="4" name="Picture 3">
            <a:extLst>
              <a:ext uri="{FF2B5EF4-FFF2-40B4-BE49-F238E27FC236}">
                <a16:creationId xmlns:a16="http://schemas.microsoft.com/office/drawing/2014/main" id="{EAC38113-A4D7-1305-868D-0B0621A2DEC8}"/>
              </a:ext>
            </a:extLst>
          </p:cNvPr>
          <p:cNvPicPr>
            <a:picLocks noChangeAspect="1"/>
          </p:cNvPicPr>
          <p:nvPr userDrawn="1"/>
        </p:nvPicPr>
        <p:blipFill>
          <a:blip r:embed="rId6"/>
          <a:stretch>
            <a:fillRect/>
          </a:stretch>
        </p:blipFill>
        <p:spPr>
          <a:xfrm>
            <a:off x="7190050" y="400148"/>
            <a:ext cx="563100" cy="563100"/>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10268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360B917-FCDD-A198-BE3A-210F4989E408}"/>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rot="5400000">
            <a:off x="3401025" y="-1932972"/>
            <a:ext cx="5389947" cy="12192002"/>
          </a:xfrm>
          <a:prstGeom prst="rect">
            <a:avLst/>
          </a:prstGeom>
        </p:spPr>
      </p:pic>
      <p:pic>
        <p:nvPicPr>
          <p:cNvPr id="15" name="Picture 14">
            <a:extLst>
              <a:ext uri="{FF2B5EF4-FFF2-40B4-BE49-F238E27FC236}">
                <a16:creationId xmlns:a16="http://schemas.microsoft.com/office/drawing/2014/main" id="{C9AD46B9-8BC1-34C5-DE8F-AF917880C83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3099"/>
          <a:stretch/>
        </p:blipFill>
        <p:spPr>
          <a:xfrm>
            <a:off x="5363737" y="0"/>
            <a:ext cx="6828263" cy="1645083"/>
          </a:xfrm>
          <a:prstGeom prst="rect">
            <a:avLst/>
          </a:prstGeom>
        </p:spPr>
      </p:pic>
      <p:pic>
        <p:nvPicPr>
          <p:cNvPr id="14" name="Picture 13">
            <a:extLst>
              <a:ext uri="{FF2B5EF4-FFF2-40B4-BE49-F238E27FC236}">
                <a16:creationId xmlns:a16="http://schemas.microsoft.com/office/drawing/2014/main" id="{52CE9ACB-725B-7897-4084-C57A15B47F9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14120"/>
          <a:stretch/>
        </p:blipFill>
        <p:spPr>
          <a:xfrm>
            <a:off x="-1272" y="5212556"/>
            <a:ext cx="6680851" cy="1645083"/>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66725441-B8CD-562F-0C1D-3B7D7053B55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39780"/>
          <a:stretch/>
        </p:blipFill>
        <p:spPr>
          <a:xfrm>
            <a:off x="9791601" y="-2494"/>
            <a:ext cx="1298044" cy="1104121"/>
          </a:xfrm>
          <a:prstGeom prst="rect">
            <a:avLst/>
          </a:prstGeom>
        </p:spPr>
      </p:pic>
      <p:pic>
        <p:nvPicPr>
          <p:cNvPr id="16" name="Picture 15">
            <a:extLst>
              <a:ext uri="{FF2B5EF4-FFF2-40B4-BE49-F238E27FC236}">
                <a16:creationId xmlns:a16="http://schemas.microsoft.com/office/drawing/2014/main" id="{FF95FF06-1D7B-CECF-1C8A-08CC0A8B7F0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63508"/>
          <a:stretch/>
        </p:blipFill>
        <p:spPr>
          <a:xfrm>
            <a:off x="4488771" y="6188566"/>
            <a:ext cx="1298045" cy="669073"/>
          </a:xfrm>
          <a:prstGeom prst="rect">
            <a:avLst/>
          </a:prstGeom>
        </p:spPr>
      </p:pic>
      <p:sp>
        <p:nvSpPr>
          <p:cNvPr id="4" name="Content Placeholder 2">
            <a:extLst>
              <a:ext uri="{FF2B5EF4-FFF2-40B4-BE49-F238E27FC236}">
                <a16:creationId xmlns:a16="http://schemas.microsoft.com/office/drawing/2014/main" id="{4A4EC9FA-378A-6C6D-D84B-0C0ACA4E50B8}"/>
              </a:ext>
            </a:extLst>
          </p:cNvPr>
          <p:cNvSpPr>
            <a:spLocks noGrp="1"/>
          </p:cNvSpPr>
          <p:nvPr>
            <p:ph sz="half" idx="1" hasCustomPrompt="1"/>
          </p:nvPr>
        </p:nvSpPr>
        <p:spPr>
          <a:xfrm>
            <a:off x="838200" y="2028602"/>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6946C40C-72B5-D4BA-972A-3B54B66DE89D}"/>
              </a:ext>
            </a:extLst>
          </p:cNvPr>
          <p:cNvSpPr>
            <a:spLocks noGrp="1"/>
          </p:cNvSpPr>
          <p:nvPr>
            <p:ph sz="half" idx="2" hasCustomPrompt="1"/>
          </p:nvPr>
        </p:nvSpPr>
        <p:spPr>
          <a:xfrm>
            <a:off x="6172200" y="2028602"/>
            <a:ext cx="5181600" cy="4351338"/>
          </a:xfr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751CC4B-870C-941A-90BC-DAB443758C0A}"/>
              </a:ext>
            </a:extLst>
          </p:cNvPr>
          <p:cNvPicPr>
            <a:picLocks noChangeAspect="1"/>
          </p:cNvPicPr>
          <p:nvPr userDrawn="1"/>
        </p:nvPicPr>
        <p:blipFill>
          <a:blip r:embed="rId6"/>
          <a:stretch>
            <a:fillRect/>
          </a:stretch>
        </p:blipFill>
        <p:spPr>
          <a:xfrm>
            <a:off x="7190050" y="400148"/>
            <a:ext cx="563100" cy="563100"/>
          </a:xfrm>
          <a:prstGeom prst="rect">
            <a:avLst/>
          </a:prstGeom>
        </p:spPr>
      </p:pic>
    </p:spTree>
    <p:extLst>
      <p:ext uri="{BB962C8B-B14F-4D97-AF65-F5344CB8AC3E}">
        <p14:creationId xmlns:p14="http://schemas.microsoft.com/office/powerpoint/2010/main" val="2335818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Divider - Deloitte Accessible Green">
    <p:bg bwMode="gray">
      <p:bgPr>
        <a:solidFill>
          <a:srgbClr val="BBDFBB"/>
        </a:solidFill>
        <a:effectLst/>
      </p:bgPr>
    </p:bg>
    <p:spTree>
      <p:nvGrpSpPr>
        <p:cNvPr id="1" name=""/>
        <p:cNvGrpSpPr/>
        <p:nvPr/>
      </p:nvGrpSpPr>
      <p:grpSpPr>
        <a:xfrm>
          <a:off x="0" y="0"/>
          <a:ext cx="0" cy="0"/>
          <a:chOff x="0" y="0"/>
          <a:chExt cx="0" cy="0"/>
        </a:xfrm>
      </p:grpSpPr>
      <p:pic>
        <p:nvPicPr>
          <p:cNvPr id="4" name="Picture 3" descr="A green ball with black background&#10;&#10;Description automatically generated">
            <a:extLst>
              <a:ext uri="{FF2B5EF4-FFF2-40B4-BE49-F238E27FC236}">
                <a16:creationId xmlns:a16="http://schemas.microsoft.com/office/drawing/2014/main" id="{58F0D6E3-137A-0AF1-ED4C-F0536CC4B328}"/>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829" t="-8217"/>
          <a:stretch/>
        </p:blipFill>
        <p:spPr>
          <a:xfrm>
            <a:off x="469307" y="390096"/>
            <a:ext cx="539452" cy="533793"/>
          </a:xfrm>
          <a:prstGeom prst="rect">
            <a:avLst/>
          </a:prstGeom>
        </p:spPr>
      </p:pic>
      <p:pic>
        <p:nvPicPr>
          <p:cNvPr id="5" name="Picture 4" descr="A white object with a black background&#10;&#10;Description automatically generated">
            <a:extLst>
              <a:ext uri="{FF2B5EF4-FFF2-40B4-BE49-F238E27FC236}">
                <a16:creationId xmlns:a16="http://schemas.microsoft.com/office/drawing/2014/main" id="{088EFB10-3001-94F3-EF7C-7D37D2EC34E3}"/>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882" t="-4669"/>
          <a:stretch/>
        </p:blipFill>
        <p:spPr>
          <a:xfrm>
            <a:off x="1278174" y="878556"/>
            <a:ext cx="1376065" cy="695720"/>
          </a:xfrm>
          <a:prstGeom prst="rect">
            <a:avLst/>
          </a:prstGeom>
        </p:spPr>
      </p:pic>
      <p:sp>
        <p:nvSpPr>
          <p:cNvPr id="19" name="Title 1">
            <a:extLst>
              <a:ext uri="{FF2B5EF4-FFF2-40B4-BE49-F238E27FC236}">
                <a16:creationId xmlns:a16="http://schemas.microsoft.com/office/drawing/2014/main" id="{E1B8A26D-9447-0DE3-EC7A-496F3D142FE7}"/>
              </a:ext>
            </a:extLst>
          </p:cNvPr>
          <p:cNvSpPr>
            <a:spLocks noGrp="1"/>
          </p:cNvSpPr>
          <p:nvPr>
            <p:ph type="title"/>
          </p:nvPr>
        </p:nvSpPr>
        <p:spPr bwMode="gray">
          <a:xfrm>
            <a:off x="501651" y="1670834"/>
            <a:ext cx="10347324" cy="1592403"/>
          </a:xfrm>
          <a:prstGeom prst="rect">
            <a:avLst/>
          </a:prstGeom>
        </p:spPr>
        <p:txBody>
          <a:bodyPr lIns="0" anchor="b"/>
          <a:lstStyle>
            <a:lvl1pPr>
              <a:lnSpc>
                <a:spcPct val="95000"/>
              </a:lnSpc>
              <a:defRPr sz="4000" b="1">
                <a:solidFill>
                  <a:schemeClr val="accent4"/>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20" name="Text Placeholder 2">
            <a:extLst>
              <a:ext uri="{FF2B5EF4-FFF2-40B4-BE49-F238E27FC236}">
                <a16:creationId xmlns:a16="http://schemas.microsoft.com/office/drawing/2014/main" id="{2F140D79-07FE-B034-AEE9-CD50FB960B95}"/>
              </a:ext>
            </a:extLst>
          </p:cNvPr>
          <p:cNvSpPr>
            <a:spLocks noGrp="1"/>
          </p:cNvSpPr>
          <p:nvPr>
            <p:ph type="body" idx="1"/>
          </p:nvPr>
        </p:nvSpPr>
        <p:spPr bwMode="gray">
          <a:xfrm>
            <a:off x="501651" y="3429000"/>
            <a:ext cx="10347324" cy="1566532"/>
          </a:xfrm>
          <a:prstGeom prst="rect">
            <a:avLst/>
          </a:prstGeom>
        </p:spPr>
        <p:txBody>
          <a:bodyPr lIns="0" tIns="0" rIns="0" bIns="0">
            <a:noAutofit/>
          </a:bodyPr>
          <a:lstStyle>
            <a:lvl1pPr marL="0" indent="0">
              <a:lnSpc>
                <a:spcPct val="95000"/>
              </a:lnSpc>
              <a:spcAft>
                <a:spcPts val="0"/>
              </a:spcAft>
              <a:buNone/>
              <a:defRPr sz="1800" b="0" i="0">
                <a:solidFill>
                  <a:schemeClr val="accent4">
                    <a:lumMod val="50000"/>
                  </a:schemeClr>
                </a:solidFill>
                <a:latin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pic>
        <p:nvPicPr>
          <p:cNvPr id="2" name="Picture 1" descr="A white object with a black background&#10;&#10;Description automatically generated">
            <a:extLst>
              <a:ext uri="{FF2B5EF4-FFF2-40B4-BE49-F238E27FC236}">
                <a16:creationId xmlns:a16="http://schemas.microsoft.com/office/drawing/2014/main" id="{62C0AE3D-8156-AA96-C317-B4CECD97D473}"/>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r="-1"/>
          <a:stretch/>
        </p:blipFill>
        <p:spPr>
          <a:xfrm>
            <a:off x="0" y="4663033"/>
            <a:ext cx="2139074" cy="1465093"/>
          </a:xfrm>
          <a:prstGeom prst="rect">
            <a:avLst/>
          </a:prstGeom>
        </p:spPr>
      </p:pic>
      <p:pic>
        <p:nvPicPr>
          <p:cNvPr id="3" name="Picture 2" descr="A white and blue iceberg&#10;&#10;Description automatically generated">
            <a:extLst>
              <a:ext uri="{FF2B5EF4-FFF2-40B4-BE49-F238E27FC236}">
                <a16:creationId xmlns:a16="http://schemas.microsoft.com/office/drawing/2014/main" id="{D222C819-1032-CDEF-9685-6E276E35CFFE}"/>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8552768" y="4555200"/>
            <a:ext cx="3485262" cy="2196089"/>
          </a:xfrm>
          <a:prstGeom prst="rect">
            <a:avLst/>
          </a:prstGeom>
        </p:spPr>
      </p:pic>
    </p:spTree>
    <p:extLst>
      <p:ext uri="{BB962C8B-B14F-4D97-AF65-F5344CB8AC3E}">
        <p14:creationId xmlns:p14="http://schemas.microsoft.com/office/powerpoint/2010/main" val="1857195495"/>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B49FB9A-1F30-052F-68F2-E2B8FEE3F0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3099"/>
          <a:stretch/>
        </p:blipFill>
        <p:spPr>
          <a:xfrm>
            <a:off x="5363737" y="0"/>
            <a:ext cx="6828263" cy="1645083"/>
          </a:xfrm>
          <a:prstGeom prst="rect">
            <a:avLst/>
          </a:prstGeom>
        </p:spPr>
      </p:pic>
      <p:pic>
        <p:nvPicPr>
          <p:cNvPr id="15" name="Picture 14">
            <a:extLst>
              <a:ext uri="{FF2B5EF4-FFF2-40B4-BE49-F238E27FC236}">
                <a16:creationId xmlns:a16="http://schemas.microsoft.com/office/drawing/2014/main" id="{89AB4F28-DFC4-6817-9ABF-C79794145C9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4120"/>
          <a:stretch/>
        </p:blipFill>
        <p:spPr>
          <a:xfrm>
            <a:off x="-1272" y="5212556"/>
            <a:ext cx="6680851" cy="1645083"/>
          </a:xfrm>
          <a:prstGeom prst="rect">
            <a:avLst/>
          </a:prstGeom>
        </p:spPr>
      </p:pic>
      <p:sp>
        <p:nvSpPr>
          <p:cNvPr id="2" name="Title 1">
            <a:extLst>
              <a:ext uri="{FF2B5EF4-FFF2-40B4-BE49-F238E27FC236}">
                <a16:creationId xmlns:a16="http://schemas.microsoft.com/office/drawing/2014/main" id="{13BC949A-5475-C13D-C490-0FF9A7CB4D55}"/>
              </a:ext>
            </a:extLst>
          </p:cNvPr>
          <p:cNvSpPr>
            <a:spLocks noGrp="1"/>
          </p:cNvSpPr>
          <p:nvPr>
            <p:ph type="title" hasCustomPrompt="1"/>
          </p:nvPr>
        </p:nvSpPr>
        <p:spPr>
          <a:xfrm>
            <a:off x="838200" y="365125"/>
            <a:ext cx="5257800" cy="1325563"/>
          </a:xfrm>
        </p:spPr>
        <p:txBody>
          <a:bodyPr/>
          <a:lstStyle/>
          <a:p>
            <a:r>
              <a:rPr lang="en-US"/>
              <a:t>CLICK TO EDIT MASTER TITLE STYLE</a:t>
            </a:r>
          </a:p>
        </p:txBody>
      </p:sp>
      <p:sp>
        <p:nvSpPr>
          <p:cNvPr id="20" name="Content Placeholder 2">
            <a:extLst>
              <a:ext uri="{FF2B5EF4-FFF2-40B4-BE49-F238E27FC236}">
                <a16:creationId xmlns:a16="http://schemas.microsoft.com/office/drawing/2014/main" id="{84621B97-8ACC-0E49-A177-9C2B93C64887}"/>
              </a:ext>
            </a:extLst>
          </p:cNvPr>
          <p:cNvSpPr>
            <a:spLocks noGrp="1"/>
          </p:cNvSpPr>
          <p:nvPr>
            <p:ph sz="half" idx="1" hasCustomPrompt="1"/>
          </p:nvPr>
        </p:nvSpPr>
        <p:spPr>
          <a:xfrm>
            <a:off x="838200" y="2028602"/>
            <a:ext cx="5181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0B4ABBE3-8D61-C9D1-69AD-B286890DFC14}"/>
              </a:ext>
            </a:extLst>
          </p:cNvPr>
          <p:cNvSpPr>
            <a:spLocks noGrp="1"/>
          </p:cNvSpPr>
          <p:nvPr>
            <p:ph sz="half" idx="2" hasCustomPrompt="1"/>
          </p:nvPr>
        </p:nvSpPr>
        <p:spPr>
          <a:xfrm>
            <a:off x="6172200" y="2028602"/>
            <a:ext cx="5181600" cy="4351338"/>
          </a:xfrm>
        </p:spPr>
        <p:txBody>
          <a:bodyPr/>
          <a:lstStyle>
            <a:lvl1pPr>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9193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9B89C-A186-32F9-BF3D-FABF79275298}"/>
              </a:ext>
            </a:extLst>
          </p:cNvPr>
          <p:cNvSpPr>
            <a:spLocks noGrp="1"/>
          </p:cNvSpPr>
          <p:nvPr>
            <p:ph type="title" hasCustomPrompt="1"/>
          </p:nvPr>
        </p:nvSpPr>
        <p:spPr/>
        <p:txBody>
          <a:bodyPr/>
          <a:lstStyle/>
          <a:p>
            <a:r>
              <a:rPr lang="en-US"/>
              <a:t>CLICK TO EDIT MASTER TITLE STYLE</a:t>
            </a:r>
          </a:p>
        </p:txBody>
      </p:sp>
      <p:pic>
        <p:nvPicPr>
          <p:cNvPr id="3" name="Picture 2">
            <a:extLst>
              <a:ext uri="{FF2B5EF4-FFF2-40B4-BE49-F238E27FC236}">
                <a16:creationId xmlns:a16="http://schemas.microsoft.com/office/drawing/2014/main" id="{4FA14416-E33B-9BB4-E146-DCBF8C1559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477833"/>
            <a:ext cx="1990166" cy="5783579"/>
          </a:xfrm>
          <a:prstGeom prst="rect">
            <a:avLst/>
          </a:prstGeom>
        </p:spPr>
      </p:pic>
      <p:sp>
        <p:nvSpPr>
          <p:cNvPr id="6" name="Content Placeholder 2">
            <a:extLst>
              <a:ext uri="{FF2B5EF4-FFF2-40B4-BE49-F238E27FC236}">
                <a16:creationId xmlns:a16="http://schemas.microsoft.com/office/drawing/2014/main" id="{1CC1E8A4-BC49-DB9C-C3D3-FCDC31DDE1FB}"/>
              </a:ext>
            </a:extLst>
          </p:cNvPr>
          <p:cNvSpPr>
            <a:spLocks noGrp="1"/>
          </p:cNvSpPr>
          <p:nvPr>
            <p:ph idx="1" hasCustomPrompt="1"/>
          </p:nvPr>
        </p:nvSpPr>
        <p:spPr>
          <a:xfrm>
            <a:off x="838200" y="2017210"/>
            <a:ext cx="10515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88990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F23877-FA73-F7BA-52B4-D9A75FFEDF53}"/>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4725906" y="0"/>
            <a:ext cx="7466094" cy="6858002"/>
          </a:xfrm>
          <a:prstGeom prst="rect">
            <a:avLst/>
          </a:prstGeom>
        </p:spPr>
      </p:pic>
      <p:sp>
        <p:nvSpPr>
          <p:cNvPr id="2" name="Title 1">
            <a:extLst>
              <a:ext uri="{FF2B5EF4-FFF2-40B4-BE49-F238E27FC236}">
                <a16:creationId xmlns:a16="http://schemas.microsoft.com/office/drawing/2014/main" id="{9AC9B89C-A186-32F9-BF3D-FABF79275298}"/>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pic>
        <p:nvPicPr>
          <p:cNvPr id="6" name="Picture 5">
            <a:extLst>
              <a:ext uri="{FF2B5EF4-FFF2-40B4-BE49-F238E27FC236}">
                <a16:creationId xmlns:a16="http://schemas.microsoft.com/office/drawing/2014/main" id="{DACD9A31-1889-A928-7809-CCFC1D9E25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766888"/>
            <a:ext cx="1786970" cy="5783579"/>
          </a:xfrm>
          <a:prstGeom prst="rect">
            <a:avLst/>
          </a:prstGeom>
        </p:spPr>
      </p:pic>
      <p:pic>
        <p:nvPicPr>
          <p:cNvPr id="8" name="Picture 7">
            <a:extLst>
              <a:ext uri="{FF2B5EF4-FFF2-40B4-BE49-F238E27FC236}">
                <a16:creationId xmlns:a16="http://schemas.microsoft.com/office/drawing/2014/main" id="{27314AE0-AEE6-4225-AEB2-59428317B1FA}"/>
              </a:ext>
            </a:extLst>
          </p:cNvPr>
          <p:cNvPicPr>
            <a:picLocks noChangeAspect="1"/>
          </p:cNvPicPr>
          <p:nvPr userDrawn="1"/>
        </p:nvPicPr>
        <p:blipFill rotWithShape="1">
          <a:blip r:embed="rId4" cstate="screen">
            <a:alphaModFix amt="48000"/>
            <a:extLst>
              <a:ext uri="{28A0092B-C50C-407E-A947-70E740481C1C}">
                <a14:useLocalDpi xmlns:a14="http://schemas.microsoft.com/office/drawing/2010/main"/>
              </a:ext>
            </a:extLst>
          </a:blip>
          <a:srcRect/>
          <a:stretch/>
        </p:blipFill>
        <p:spPr>
          <a:xfrm>
            <a:off x="-987714" y="1838793"/>
            <a:ext cx="2816515" cy="1484768"/>
          </a:xfrm>
          <a:prstGeom prst="rect">
            <a:avLst/>
          </a:prstGeom>
        </p:spPr>
      </p:pic>
      <p:sp>
        <p:nvSpPr>
          <p:cNvPr id="3" name="Content Placeholder 2">
            <a:extLst>
              <a:ext uri="{FF2B5EF4-FFF2-40B4-BE49-F238E27FC236}">
                <a16:creationId xmlns:a16="http://schemas.microsoft.com/office/drawing/2014/main" id="{1798C0B0-48E4-E3E2-C24A-0F2C2474F119}"/>
              </a:ext>
            </a:extLst>
          </p:cNvPr>
          <p:cNvSpPr>
            <a:spLocks noGrp="1"/>
          </p:cNvSpPr>
          <p:nvPr>
            <p:ph idx="1" hasCustomPrompt="1"/>
          </p:nvPr>
        </p:nvSpPr>
        <p:spPr>
          <a:xfrm>
            <a:off x="838200" y="2017210"/>
            <a:ext cx="10515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52175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D64F11C-EFF5-2197-7A81-A5E27E55D4A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64" b="-2"/>
          <a:stretch/>
        </p:blipFill>
        <p:spPr>
          <a:xfrm>
            <a:off x="3193256" y="-2"/>
            <a:ext cx="8998744" cy="6858001"/>
          </a:xfrm>
          <a:prstGeom prst="rect">
            <a:avLst/>
          </a:prstGeom>
        </p:spPr>
      </p:pic>
      <p:sp>
        <p:nvSpPr>
          <p:cNvPr id="2" name="Title 1">
            <a:extLst>
              <a:ext uri="{FF2B5EF4-FFF2-40B4-BE49-F238E27FC236}">
                <a16:creationId xmlns:a16="http://schemas.microsoft.com/office/drawing/2014/main" id="{A07183D1-2D00-8083-E5AD-5340D098CE51}"/>
              </a:ext>
            </a:extLst>
          </p:cNvPr>
          <p:cNvSpPr>
            <a:spLocks noGrp="1"/>
          </p:cNvSpPr>
          <p:nvPr>
            <p:ph type="title" hasCustomPrompt="1"/>
          </p:nvPr>
        </p:nvSpPr>
        <p:spPr>
          <a:xfrm>
            <a:off x="831850" y="4617267"/>
            <a:ext cx="3703936" cy="881911"/>
          </a:xfrm>
        </p:spPr>
        <p:txBody>
          <a:bodyPr anchor="t">
            <a:normAutofit/>
          </a:bodyPr>
          <a:lstStyle>
            <a:lvl1pPr>
              <a:defRPr sz="44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THANK YOU</a:t>
            </a:r>
          </a:p>
        </p:txBody>
      </p:sp>
      <p:sp>
        <p:nvSpPr>
          <p:cNvPr id="7" name="Slide Number Placeholder 5">
            <a:extLst>
              <a:ext uri="{FF2B5EF4-FFF2-40B4-BE49-F238E27FC236}">
                <a16:creationId xmlns:a16="http://schemas.microsoft.com/office/drawing/2014/main" id="{22A9C2E2-7B61-D4BA-3636-99ACCDEA90A0}"/>
              </a:ext>
            </a:extLst>
          </p:cNvPr>
          <p:cNvSpPr txBox="1">
            <a:spLocks/>
          </p:cNvSpPr>
          <p:nvPr userDrawn="1"/>
        </p:nvSpPr>
        <p:spPr>
          <a:xfrm>
            <a:off x="11132820" y="6356350"/>
            <a:ext cx="56388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Open Sans" panose="020B0606030504020204"/>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888F3F1-57AE-6248-B8CC-FDCCA966097E}" type="slidenum">
              <a:rPr lang="en-US" smtClean="0"/>
              <a:pPr/>
              <a:t>‹#›</a:t>
            </a:fld>
            <a:endParaRPr lang="en-US"/>
          </a:p>
        </p:txBody>
      </p:sp>
      <p:pic>
        <p:nvPicPr>
          <p:cNvPr id="15" name="Picture 14">
            <a:extLst>
              <a:ext uri="{FF2B5EF4-FFF2-40B4-BE49-F238E27FC236}">
                <a16:creationId xmlns:a16="http://schemas.microsoft.com/office/drawing/2014/main" id="{2CF92FFF-BF8F-6B10-2847-2DB7C37D5C74}"/>
              </a:ext>
            </a:extLst>
          </p:cNvPr>
          <p:cNvPicPr>
            <a:picLocks noChangeAspect="1"/>
          </p:cNvPicPr>
          <p:nvPr userDrawn="1"/>
        </p:nvPicPr>
        <p:blipFill rotWithShape="1">
          <a:blip r:embed="rId3" cstate="screen">
            <a:alphaModFix amt="48000"/>
            <a:extLst>
              <a:ext uri="{28A0092B-C50C-407E-A947-70E740481C1C}">
                <a14:useLocalDpi xmlns:a14="http://schemas.microsoft.com/office/drawing/2010/main"/>
              </a:ext>
            </a:extLst>
          </a:blip>
          <a:srcRect/>
          <a:stretch/>
        </p:blipFill>
        <p:spPr>
          <a:xfrm>
            <a:off x="9474098" y="1374926"/>
            <a:ext cx="2816515" cy="1484768"/>
          </a:xfrm>
          <a:prstGeom prst="rect">
            <a:avLst/>
          </a:prstGeom>
        </p:spPr>
      </p:pic>
      <p:pic>
        <p:nvPicPr>
          <p:cNvPr id="4" name="Picture 3">
            <a:extLst>
              <a:ext uri="{FF2B5EF4-FFF2-40B4-BE49-F238E27FC236}">
                <a16:creationId xmlns:a16="http://schemas.microsoft.com/office/drawing/2014/main" id="{085CABDE-C5AA-54D8-B254-D7A2E850CD0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39780"/>
          <a:stretch/>
        </p:blipFill>
        <p:spPr>
          <a:xfrm>
            <a:off x="5504414" y="0"/>
            <a:ext cx="1298044" cy="1104121"/>
          </a:xfrm>
          <a:prstGeom prst="rect">
            <a:avLst/>
          </a:prstGeom>
        </p:spPr>
      </p:pic>
      <p:pic>
        <p:nvPicPr>
          <p:cNvPr id="5" name="Picture 4">
            <a:extLst>
              <a:ext uri="{FF2B5EF4-FFF2-40B4-BE49-F238E27FC236}">
                <a16:creationId xmlns:a16="http://schemas.microsoft.com/office/drawing/2014/main" id="{9B1202CE-A68D-21E2-094B-2989E2901918}"/>
              </a:ext>
            </a:extLst>
          </p:cNvPr>
          <p:cNvPicPr>
            <a:picLocks noChangeAspect="1"/>
          </p:cNvPicPr>
          <p:nvPr userDrawn="1"/>
        </p:nvPicPr>
        <p:blipFill>
          <a:blip r:embed="rId5"/>
          <a:stretch>
            <a:fillRect/>
          </a:stretch>
        </p:blipFill>
        <p:spPr>
          <a:xfrm>
            <a:off x="4417974" y="1603305"/>
            <a:ext cx="563100" cy="563100"/>
          </a:xfrm>
          <a:prstGeom prst="rect">
            <a:avLst/>
          </a:prstGeom>
        </p:spPr>
      </p:pic>
      <p:pic>
        <p:nvPicPr>
          <p:cNvPr id="8" name="Picture 7">
            <a:extLst>
              <a:ext uri="{FF2B5EF4-FFF2-40B4-BE49-F238E27FC236}">
                <a16:creationId xmlns:a16="http://schemas.microsoft.com/office/drawing/2014/main" id="{A85C1136-09D9-6055-311C-4EFD095EE4FE}"/>
              </a:ext>
            </a:extLst>
          </p:cNvPr>
          <p:cNvPicPr>
            <a:picLocks noChangeAspect="1"/>
          </p:cNvPicPr>
          <p:nvPr userDrawn="1"/>
        </p:nvPicPr>
        <p:blipFill>
          <a:blip r:embed="rId5"/>
          <a:stretch>
            <a:fillRect/>
          </a:stretch>
        </p:blipFill>
        <p:spPr>
          <a:xfrm>
            <a:off x="7565434" y="3552419"/>
            <a:ext cx="1024393" cy="1024393"/>
          </a:xfrm>
          <a:prstGeom prst="rect">
            <a:avLst/>
          </a:prstGeom>
        </p:spPr>
      </p:pic>
    </p:spTree>
    <p:extLst>
      <p:ext uri="{BB962C8B-B14F-4D97-AF65-F5344CB8AC3E}">
        <p14:creationId xmlns:p14="http://schemas.microsoft.com/office/powerpoint/2010/main" val="2958971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51B4A9B-3E78-B804-EB3F-2EC73632D314}"/>
              </a:ext>
            </a:extLst>
          </p:cNvPr>
          <p:cNvSpPr>
            <a:spLocks noGrp="1"/>
          </p:cNvSpPr>
          <p:nvPr>
            <p:ph type="sldNum" sz="quarter" idx="12"/>
          </p:nvPr>
        </p:nvSpPr>
        <p:spPr>
          <a:xfrm>
            <a:off x="11132820" y="6356350"/>
            <a:ext cx="563880" cy="365125"/>
          </a:xfrm>
          <a:prstGeom prst="rect">
            <a:avLst/>
          </a:prstGeom>
        </p:spPr>
        <p:txBody>
          <a:bodyPr/>
          <a:lstStyle/>
          <a:p>
            <a:fld id="{6888F3F1-57AE-6248-B8CC-FDCCA966097E}" type="slidenum">
              <a:rPr lang="en-US" smtClean="0"/>
              <a:t>‹#›</a:t>
            </a:fld>
            <a:endParaRPr lang="en-US"/>
          </a:p>
        </p:txBody>
      </p:sp>
    </p:spTree>
    <p:extLst>
      <p:ext uri="{BB962C8B-B14F-4D97-AF65-F5344CB8AC3E}">
        <p14:creationId xmlns:p14="http://schemas.microsoft.com/office/powerpoint/2010/main" val="4655659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144953785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03_Textfolie Aufzähung">
    <p:spTree>
      <p:nvGrpSpPr>
        <p:cNvPr id="1" name=""/>
        <p:cNvGrpSpPr/>
        <p:nvPr/>
      </p:nvGrpSpPr>
      <p:grpSpPr>
        <a:xfrm>
          <a:off x="0" y="0"/>
          <a:ext cx="0" cy="0"/>
          <a:chOff x="0" y="0"/>
          <a:chExt cx="0" cy="0"/>
        </a:xfrm>
      </p:grpSpPr>
      <p:sp>
        <p:nvSpPr>
          <p:cNvPr id="8" name="Textplatzhalter 7"/>
          <p:cNvSpPr>
            <a:spLocks noGrp="1"/>
          </p:cNvSpPr>
          <p:nvPr>
            <p:ph type="body" sz="quarter" idx="13" hasCustomPrompt="1"/>
          </p:nvPr>
        </p:nvSpPr>
        <p:spPr>
          <a:xfrm>
            <a:off x="622381" y="1007767"/>
            <a:ext cx="8270777" cy="269937"/>
          </a:xfrm>
        </p:spPr>
        <p:txBody>
          <a:bodyPr lIns="0" tIns="0" rIns="0" bIns="0">
            <a:normAutofit/>
          </a:bodyPr>
          <a:lstStyle>
            <a:lvl1pPr marL="0" indent="0">
              <a:buNone/>
              <a:defRPr sz="1800" baseline="0">
                <a:solidFill>
                  <a:srgbClr val="ED294C"/>
                </a:solidFill>
              </a:defRPr>
            </a:lvl1pPr>
            <a:lvl2pPr>
              <a:defRPr b="1"/>
            </a:lvl2pPr>
          </a:lstStyle>
          <a:p>
            <a:pPr lvl="0"/>
            <a:r>
              <a:rPr lang="de-DE"/>
              <a:t>Untertitel bearbeiten</a:t>
            </a:r>
          </a:p>
        </p:txBody>
      </p:sp>
      <p:sp>
        <p:nvSpPr>
          <p:cNvPr id="9" name="Textplatzhalter 8"/>
          <p:cNvSpPr>
            <a:spLocks noGrp="1"/>
          </p:cNvSpPr>
          <p:nvPr>
            <p:ph type="body" sz="quarter" idx="14"/>
          </p:nvPr>
        </p:nvSpPr>
        <p:spPr>
          <a:xfrm>
            <a:off x="911344" y="2204528"/>
            <a:ext cx="10369313" cy="3744045"/>
          </a:xfrm>
        </p:spPr>
        <p:txBody>
          <a:bodyPr lIns="0" tIns="0" rIns="720000" bIns="0">
            <a:normAutofit/>
          </a:bodyPr>
          <a:lstStyle>
            <a:lvl1pPr marL="357117" indent="-357117">
              <a:lnSpc>
                <a:spcPts val="2400"/>
              </a:lnSpc>
              <a:buFontTx/>
              <a:buBlip>
                <a:blip r:embed="rId2"/>
              </a:buBlip>
              <a:defRPr sz="1800">
                <a:latin typeface="+mn-lt"/>
              </a:defRPr>
            </a:lvl1pPr>
            <a:lvl2pPr>
              <a:lnSpc>
                <a:spcPts val="2400"/>
              </a:lnSpc>
              <a:buFontTx/>
              <a:buBlip>
                <a:blip r:embed="rId2"/>
              </a:buBlip>
              <a:defRPr sz="1800">
                <a:latin typeface="AvenirNext LT Pro Regular" pitchFamily="34" charset="0"/>
              </a:defRPr>
            </a:lvl2pPr>
            <a:lvl3pPr>
              <a:lnSpc>
                <a:spcPts val="2400"/>
              </a:lnSpc>
              <a:buFontTx/>
              <a:buBlip>
                <a:blip r:embed="rId2"/>
              </a:buBlip>
              <a:defRPr sz="1800">
                <a:latin typeface="AvenirNext LT Pro Regular" pitchFamily="34" charset="0"/>
              </a:defRPr>
            </a:lvl3pPr>
            <a:lvl4pPr>
              <a:lnSpc>
                <a:spcPts val="2400"/>
              </a:lnSpc>
              <a:buFontTx/>
              <a:buBlip>
                <a:blip r:embed="rId2"/>
              </a:buBlip>
              <a:defRPr sz="1800">
                <a:latin typeface="AvenirNext LT Pro Regular" pitchFamily="34" charset="0"/>
              </a:defRPr>
            </a:lvl4pPr>
            <a:lvl5pPr>
              <a:lnSpc>
                <a:spcPts val="2400"/>
              </a:lnSpc>
              <a:buFontTx/>
              <a:buBlip>
                <a:blip r:embed="rId2"/>
              </a:buBlip>
              <a:defRPr sz="1800">
                <a:latin typeface="AvenirNext LT Pro Regular" pitchFamily="34" charset="0"/>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a:extLst>
              <a:ext uri="{FF2B5EF4-FFF2-40B4-BE49-F238E27FC236}">
                <a16:creationId xmlns:a16="http://schemas.microsoft.com/office/drawing/2014/main" id="{ACDE829D-8E07-8C85-0833-E5712F70A01E}"/>
              </a:ext>
            </a:extLst>
          </p:cNvPr>
          <p:cNvSpPr>
            <a:spLocks noGrp="1"/>
          </p:cNvSpPr>
          <p:nvPr>
            <p:ph type="title"/>
          </p:nvPr>
        </p:nvSpPr>
        <p:spPr/>
        <p:txBody>
          <a:bodyPr/>
          <a:lstStyle/>
          <a:p>
            <a:r>
              <a:rPr lang="de-DE"/>
              <a:t>Mastertitelformat bearbeiten</a:t>
            </a:r>
          </a:p>
        </p:txBody>
      </p:sp>
      <p:sp>
        <p:nvSpPr>
          <p:cNvPr id="3" name="Foliennummernplatzhalter 15">
            <a:extLst>
              <a:ext uri="{FF2B5EF4-FFF2-40B4-BE49-F238E27FC236}">
                <a16:creationId xmlns:a16="http://schemas.microsoft.com/office/drawing/2014/main" id="{B5102125-CB49-8ACB-46E8-009D9E8776BC}"/>
              </a:ext>
            </a:extLst>
          </p:cNvPr>
          <p:cNvSpPr>
            <a:spLocks noGrp="1"/>
          </p:cNvSpPr>
          <p:nvPr>
            <p:ph type="sldNum" sz="quarter" idx="4"/>
          </p:nvPr>
        </p:nvSpPr>
        <p:spPr>
          <a:xfrm>
            <a:off x="11569619" y="6401934"/>
            <a:ext cx="622380" cy="456066"/>
          </a:xfrm>
          <a:prstGeom prst="rect">
            <a:avLst/>
          </a:prstGeom>
        </p:spPr>
        <p:txBody>
          <a:bodyPr vert="horz" lIns="0" tIns="0" rIns="0" bIns="0" rtlCol="0" anchor="ctr" anchorCtr="0"/>
          <a:lstStyle>
            <a:lvl1pPr algn="ctr">
              <a:defRPr sz="1200">
                <a:solidFill>
                  <a:schemeClr val="bg1"/>
                </a:solidFill>
                <a:latin typeface="+mj-lt"/>
              </a:defRPr>
            </a:lvl1pPr>
          </a:lstStyle>
          <a:p>
            <a:fld id="{694D8694-15D9-4F61-8B4A-19B0A4F3C2B4}" type="slidenum">
              <a:rPr lang="de-DE"/>
              <a:pPr/>
              <a:t>‹#›</a:t>
            </a:fld>
            <a:endParaRPr lang="de-DE"/>
          </a:p>
        </p:txBody>
      </p:sp>
    </p:spTree>
    <p:extLst>
      <p:ext uri="{BB962C8B-B14F-4D97-AF65-F5344CB8AC3E}">
        <p14:creationId xmlns:p14="http://schemas.microsoft.com/office/powerpoint/2010/main" val="19547400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D2C28BE-5B86-AD5E-566E-838E500D5383}"/>
              </a:ext>
            </a:extLst>
          </p:cNvPr>
          <p:cNvGraphicFramePr>
            <a:graphicFrameLocks noChangeAspect="1"/>
          </p:cNvGraphicFramePr>
          <p:nvPr userDrawn="1">
            <p:custDataLst>
              <p:tags r:id="rId1"/>
            </p:custDataLst>
            <p:extLst>
              <p:ext uri="{D42A27DB-BD31-4B8C-83A1-F6EECF244321}">
                <p14:modId xmlns:p14="http://schemas.microsoft.com/office/powerpoint/2010/main" val="85517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5" name="think-cell data - do not delete" hidden="1">
                        <a:extLst>
                          <a:ext uri="{FF2B5EF4-FFF2-40B4-BE49-F238E27FC236}">
                            <a16:creationId xmlns:a16="http://schemas.microsoft.com/office/drawing/2014/main" id="{AD2C28BE-5B86-AD5E-566E-838E500D53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25259357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Objectives of the Meetin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D01B2C1-603B-9472-FDCF-DA6E969C80F4}"/>
              </a:ext>
            </a:extLst>
          </p:cNvPr>
          <p:cNvGraphicFramePr>
            <a:graphicFrameLocks noChangeAspect="1"/>
          </p:cNvGraphicFramePr>
          <p:nvPr userDrawn="1">
            <p:custDataLst>
              <p:tags r:id="rId1"/>
            </p:custDataLst>
            <p:extLst>
              <p:ext uri="{D42A27DB-BD31-4B8C-83A1-F6EECF244321}">
                <p14:modId xmlns:p14="http://schemas.microsoft.com/office/powerpoint/2010/main" val="1888884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4" name="think-cell data - do not delete" hidden="1">
                        <a:extLst>
                          <a:ext uri="{FF2B5EF4-FFF2-40B4-BE49-F238E27FC236}">
                            <a16:creationId xmlns:a16="http://schemas.microsoft.com/office/drawing/2014/main" id="{DD01B2C1-603B-9472-FDCF-DA6E969C80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5E71A-52B5-2E9E-4337-D29F565DE2E1}"/>
              </a:ext>
            </a:extLst>
          </p:cNvPr>
          <p:cNvSpPr>
            <a:spLocks noGrp="1"/>
          </p:cNvSpPr>
          <p:nvPr>
            <p:ph type="title"/>
          </p:nvPr>
        </p:nvSpPr>
        <p:spPr/>
        <p:txBody>
          <a:bodyPr vert="horz"/>
          <a:lstStyle>
            <a:lvl1pPr rtl="0">
              <a:defRPr/>
            </a:lvl1pPr>
          </a:lstStyle>
          <a:p>
            <a:r>
              <a:rPr lang="en-US"/>
              <a:t>Click to edit Master title style</a:t>
            </a:r>
          </a:p>
        </p:txBody>
      </p:sp>
      <p:sp>
        <p:nvSpPr>
          <p:cNvPr id="6" name="Pentagon 34">
            <a:extLst>
              <a:ext uri="{FF2B5EF4-FFF2-40B4-BE49-F238E27FC236}">
                <a16:creationId xmlns:a16="http://schemas.microsoft.com/office/drawing/2014/main" id="{00D4687B-EFD3-D0EA-7208-58F2AC576685}"/>
              </a:ext>
            </a:extLst>
          </p:cNvPr>
          <p:cNvSpPr/>
          <p:nvPr userDrawn="1"/>
        </p:nvSpPr>
        <p:spPr>
          <a:xfrm>
            <a:off x="457200" y="1416341"/>
            <a:ext cx="5472000" cy="4680000"/>
          </a:xfrm>
          <a:prstGeom prst="homePlate">
            <a:avLst>
              <a:gd name="adj" fmla="val 1511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Rechteck 6">
            <a:extLst>
              <a:ext uri="{FF2B5EF4-FFF2-40B4-BE49-F238E27FC236}">
                <a16:creationId xmlns:a16="http://schemas.microsoft.com/office/drawing/2014/main" id="{621E064C-2FF3-2B65-4652-27F9E9F6846D}"/>
              </a:ext>
            </a:extLst>
          </p:cNvPr>
          <p:cNvSpPr/>
          <p:nvPr userDrawn="1"/>
        </p:nvSpPr>
        <p:spPr bwMode="gray">
          <a:xfrm>
            <a:off x="914720" y="2136341"/>
            <a:ext cx="10800000" cy="3240000"/>
          </a:xfrm>
          <a:prstGeom prst="rect">
            <a:avLst/>
          </a:prstGeom>
          <a:noFill/>
          <a:ln w="38100" algn="ctr">
            <a:solidFill>
              <a:schemeClr val="accent1"/>
            </a:solidFill>
            <a:miter lim="800000"/>
            <a:headEnd/>
            <a:tailEnd/>
          </a:ln>
          <a:effectLst>
            <a:outerShdw blurRad="381000" sx="102000" sy="102000" algn="ctr" rotWithShape="0">
              <a:schemeClr val="bg1">
                <a:lumMod val="75000"/>
                <a:alpha val="35000"/>
              </a:scheme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12" name="Text Placeholder 11">
            <a:extLst>
              <a:ext uri="{FF2B5EF4-FFF2-40B4-BE49-F238E27FC236}">
                <a16:creationId xmlns:a16="http://schemas.microsoft.com/office/drawing/2014/main" id="{A79A7EC1-C0C2-A29A-90EE-58EA71E55816}"/>
              </a:ext>
            </a:extLst>
          </p:cNvPr>
          <p:cNvSpPr>
            <a:spLocks noGrp="1"/>
          </p:cNvSpPr>
          <p:nvPr>
            <p:ph type="body" sz="quarter" idx="10"/>
          </p:nvPr>
        </p:nvSpPr>
        <p:spPr>
          <a:xfrm>
            <a:off x="900112" y="1714500"/>
            <a:ext cx="4320000" cy="324000"/>
          </a:xfrm>
        </p:spPr>
        <p:txBody>
          <a:bodyPr anchor="ctr" anchorCtr="0">
            <a:noAutofit/>
          </a:bodyPr>
          <a:lstStyle>
            <a:lvl1pPr rtl="0">
              <a:defRPr sz="1600" b="1"/>
            </a:lvl1pPr>
          </a:lstStyle>
          <a:p>
            <a:pPr lvl="0"/>
            <a:r>
              <a:rPr lang="en-US"/>
              <a:t>Click to edit Master text styles</a:t>
            </a:r>
          </a:p>
        </p:txBody>
      </p:sp>
      <p:sp>
        <p:nvSpPr>
          <p:cNvPr id="13" name="Text Placeholder 11">
            <a:extLst>
              <a:ext uri="{FF2B5EF4-FFF2-40B4-BE49-F238E27FC236}">
                <a16:creationId xmlns:a16="http://schemas.microsoft.com/office/drawing/2014/main" id="{5837FB16-1FAD-0445-6110-7107ED54C889}"/>
              </a:ext>
            </a:extLst>
          </p:cNvPr>
          <p:cNvSpPr>
            <a:spLocks noGrp="1"/>
          </p:cNvSpPr>
          <p:nvPr>
            <p:ph type="body" sz="quarter" idx="11" hasCustomPrompt="1"/>
          </p:nvPr>
        </p:nvSpPr>
        <p:spPr>
          <a:xfrm>
            <a:off x="6248400" y="1714500"/>
            <a:ext cx="5486400" cy="324000"/>
          </a:xfrm>
        </p:spPr>
        <p:txBody>
          <a:bodyPr anchor="ctr" anchorCtr="0">
            <a:noAutofit/>
          </a:bodyPr>
          <a:lstStyle>
            <a:lvl1pPr rtl="0">
              <a:defRPr sz="1600" b="1"/>
            </a:lvl1pPr>
          </a:lstStyle>
          <a:p>
            <a:pPr lvl="0"/>
            <a:r>
              <a:rPr lang="en-US"/>
              <a:t>Objectives of the meeting</a:t>
            </a:r>
          </a:p>
        </p:txBody>
      </p:sp>
      <p:sp>
        <p:nvSpPr>
          <p:cNvPr id="15" name="Text Placeholder 14">
            <a:extLst>
              <a:ext uri="{FF2B5EF4-FFF2-40B4-BE49-F238E27FC236}">
                <a16:creationId xmlns:a16="http://schemas.microsoft.com/office/drawing/2014/main" id="{1EF7647C-6AD1-82E1-2013-6F23FFF97B50}"/>
              </a:ext>
            </a:extLst>
          </p:cNvPr>
          <p:cNvSpPr>
            <a:spLocks noGrp="1"/>
          </p:cNvSpPr>
          <p:nvPr>
            <p:ph type="body" sz="quarter" idx="12"/>
          </p:nvPr>
        </p:nvSpPr>
        <p:spPr>
          <a:xfrm>
            <a:off x="6248399" y="2264498"/>
            <a:ext cx="5345837" cy="3053225"/>
          </a:xfrm>
        </p:spPr>
        <p:txBody>
          <a:bodyPr>
            <a:noAutofit/>
          </a:bodyPr>
          <a:lstStyle>
            <a:lvl1pPr rtl="0">
              <a:defRPr sz="1600"/>
            </a:lvl1pPr>
            <a:lvl2pPr marL="177800" indent="-177800" rtl="0">
              <a:defRPr sz="1600"/>
            </a:lvl2pPr>
            <a:lvl3pPr marL="355600" indent="-177800" rtl="0">
              <a:defRPr sz="1600"/>
            </a:lvl3pPr>
            <a:lvl4pPr marL="541338" indent="-185738" rtl="0">
              <a:defRPr sz="1600"/>
            </a:lvl4pPr>
            <a:lvl5pPr marL="719138" indent="-177800" rtl="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16">
            <a:extLst>
              <a:ext uri="{FF2B5EF4-FFF2-40B4-BE49-F238E27FC236}">
                <a16:creationId xmlns:a16="http://schemas.microsoft.com/office/drawing/2014/main" id="{35FE9916-5120-45A4-9415-C9725006B326}"/>
              </a:ext>
            </a:extLst>
          </p:cNvPr>
          <p:cNvSpPr>
            <a:spLocks noGrp="1"/>
          </p:cNvSpPr>
          <p:nvPr>
            <p:ph type="pic" sz="quarter" idx="13"/>
          </p:nvPr>
        </p:nvSpPr>
        <p:spPr>
          <a:xfrm>
            <a:off x="1168400" y="2316341"/>
            <a:ext cx="4032000" cy="2880000"/>
          </a:xfrm>
        </p:spPr>
        <p:txBody>
          <a:bodyPr/>
          <a:lstStyle/>
          <a:p>
            <a:endParaRPr lang="de-DE"/>
          </a:p>
        </p:txBody>
      </p:sp>
    </p:spTree>
    <p:extLst>
      <p:ext uri="{BB962C8B-B14F-4D97-AF65-F5344CB8AC3E}">
        <p14:creationId xmlns:p14="http://schemas.microsoft.com/office/powerpoint/2010/main" val="16097464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145B086-DD6D-01CD-9CE5-CC1918A175C9}"/>
              </a:ext>
            </a:extLst>
          </p:cNvPr>
          <p:cNvGraphicFramePr>
            <a:graphicFrameLocks noChangeAspect="1"/>
          </p:cNvGraphicFramePr>
          <p:nvPr userDrawn="1">
            <p:custDataLst>
              <p:tags r:id="rId1"/>
            </p:custDataLst>
            <p:extLst>
              <p:ext uri="{D42A27DB-BD31-4B8C-83A1-F6EECF244321}">
                <p14:modId xmlns:p14="http://schemas.microsoft.com/office/powerpoint/2010/main" val="3362539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A145B086-DD6D-01CD-9CE5-CC1918A175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rtl="0">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vert="horz" anchor="b" anchorCtr="0">
            <a:noAutofit/>
          </a:bodyPr>
          <a:lstStyle>
            <a:lvl1pPr algn="l" rtl="0">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lvl1pPr rtl="0">
              <a:defRPr/>
            </a:lvl1pPr>
          </a:lstStyle>
          <a:p>
            <a:r>
              <a:rPr lang="en-US" noProof="0"/>
              <a:t>Click icon to add picture</a:t>
            </a:r>
          </a:p>
        </p:txBody>
      </p:sp>
    </p:spTree>
    <p:extLst>
      <p:ext uri="{BB962C8B-B14F-4D97-AF65-F5344CB8AC3E}">
        <p14:creationId xmlns:p14="http://schemas.microsoft.com/office/powerpoint/2010/main" val="2408090090"/>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Accessible Green">
    <p:bg bwMode="gray">
      <p:bgPr>
        <a:solidFill>
          <a:srgbClr val="005587"/>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2F140D79-07FE-B034-AEE9-CD50FB960B95}"/>
              </a:ext>
            </a:extLst>
          </p:cNvPr>
          <p:cNvSpPr>
            <a:spLocks noGrp="1"/>
          </p:cNvSpPr>
          <p:nvPr>
            <p:ph type="body" idx="1"/>
          </p:nvPr>
        </p:nvSpPr>
        <p:spPr bwMode="gray">
          <a:xfrm>
            <a:off x="501651" y="3429000"/>
            <a:ext cx="10347324" cy="1566532"/>
          </a:xfrm>
          <a:prstGeom prst="rect">
            <a:avLst/>
          </a:prstGeom>
        </p:spPr>
        <p:txBody>
          <a:bodyPr lIns="0" tIns="0" rIns="0" bIns="0">
            <a:noAutofit/>
          </a:bodyPr>
          <a:lstStyle>
            <a:lvl1pPr marL="0" indent="0">
              <a:lnSpc>
                <a:spcPct val="95000"/>
              </a:lnSpc>
              <a:spcAft>
                <a:spcPts val="0"/>
              </a:spcAft>
              <a:buNone/>
              <a:defRPr sz="1800" b="0" i="0">
                <a:solidFill>
                  <a:srgbClr val="BDE5EE"/>
                </a:solidFill>
                <a:latin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Title 1">
            <a:extLst>
              <a:ext uri="{FF2B5EF4-FFF2-40B4-BE49-F238E27FC236}">
                <a16:creationId xmlns:a16="http://schemas.microsoft.com/office/drawing/2014/main" id="{31F78E2F-4E91-7A2E-EC6F-56059156EC69}"/>
              </a:ext>
            </a:extLst>
          </p:cNvPr>
          <p:cNvSpPr>
            <a:spLocks noGrp="1"/>
          </p:cNvSpPr>
          <p:nvPr>
            <p:ph type="title"/>
          </p:nvPr>
        </p:nvSpPr>
        <p:spPr bwMode="gray">
          <a:xfrm>
            <a:off x="501651" y="1670834"/>
            <a:ext cx="10347324" cy="1592403"/>
          </a:xfrm>
          <a:prstGeom prst="rect">
            <a:avLst/>
          </a:prstGeom>
        </p:spPr>
        <p:txBody>
          <a:bodyPr lIns="0" anchor="b"/>
          <a:lstStyle>
            <a:lvl1pPr>
              <a:lnSpc>
                <a:spcPct val="95000"/>
              </a:lnSpc>
              <a:defRPr sz="4000" b="1">
                <a:solidFill>
                  <a:srgbClr val="BDE5EE"/>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1633976555"/>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Light Gree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2620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0" imgH="531" progId="TCLayout.ActiveDocument.1">
                  <p:embed/>
                </p:oleObj>
              </mc:Choice>
              <mc:Fallback>
                <p:oleObj name="think-cell Foli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8" name="Rectangle 7">
            <a:extLst>
              <a:ext uri="{FF2B5EF4-FFF2-40B4-BE49-F238E27FC236}">
                <a16:creationId xmlns:a16="http://schemas.microsoft.com/office/drawing/2014/main" id="{A99A462F-4782-5E41-ACD3-83AEF1566836}"/>
              </a:ext>
            </a:extLst>
          </p:cNvPr>
          <p:cNvSpPr/>
          <p:nvPr userDrawn="1"/>
        </p:nvSpPr>
        <p:spPr>
          <a:xfrm>
            <a:off x="0" y="2960688"/>
            <a:ext cx="4918075" cy="3897312"/>
          </a:xfrm>
          <a:prstGeom prst="rect">
            <a:avLst/>
          </a:prstGeom>
          <a:solidFill>
            <a:srgbClr val="E3E4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a:solidFill>
                <a:schemeClr val="tx1"/>
              </a:solidFill>
            </a:endParaRPr>
          </a:p>
        </p:txBody>
      </p:sp>
      <p:sp>
        <p:nvSpPr>
          <p:cNvPr id="13" name="Picture Placeholder 2">
            <a:extLst>
              <a:ext uri="{FF2B5EF4-FFF2-40B4-BE49-F238E27FC236}">
                <a16:creationId xmlns:a16="http://schemas.microsoft.com/office/drawing/2014/main" id="{AF79DFB1-12B9-154E-85DE-BBEFE72107F9}"/>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rtl="0">
              <a:defRPr lang="en-US" sz="1000" b="1">
                <a:solidFill>
                  <a:schemeClr val="bg1"/>
                </a:solidFill>
              </a:defRPr>
            </a:lvl1pPr>
          </a:lstStyle>
          <a:p>
            <a:pPr marL="0" lvl="0" indent="0">
              <a:buNone/>
            </a:pPr>
            <a:r>
              <a:rPr lang="en-US"/>
              <a:t>Click icon to add picture</a:t>
            </a:r>
          </a:p>
        </p:txBody>
      </p:sp>
      <p:sp>
        <p:nvSpPr>
          <p:cNvPr id="9" name="Text Placeholder 4">
            <a:extLst>
              <a:ext uri="{FF2B5EF4-FFF2-40B4-BE49-F238E27FC236}">
                <a16:creationId xmlns:a16="http://schemas.microsoft.com/office/drawing/2014/main" id="{57AC47C3-0980-3041-98CD-0F3C4805295C}"/>
              </a:ext>
            </a:extLst>
          </p:cNvPr>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rtl="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10" name="Title 6">
            <a:extLst>
              <a:ext uri="{FF2B5EF4-FFF2-40B4-BE49-F238E27FC236}">
                <a16:creationId xmlns:a16="http://schemas.microsoft.com/office/drawing/2014/main" id="{0D80E525-57D3-674F-9309-A35888B75D65}"/>
              </a:ext>
            </a:extLst>
          </p:cNvPr>
          <p:cNvSpPr>
            <a:spLocks noGrp="1"/>
          </p:cNvSpPr>
          <p:nvPr>
            <p:ph type="title" hasCustomPrompt="1"/>
          </p:nvPr>
        </p:nvSpPr>
        <p:spPr>
          <a:xfrm>
            <a:off x="457200" y="3674028"/>
            <a:ext cx="3556000" cy="1736724"/>
          </a:xfrm>
          <a:noFill/>
        </p:spPr>
        <p:txBody>
          <a:bodyPr vert="horz" tIns="0" rIns="0" bIns="324000" anchor="b"/>
          <a:lstStyle>
            <a:lvl1pPr rtl="0">
              <a:defRPr/>
            </a:lvl1pPr>
          </a:lstStyle>
          <a:p>
            <a:r>
              <a:rPr lang="en-US"/>
              <a:t>Click to edit divider slide title</a:t>
            </a:r>
          </a:p>
        </p:txBody>
      </p:sp>
      <p:sp>
        <p:nvSpPr>
          <p:cNvPr id="11" name="Copyright">
            <a:extLst>
              <a:ext uri="{FF2B5EF4-FFF2-40B4-BE49-F238E27FC236}">
                <a16:creationId xmlns:a16="http://schemas.microsoft.com/office/drawing/2014/main" id="{9EDF03F0-4170-354F-A4E3-2C329FE25826}"/>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rtl="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3811801919"/>
      </p:ext>
    </p:extLst>
  </p:cSld>
  <p:clrMapOvr>
    <a:masterClrMapping/>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2EE392-1EB2-F043-8EB7-2599A7077F30}"/>
              </a:ext>
            </a:extLst>
          </p:cNvPr>
          <p:cNvSpPr/>
          <p:nvPr userDrawn="1"/>
        </p:nvSpPr>
        <p:spPr>
          <a:xfrm>
            <a:off x="0" y="2960688"/>
            <a:ext cx="4918075" cy="3897312"/>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a:solidFill>
                <a:schemeClr val="tx1"/>
              </a:solidFill>
            </a:endParaRPr>
          </a:p>
        </p:txBody>
      </p:sp>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89094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0" imgH="531" progId="TCLayout.ActiveDocument.1">
                  <p:embed/>
                </p:oleObj>
              </mc:Choice>
              <mc:Fallback>
                <p:oleObj name="think-cell Foli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4" name="Text Placeholder 4"/>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rtl="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7" name="Title 6">
            <a:extLst>
              <a:ext uri="{FF2B5EF4-FFF2-40B4-BE49-F238E27FC236}">
                <a16:creationId xmlns:a16="http://schemas.microsoft.com/office/drawing/2014/main" id="{A50BC9AC-9034-1648-BBD7-ED3AB5AF4A71}"/>
              </a:ext>
            </a:extLst>
          </p:cNvPr>
          <p:cNvSpPr>
            <a:spLocks noGrp="1"/>
          </p:cNvSpPr>
          <p:nvPr>
            <p:ph type="title" hasCustomPrompt="1"/>
          </p:nvPr>
        </p:nvSpPr>
        <p:spPr>
          <a:xfrm>
            <a:off x="457200" y="3674028"/>
            <a:ext cx="3556000" cy="1736724"/>
          </a:xfrm>
          <a:noFill/>
        </p:spPr>
        <p:txBody>
          <a:bodyPr vert="horz" tIns="0" rIns="0" bIns="324000" anchor="b"/>
          <a:lstStyle>
            <a:lvl1pPr rtl="0">
              <a:defRPr/>
            </a:lvl1pPr>
          </a:lstStyle>
          <a:p>
            <a:r>
              <a:rPr lang="en-US"/>
              <a:t>Click to edit divider slide title</a:t>
            </a:r>
          </a:p>
        </p:txBody>
      </p:sp>
      <p:sp>
        <p:nvSpPr>
          <p:cNvPr id="8" name="Picture Placeholder 2">
            <a:extLst>
              <a:ext uri="{FF2B5EF4-FFF2-40B4-BE49-F238E27FC236}">
                <a16:creationId xmlns:a16="http://schemas.microsoft.com/office/drawing/2014/main" id="{3F9E8D48-6EAD-D748-8068-FCDF6F1F7499}"/>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rtl="0">
              <a:defRPr lang="en-US" sz="1000" b="1">
                <a:solidFill>
                  <a:schemeClr val="bg1"/>
                </a:solidFill>
              </a:defRPr>
            </a:lvl1pPr>
          </a:lstStyle>
          <a:p>
            <a:pPr marL="0" lvl="0" indent="0">
              <a:buNone/>
            </a:pPr>
            <a:r>
              <a:rPr lang="en-US"/>
              <a:t>Click icon to add picture</a:t>
            </a:r>
          </a:p>
        </p:txBody>
      </p:sp>
      <p:sp>
        <p:nvSpPr>
          <p:cNvPr id="10" name="Copyright">
            <a:extLst>
              <a:ext uri="{FF2B5EF4-FFF2-40B4-BE49-F238E27FC236}">
                <a16:creationId xmlns:a16="http://schemas.microsoft.com/office/drawing/2014/main" id="{D9EEBBAA-DE3A-6E49-BB79-DF043F662ED8}"/>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rtl="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3</a:t>
            </a:r>
          </a:p>
        </p:txBody>
      </p:sp>
    </p:spTree>
    <p:extLst>
      <p:ext uri="{BB962C8B-B14F-4D97-AF65-F5344CB8AC3E}">
        <p14:creationId xmlns:p14="http://schemas.microsoft.com/office/powerpoint/2010/main" val="261332798"/>
      </p:ext>
    </p:extLst>
  </p:cSld>
  <p:clrMapOvr>
    <a:masterClrMapping/>
  </p:clrMapOvr>
  <p:transition>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Divider: Green">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2EE392-1EB2-F043-8EB7-2599A7077F30}"/>
              </a:ext>
            </a:extLst>
          </p:cNvPr>
          <p:cNvSpPr/>
          <p:nvPr userDrawn="1"/>
        </p:nvSpPr>
        <p:spPr>
          <a:xfrm>
            <a:off x="0" y="2960688"/>
            <a:ext cx="4918075" cy="3897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a:solidFill>
                <a:schemeClr val="tx1"/>
              </a:solidFill>
            </a:endParaRPr>
          </a:p>
        </p:txBody>
      </p:sp>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976410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0" imgH="531" progId="TCLayout.ActiveDocument.1">
                  <p:embed/>
                </p:oleObj>
              </mc:Choice>
              <mc:Fallback>
                <p:oleObj name="think-cell Foli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4" name="Text Placeholder 4"/>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rtl="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7" name="Title 6">
            <a:extLst>
              <a:ext uri="{FF2B5EF4-FFF2-40B4-BE49-F238E27FC236}">
                <a16:creationId xmlns:a16="http://schemas.microsoft.com/office/drawing/2014/main" id="{A50BC9AC-9034-1648-BBD7-ED3AB5AF4A71}"/>
              </a:ext>
            </a:extLst>
          </p:cNvPr>
          <p:cNvSpPr>
            <a:spLocks noGrp="1"/>
          </p:cNvSpPr>
          <p:nvPr>
            <p:ph type="title" hasCustomPrompt="1"/>
          </p:nvPr>
        </p:nvSpPr>
        <p:spPr>
          <a:xfrm>
            <a:off x="457200" y="3674028"/>
            <a:ext cx="3556000" cy="1736724"/>
          </a:xfrm>
          <a:noFill/>
        </p:spPr>
        <p:txBody>
          <a:bodyPr vert="horz" tIns="0" rIns="0" bIns="324000" anchor="b"/>
          <a:lstStyle>
            <a:lvl1pPr rtl="0">
              <a:defRPr/>
            </a:lvl1pPr>
          </a:lstStyle>
          <a:p>
            <a:r>
              <a:rPr lang="en-US"/>
              <a:t>Click to edit divider slide title</a:t>
            </a:r>
          </a:p>
        </p:txBody>
      </p:sp>
      <p:sp>
        <p:nvSpPr>
          <p:cNvPr id="8" name="Picture Placeholder 2">
            <a:extLst>
              <a:ext uri="{FF2B5EF4-FFF2-40B4-BE49-F238E27FC236}">
                <a16:creationId xmlns:a16="http://schemas.microsoft.com/office/drawing/2014/main" id="{3F9E8D48-6EAD-D748-8068-FCDF6F1F7499}"/>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rtl="0">
              <a:defRPr lang="en-US" sz="1000" b="1">
                <a:solidFill>
                  <a:schemeClr val="bg1"/>
                </a:solidFill>
              </a:defRPr>
            </a:lvl1pPr>
          </a:lstStyle>
          <a:p>
            <a:pPr marL="0" lvl="0" indent="0">
              <a:buNone/>
            </a:pPr>
            <a:r>
              <a:rPr lang="en-US"/>
              <a:t>Click icon to add picture</a:t>
            </a:r>
          </a:p>
        </p:txBody>
      </p:sp>
      <p:sp>
        <p:nvSpPr>
          <p:cNvPr id="10" name="Copyright">
            <a:extLst>
              <a:ext uri="{FF2B5EF4-FFF2-40B4-BE49-F238E27FC236}">
                <a16:creationId xmlns:a16="http://schemas.microsoft.com/office/drawing/2014/main" id="{D9EEBBAA-DE3A-6E49-BB79-DF043F662ED8}"/>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rtl="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3</a:t>
            </a:r>
          </a:p>
        </p:txBody>
      </p:sp>
    </p:spTree>
    <p:extLst>
      <p:ext uri="{BB962C8B-B14F-4D97-AF65-F5344CB8AC3E}">
        <p14:creationId xmlns:p14="http://schemas.microsoft.com/office/powerpoint/2010/main" val="1499734395"/>
      </p:ext>
    </p:extLst>
  </p:cSld>
  <p:clrMapOvr>
    <a:masterClrMapping/>
  </p:clrMapOvr>
  <p:transition>
    <p:fade/>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reakout: Green Background">
    <p:bg>
      <p:bgPr>
        <a:solidFill>
          <a:schemeClr val="accent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BDE23D-DFF6-60AD-BC57-86162AF8866F}"/>
              </a:ext>
            </a:extLst>
          </p:cNvPr>
          <p:cNvGraphicFramePr>
            <a:graphicFrameLocks noChangeAspect="1"/>
          </p:cNvGraphicFramePr>
          <p:nvPr userDrawn="1">
            <p:custDataLst>
              <p:tags r:id="rId1"/>
            </p:custDataLst>
            <p:extLst>
              <p:ext uri="{D42A27DB-BD31-4B8C-83A1-F6EECF244321}">
                <p14:modId xmlns:p14="http://schemas.microsoft.com/office/powerpoint/2010/main" val="3138069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D9BDE23D-DFF6-60AD-BC57-86162AF8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CBB97A2B-DC9C-B546-A027-9EAB5DEEB337}"/>
              </a:ext>
            </a:extLst>
          </p:cNvPr>
          <p:cNvSpPr>
            <a:spLocks noGrp="1"/>
          </p:cNvSpPr>
          <p:nvPr>
            <p:ph type="title" hasCustomPrompt="1"/>
          </p:nvPr>
        </p:nvSpPr>
        <p:spPr bwMode="gray">
          <a:xfrm>
            <a:off x="457200" y="342900"/>
            <a:ext cx="11277599" cy="6019799"/>
          </a:xfrm>
        </p:spPr>
        <p:txBody>
          <a:bodyPr vert="horz" anchor="ctr"/>
          <a:lstStyle>
            <a:lvl1pPr rtl="0">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39586947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062333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0" imgH="531" progId="TCLayout.ActiveDocument.1">
                  <p:embed/>
                </p:oleObj>
              </mc:Choice>
              <mc:Fallback>
                <p:oleObj name="think-cell Foli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8" name="Rectangle 7">
            <a:extLst>
              <a:ext uri="{FF2B5EF4-FFF2-40B4-BE49-F238E27FC236}">
                <a16:creationId xmlns:a16="http://schemas.microsoft.com/office/drawing/2014/main" id="{308B2CA8-16BE-7944-8D76-F8D2F0513EA5}"/>
              </a:ext>
            </a:extLst>
          </p:cNvPr>
          <p:cNvSpPr/>
          <p:nvPr userDrawn="1"/>
        </p:nvSpPr>
        <p:spPr>
          <a:xfrm>
            <a:off x="0" y="2960688"/>
            <a:ext cx="4918075" cy="3897312"/>
          </a:xfrm>
          <a:prstGeom prst="rect">
            <a:avLst/>
          </a:prstGeom>
          <a:solidFill>
            <a:srgbClr val="A0D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a:solidFill>
                <a:schemeClr val="tx1"/>
              </a:solidFill>
            </a:endParaRPr>
          </a:p>
        </p:txBody>
      </p:sp>
      <p:sp>
        <p:nvSpPr>
          <p:cNvPr id="13" name="Picture Placeholder 2">
            <a:extLst>
              <a:ext uri="{FF2B5EF4-FFF2-40B4-BE49-F238E27FC236}">
                <a16:creationId xmlns:a16="http://schemas.microsoft.com/office/drawing/2014/main" id="{52D66879-7BB2-9542-A331-350B77877CFA}"/>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rtl="0">
              <a:defRPr lang="en-US" sz="1000" b="1">
                <a:solidFill>
                  <a:schemeClr val="bg1"/>
                </a:solidFill>
              </a:defRPr>
            </a:lvl1pPr>
          </a:lstStyle>
          <a:p>
            <a:pPr marL="0" lvl="0" indent="0">
              <a:buNone/>
            </a:pPr>
            <a:r>
              <a:rPr lang="en-US"/>
              <a:t>Click icon to add picture</a:t>
            </a:r>
          </a:p>
        </p:txBody>
      </p:sp>
      <p:sp>
        <p:nvSpPr>
          <p:cNvPr id="11" name="Text Placeholder 4">
            <a:extLst>
              <a:ext uri="{FF2B5EF4-FFF2-40B4-BE49-F238E27FC236}">
                <a16:creationId xmlns:a16="http://schemas.microsoft.com/office/drawing/2014/main" id="{3B9FB602-2303-F348-AE19-6D43595E09BD}"/>
              </a:ext>
            </a:extLst>
          </p:cNvPr>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rtl="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12" name="Title 6">
            <a:extLst>
              <a:ext uri="{FF2B5EF4-FFF2-40B4-BE49-F238E27FC236}">
                <a16:creationId xmlns:a16="http://schemas.microsoft.com/office/drawing/2014/main" id="{BFB73D7C-02A4-7642-BDA8-87735868B4A5}"/>
              </a:ext>
            </a:extLst>
          </p:cNvPr>
          <p:cNvSpPr>
            <a:spLocks noGrp="1"/>
          </p:cNvSpPr>
          <p:nvPr>
            <p:ph type="title" hasCustomPrompt="1"/>
          </p:nvPr>
        </p:nvSpPr>
        <p:spPr>
          <a:xfrm>
            <a:off x="457200" y="3674028"/>
            <a:ext cx="3556000" cy="1736724"/>
          </a:xfrm>
          <a:noFill/>
        </p:spPr>
        <p:txBody>
          <a:bodyPr vert="horz" tIns="0" rIns="0" bIns="324000" anchor="b"/>
          <a:lstStyle>
            <a:lvl1pPr rtl="0">
              <a:defRPr/>
            </a:lvl1pPr>
          </a:lstStyle>
          <a:p>
            <a:r>
              <a:rPr lang="en-US"/>
              <a:t>Click to edit divider slide title</a:t>
            </a:r>
          </a:p>
        </p:txBody>
      </p:sp>
      <p:sp>
        <p:nvSpPr>
          <p:cNvPr id="14" name="Copyright">
            <a:extLst>
              <a:ext uri="{FF2B5EF4-FFF2-40B4-BE49-F238E27FC236}">
                <a16:creationId xmlns:a16="http://schemas.microsoft.com/office/drawing/2014/main" id="{2A32214B-A1DF-5B47-ABA5-7C3DFA75B75A}"/>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rtl="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2395201947"/>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reakout: Blue Background">
    <p:bg>
      <p:bgPr>
        <a:solidFill>
          <a:srgbClr val="0076A8"/>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BB91E5-3401-DF4A-302D-432D38E0B528}"/>
              </a:ext>
            </a:extLst>
          </p:cNvPr>
          <p:cNvGraphicFramePr>
            <a:graphicFrameLocks noChangeAspect="1"/>
          </p:cNvGraphicFramePr>
          <p:nvPr userDrawn="1">
            <p:custDataLst>
              <p:tags r:id="rId1"/>
            </p:custDataLst>
            <p:extLst>
              <p:ext uri="{D42A27DB-BD31-4B8C-83A1-F6EECF244321}">
                <p14:modId xmlns:p14="http://schemas.microsoft.com/office/powerpoint/2010/main" val="24906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D6BB91E5-3401-DF4A-302D-432D38E0B5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E48100B4-D0FF-D943-94D6-2FEDE695058F}"/>
              </a:ext>
            </a:extLst>
          </p:cNvPr>
          <p:cNvSpPr>
            <a:spLocks noGrp="1"/>
          </p:cNvSpPr>
          <p:nvPr>
            <p:ph type="title" hasCustomPrompt="1"/>
          </p:nvPr>
        </p:nvSpPr>
        <p:spPr bwMode="gray">
          <a:xfrm>
            <a:off x="457200" y="342900"/>
            <a:ext cx="11277599" cy="6019799"/>
          </a:xfrm>
        </p:spPr>
        <p:txBody>
          <a:bodyPr vert="horz" anchor="ctr"/>
          <a:lstStyle>
            <a:lvl1pPr rtl="0">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29510039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Teal">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2EE392-1EB2-F043-8EB7-2599A7077F30}"/>
              </a:ext>
            </a:extLst>
          </p:cNvPr>
          <p:cNvSpPr/>
          <p:nvPr userDrawn="1"/>
        </p:nvSpPr>
        <p:spPr>
          <a:xfrm>
            <a:off x="0" y="2960688"/>
            <a:ext cx="4918075" cy="3897312"/>
          </a:xfrm>
          <a:prstGeom prst="rect">
            <a:avLst/>
          </a:prstGeom>
          <a:solidFill>
            <a:srgbClr val="9DD4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a:solidFill>
                <a:schemeClr val="tx1"/>
              </a:solidFill>
            </a:endParaRPr>
          </a:p>
        </p:txBody>
      </p:sp>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13329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0" imgH="531" progId="TCLayout.ActiveDocument.1">
                  <p:embed/>
                </p:oleObj>
              </mc:Choice>
              <mc:Fallback>
                <p:oleObj name="think-cell Foli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8" name="Picture Placeholder 2">
            <a:extLst>
              <a:ext uri="{FF2B5EF4-FFF2-40B4-BE49-F238E27FC236}">
                <a16:creationId xmlns:a16="http://schemas.microsoft.com/office/drawing/2014/main" id="{3F9E8D48-6EAD-D748-8068-FCDF6F1F7499}"/>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rtl="0">
              <a:defRPr lang="en-US" sz="1000" b="1">
                <a:solidFill>
                  <a:schemeClr val="bg1"/>
                </a:solidFill>
              </a:defRPr>
            </a:lvl1pPr>
          </a:lstStyle>
          <a:p>
            <a:pPr marL="0" lvl="0" indent="0">
              <a:buNone/>
            </a:pPr>
            <a:r>
              <a:rPr lang="en-US"/>
              <a:t>Click icon to add picture</a:t>
            </a:r>
          </a:p>
        </p:txBody>
      </p:sp>
      <p:sp>
        <p:nvSpPr>
          <p:cNvPr id="10" name="Text Placeholder 4">
            <a:extLst>
              <a:ext uri="{FF2B5EF4-FFF2-40B4-BE49-F238E27FC236}">
                <a16:creationId xmlns:a16="http://schemas.microsoft.com/office/drawing/2014/main" id="{BD7AB011-B835-9B45-A8CC-D125D0767C98}"/>
              </a:ext>
            </a:extLst>
          </p:cNvPr>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rtl="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11" name="Title 6">
            <a:extLst>
              <a:ext uri="{FF2B5EF4-FFF2-40B4-BE49-F238E27FC236}">
                <a16:creationId xmlns:a16="http://schemas.microsoft.com/office/drawing/2014/main" id="{4E6DFC90-9549-0A4D-9CFD-60F28483ABD0}"/>
              </a:ext>
            </a:extLst>
          </p:cNvPr>
          <p:cNvSpPr>
            <a:spLocks noGrp="1"/>
          </p:cNvSpPr>
          <p:nvPr>
            <p:ph type="title" hasCustomPrompt="1"/>
          </p:nvPr>
        </p:nvSpPr>
        <p:spPr>
          <a:xfrm>
            <a:off x="457200" y="3674028"/>
            <a:ext cx="3556000" cy="1736724"/>
          </a:xfrm>
          <a:noFill/>
        </p:spPr>
        <p:txBody>
          <a:bodyPr vert="horz" tIns="0" rIns="0" bIns="324000" anchor="b"/>
          <a:lstStyle>
            <a:lvl1pPr rtl="0">
              <a:defRPr/>
            </a:lvl1pPr>
          </a:lstStyle>
          <a:p>
            <a:r>
              <a:rPr lang="en-US"/>
              <a:t>Click to edit divider slide title</a:t>
            </a:r>
          </a:p>
        </p:txBody>
      </p:sp>
      <p:sp>
        <p:nvSpPr>
          <p:cNvPr id="12" name="Copyright">
            <a:extLst>
              <a:ext uri="{FF2B5EF4-FFF2-40B4-BE49-F238E27FC236}">
                <a16:creationId xmlns:a16="http://schemas.microsoft.com/office/drawing/2014/main" id="{90157C37-0D27-FD43-8A10-2242610F5B9B}"/>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rtl="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1907881423"/>
      </p:ext>
    </p:extLst>
  </p:cSld>
  <p:clrMapOvr>
    <a:masterClrMapping/>
  </p:clrMapOvr>
  <p:transition>
    <p:fade/>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reakout: Teal Background">
    <p:bg>
      <p:bgPr>
        <a:solidFill>
          <a:srgbClr val="00ABAB"/>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B280CC2-A95E-FC25-BDAE-FC5374D338D0}"/>
              </a:ext>
            </a:extLst>
          </p:cNvPr>
          <p:cNvGraphicFramePr>
            <a:graphicFrameLocks noChangeAspect="1"/>
          </p:cNvGraphicFramePr>
          <p:nvPr userDrawn="1">
            <p:custDataLst>
              <p:tags r:id="rId1"/>
            </p:custDataLst>
            <p:extLst>
              <p:ext uri="{D42A27DB-BD31-4B8C-83A1-F6EECF244321}">
                <p14:modId xmlns:p14="http://schemas.microsoft.com/office/powerpoint/2010/main" val="365975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8B280CC2-A95E-FC25-BDAE-FC5374D338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36B74E22-AD71-1E4B-BC4F-D0ED3B20974F}"/>
              </a:ext>
            </a:extLst>
          </p:cNvPr>
          <p:cNvSpPr>
            <a:spLocks noGrp="1"/>
          </p:cNvSpPr>
          <p:nvPr>
            <p:ph type="title" hasCustomPrompt="1"/>
          </p:nvPr>
        </p:nvSpPr>
        <p:spPr bwMode="gray">
          <a:xfrm>
            <a:off x="457200" y="342900"/>
            <a:ext cx="11277599" cy="6019799"/>
          </a:xfrm>
        </p:spPr>
        <p:txBody>
          <a:bodyPr vert="horz" anchor="ctr"/>
          <a:lstStyle>
            <a:lvl1pPr rtl="0">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318461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reakout: Black Background">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2983AF1-959E-9AF4-C26C-6C558349092E}"/>
              </a:ext>
            </a:extLst>
          </p:cNvPr>
          <p:cNvGraphicFramePr>
            <a:graphicFrameLocks noChangeAspect="1"/>
          </p:cNvGraphicFramePr>
          <p:nvPr userDrawn="1">
            <p:custDataLst>
              <p:tags r:id="rId1"/>
            </p:custDataLst>
            <p:extLst>
              <p:ext uri="{D42A27DB-BD31-4B8C-83A1-F6EECF244321}">
                <p14:modId xmlns:p14="http://schemas.microsoft.com/office/powerpoint/2010/main" val="165157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C2983AF1-959E-9AF4-C26C-6C55834909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083C0C56-7904-0E4E-A633-8194DB37C9BC}"/>
              </a:ext>
            </a:extLst>
          </p:cNvPr>
          <p:cNvSpPr>
            <a:spLocks noGrp="1"/>
          </p:cNvSpPr>
          <p:nvPr>
            <p:ph type="title" hasCustomPrompt="1"/>
          </p:nvPr>
        </p:nvSpPr>
        <p:spPr bwMode="gray">
          <a:xfrm>
            <a:off x="457200" y="342900"/>
            <a:ext cx="11277599" cy="6019799"/>
          </a:xfrm>
        </p:spPr>
        <p:txBody>
          <a:bodyPr vert="horz" anchor="ctr"/>
          <a:lstStyle>
            <a:lvl1pPr rtl="0">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
        <p:nvSpPr>
          <p:cNvPr id="9" name="Copyright">
            <a:extLst>
              <a:ext uri="{FF2B5EF4-FFF2-40B4-BE49-F238E27FC236}">
                <a16:creationId xmlns:a16="http://schemas.microsoft.com/office/drawing/2014/main" id="{D875F993-9907-3D42-8C9C-69ADB2716460}"/>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rtl="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eloitte 2024</a:t>
            </a:r>
          </a:p>
        </p:txBody>
      </p:sp>
    </p:spTree>
    <p:extLst>
      <p:ext uri="{BB962C8B-B14F-4D97-AF65-F5344CB8AC3E}">
        <p14:creationId xmlns:p14="http://schemas.microsoft.com/office/powerpoint/2010/main" val="307013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reakout: Image Background">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DBAF52-C343-4A37-CCAD-CAC0B00A9400}"/>
              </a:ext>
            </a:extLst>
          </p:cNvPr>
          <p:cNvGraphicFramePr>
            <a:graphicFrameLocks noChangeAspect="1"/>
          </p:cNvGraphicFramePr>
          <p:nvPr userDrawn="1">
            <p:custDataLst>
              <p:tags r:id="rId1"/>
            </p:custDataLst>
            <p:extLst>
              <p:ext uri="{D42A27DB-BD31-4B8C-83A1-F6EECF244321}">
                <p14:modId xmlns:p14="http://schemas.microsoft.com/office/powerpoint/2010/main" val="2094774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A7DBAF52-C343-4A37-CCAD-CAC0B00A94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1F85C495-04C1-6141-A25D-B20A26ED3BF6}"/>
              </a:ext>
            </a:extLst>
          </p:cNvPr>
          <p:cNvSpPr>
            <a:spLocks noGrp="1"/>
          </p:cNvSpPr>
          <p:nvPr>
            <p:ph type="pic" sz="quarter" idx="12"/>
          </p:nvPr>
        </p:nvSpPr>
        <p:spPr>
          <a:xfrm>
            <a:off x="0" y="-1"/>
            <a:ext cx="12193200" cy="6858001"/>
          </a:xfrm>
        </p:spPr>
        <p:txBody>
          <a:bodyPr/>
          <a:lstStyle/>
          <a:p>
            <a:endParaRPr lang="en-US"/>
          </a:p>
        </p:txBody>
      </p:sp>
      <p:sp>
        <p:nvSpPr>
          <p:cNvPr id="7" name="Title 1">
            <a:extLst>
              <a:ext uri="{FF2B5EF4-FFF2-40B4-BE49-F238E27FC236}">
                <a16:creationId xmlns:a16="http://schemas.microsoft.com/office/drawing/2014/main" id="{9F7CBA93-855A-C543-81D5-8AB86EB50174}"/>
              </a:ext>
            </a:extLst>
          </p:cNvPr>
          <p:cNvSpPr>
            <a:spLocks noGrp="1"/>
          </p:cNvSpPr>
          <p:nvPr>
            <p:ph type="title" hasCustomPrompt="1"/>
          </p:nvPr>
        </p:nvSpPr>
        <p:spPr bwMode="gray">
          <a:xfrm>
            <a:off x="457201" y="342900"/>
            <a:ext cx="5486400" cy="6019799"/>
          </a:xfrm>
        </p:spPr>
        <p:txBody>
          <a:bodyPr vert="horz" anchor="ctr"/>
          <a:lstStyle>
            <a:lvl1pPr rtl="0">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23557672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Divider - Deloitte Accessible Green">
    <p:bg bwMode="gray">
      <p:bgPr>
        <a:solidFill>
          <a:schemeClr val="accent4"/>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E1B8A26D-9447-0DE3-EC7A-496F3D142FE7}"/>
              </a:ext>
            </a:extLst>
          </p:cNvPr>
          <p:cNvSpPr>
            <a:spLocks noGrp="1"/>
          </p:cNvSpPr>
          <p:nvPr>
            <p:ph type="title"/>
          </p:nvPr>
        </p:nvSpPr>
        <p:spPr bwMode="gray">
          <a:xfrm>
            <a:off x="501651" y="1670834"/>
            <a:ext cx="10347324" cy="1592403"/>
          </a:xfrm>
          <a:prstGeom prst="rect">
            <a:avLst/>
          </a:prstGeom>
        </p:spPr>
        <p:txBody>
          <a:bodyPr lIns="0" anchor="b"/>
          <a:lstStyle>
            <a:lvl1pPr>
              <a:lnSpc>
                <a:spcPct val="95000"/>
              </a:lnSpc>
              <a:defRPr sz="4000" b="1">
                <a:solidFill>
                  <a:srgbClr val="BBDFBB"/>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20" name="Text Placeholder 2">
            <a:extLst>
              <a:ext uri="{FF2B5EF4-FFF2-40B4-BE49-F238E27FC236}">
                <a16:creationId xmlns:a16="http://schemas.microsoft.com/office/drawing/2014/main" id="{2F140D79-07FE-B034-AEE9-CD50FB960B95}"/>
              </a:ext>
            </a:extLst>
          </p:cNvPr>
          <p:cNvSpPr>
            <a:spLocks noGrp="1"/>
          </p:cNvSpPr>
          <p:nvPr>
            <p:ph type="body" idx="1"/>
          </p:nvPr>
        </p:nvSpPr>
        <p:spPr bwMode="gray">
          <a:xfrm>
            <a:off x="501651" y="3429000"/>
            <a:ext cx="10347324" cy="1566532"/>
          </a:xfrm>
          <a:prstGeom prst="rect">
            <a:avLst/>
          </a:prstGeom>
        </p:spPr>
        <p:txBody>
          <a:bodyPr lIns="0" tIns="0" rIns="0" bIns="0">
            <a:noAutofit/>
          </a:bodyPr>
          <a:lstStyle>
            <a:lvl1pPr marL="0" indent="0">
              <a:lnSpc>
                <a:spcPct val="95000"/>
              </a:lnSpc>
              <a:spcAft>
                <a:spcPts val="0"/>
              </a:spcAft>
              <a:buNone/>
              <a:defRPr sz="1800" b="0" i="0">
                <a:solidFill>
                  <a:srgbClr val="BBDFBB"/>
                </a:solidFill>
                <a:latin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19361906"/>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Agend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30E19C1-28F0-2ED4-7855-8AAC48A309DA}"/>
              </a:ext>
            </a:extLst>
          </p:cNvPr>
          <p:cNvGraphicFramePr>
            <a:graphicFrameLocks noChangeAspect="1"/>
          </p:cNvGraphicFramePr>
          <p:nvPr userDrawn="1">
            <p:custDataLst>
              <p:tags r:id="rId1"/>
            </p:custDataLst>
            <p:extLst>
              <p:ext uri="{D42A27DB-BD31-4B8C-83A1-F6EECF244321}">
                <p14:modId xmlns:p14="http://schemas.microsoft.com/office/powerpoint/2010/main" val="3325570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230E19C1-28F0-2ED4-7855-8AAC48A30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4EDD9174-B0E2-914E-B7C9-79583B9D626E}"/>
              </a:ext>
            </a:extLst>
          </p:cNvPr>
          <p:cNvSpPr>
            <a:spLocks noGrp="1"/>
          </p:cNvSpPr>
          <p:nvPr>
            <p:ph type="body" sz="quarter" idx="22" hasCustomPrompt="1"/>
          </p:nvPr>
        </p:nvSpPr>
        <p:spPr>
          <a:xfrm>
            <a:off x="4949832" y="2487762"/>
            <a:ext cx="2165350" cy="430887"/>
          </a:xfrm>
        </p:spPr>
        <p:txBody>
          <a:bodyPr>
            <a:spAutoFit/>
          </a:bodyPr>
          <a:lstStyle>
            <a:lvl1pPr marL="0" indent="0" rtl="0">
              <a:buNone/>
              <a:defRPr sz="1400" b="0">
                <a:latin typeface="+mn-lt"/>
              </a:defRPr>
            </a:lvl1pPr>
          </a:lstStyle>
          <a:p>
            <a:pPr lvl="0"/>
            <a:r>
              <a:rPr lang="en-US"/>
              <a:t>Click here to add section titles for contents</a:t>
            </a:r>
          </a:p>
        </p:txBody>
      </p:sp>
      <p:sp>
        <p:nvSpPr>
          <p:cNvPr id="26" name="Title Placeholder 1">
            <a:extLst>
              <a:ext uri="{FF2B5EF4-FFF2-40B4-BE49-F238E27FC236}">
                <a16:creationId xmlns:a16="http://schemas.microsoft.com/office/drawing/2014/main" id="{3E34A764-31B0-3640-8028-9E387802A3D5}"/>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
        <p:nvSpPr>
          <p:cNvPr id="4" name="Text Placeholder 3">
            <a:extLst>
              <a:ext uri="{FF2B5EF4-FFF2-40B4-BE49-F238E27FC236}">
                <a16:creationId xmlns:a16="http://schemas.microsoft.com/office/drawing/2014/main" id="{288BFAA1-AB29-6048-90E4-1204FFF807E8}"/>
              </a:ext>
            </a:extLst>
          </p:cNvPr>
          <p:cNvSpPr>
            <a:spLocks noGrp="1"/>
          </p:cNvSpPr>
          <p:nvPr>
            <p:ph type="body" sz="quarter" idx="33" hasCustomPrompt="1"/>
          </p:nvPr>
        </p:nvSpPr>
        <p:spPr>
          <a:xfrm>
            <a:off x="4386616" y="2415396"/>
            <a:ext cx="416781" cy="492443"/>
          </a:xfrm>
        </p:spPr>
        <p:txBody>
          <a:bodyPr wrap="none" anchor="t">
            <a:spAutoFit/>
          </a:bodyPr>
          <a:lstStyle>
            <a:lvl1pPr algn="r" rtl="0">
              <a:defRPr sz="3200" b="0">
                <a:latin typeface="+mj-lt"/>
              </a:defRPr>
            </a:lvl1pPr>
          </a:lstStyle>
          <a:p>
            <a:pPr lvl="0"/>
            <a:r>
              <a:rPr lang="en-US"/>
              <a:t>00</a:t>
            </a:r>
          </a:p>
        </p:txBody>
      </p:sp>
      <p:sp>
        <p:nvSpPr>
          <p:cNvPr id="27" name="Text Placeholder 9">
            <a:extLst>
              <a:ext uri="{FF2B5EF4-FFF2-40B4-BE49-F238E27FC236}">
                <a16:creationId xmlns:a16="http://schemas.microsoft.com/office/drawing/2014/main" id="{872751B8-BCB3-544B-B360-9C758D971D3C}"/>
              </a:ext>
            </a:extLst>
          </p:cNvPr>
          <p:cNvSpPr>
            <a:spLocks noGrp="1"/>
          </p:cNvSpPr>
          <p:nvPr>
            <p:ph type="body" sz="quarter" idx="34" hasCustomPrompt="1"/>
          </p:nvPr>
        </p:nvSpPr>
        <p:spPr>
          <a:xfrm>
            <a:off x="4949832" y="3694232"/>
            <a:ext cx="2165350" cy="430887"/>
          </a:xfrm>
        </p:spPr>
        <p:txBody>
          <a:bodyPr>
            <a:spAutoFit/>
          </a:bodyPr>
          <a:lstStyle>
            <a:lvl1pPr marL="0" indent="0" rtl="0">
              <a:buNone/>
              <a:defRPr sz="1400" b="0">
                <a:latin typeface="+mn-lt"/>
              </a:defRPr>
            </a:lvl1pPr>
          </a:lstStyle>
          <a:p>
            <a:pPr lvl="0"/>
            <a:r>
              <a:rPr lang="en-US"/>
              <a:t>Click here to add section titles for contents</a:t>
            </a:r>
          </a:p>
        </p:txBody>
      </p:sp>
      <p:sp>
        <p:nvSpPr>
          <p:cNvPr id="28" name="Text Placeholder 3">
            <a:extLst>
              <a:ext uri="{FF2B5EF4-FFF2-40B4-BE49-F238E27FC236}">
                <a16:creationId xmlns:a16="http://schemas.microsoft.com/office/drawing/2014/main" id="{81FA948E-4AFD-B546-8D01-56B357ABF898}"/>
              </a:ext>
            </a:extLst>
          </p:cNvPr>
          <p:cNvSpPr>
            <a:spLocks noGrp="1"/>
          </p:cNvSpPr>
          <p:nvPr>
            <p:ph type="body" sz="quarter" idx="35" hasCustomPrompt="1"/>
          </p:nvPr>
        </p:nvSpPr>
        <p:spPr>
          <a:xfrm>
            <a:off x="4386616" y="3621866"/>
            <a:ext cx="416781" cy="492443"/>
          </a:xfrm>
        </p:spPr>
        <p:txBody>
          <a:bodyPr wrap="none" anchor="t">
            <a:spAutoFit/>
          </a:bodyPr>
          <a:lstStyle>
            <a:lvl1pPr algn="r" rtl="0">
              <a:defRPr sz="3200" b="0">
                <a:latin typeface="+mj-lt"/>
              </a:defRPr>
            </a:lvl1pPr>
          </a:lstStyle>
          <a:p>
            <a:pPr lvl="0"/>
            <a:r>
              <a:rPr lang="en-US"/>
              <a:t>00</a:t>
            </a:r>
          </a:p>
        </p:txBody>
      </p:sp>
      <p:sp>
        <p:nvSpPr>
          <p:cNvPr id="29" name="Text Placeholder 9">
            <a:extLst>
              <a:ext uri="{FF2B5EF4-FFF2-40B4-BE49-F238E27FC236}">
                <a16:creationId xmlns:a16="http://schemas.microsoft.com/office/drawing/2014/main" id="{8FA3C7B0-1884-AA4D-A35C-915541282DB5}"/>
              </a:ext>
            </a:extLst>
          </p:cNvPr>
          <p:cNvSpPr>
            <a:spLocks noGrp="1"/>
          </p:cNvSpPr>
          <p:nvPr>
            <p:ph type="body" sz="quarter" idx="36" hasCustomPrompt="1"/>
          </p:nvPr>
        </p:nvSpPr>
        <p:spPr>
          <a:xfrm>
            <a:off x="4949832" y="4964257"/>
            <a:ext cx="2165350" cy="430887"/>
          </a:xfrm>
        </p:spPr>
        <p:txBody>
          <a:bodyPr>
            <a:spAutoFit/>
          </a:bodyPr>
          <a:lstStyle>
            <a:lvl1pPr marL="0" indent="0" rtl="0">
              <a:buNone/>
              <a:defRPr sz="1400" b="0">
                <a:latin typeface="+mn-lt"/>
              </a:defRPr>
            </a:lvl1pPr>
          </a:lstStyle>
          <a:p>
            <a:pPr lvl="0"/>
            <a:r>
              <a:rPr lang="en-US"/>
              <a:t>Click here to add section titles for contents</a:t>
            </a:r>
          </a:p>
        </p:txBody>
      </p:sp>
      <p:sp>
        <p:nvSpPr>
          <p:cNvPr id="30" name="Text Placeholder 3">
            <a:extLst>
              <a:ext uri="{FF2B5EF4-FFF2-40B4-BE49-F238E27FC236}">
                <a16:creationId xmlns:a16="http://schemas.microsoft.com/office/drawing/2014/main" id="{6B9A4CFE-71CB-3949-80E5-55015461F35E}"/>
              </a:ext>
            </a:extLst>
          </p:cNvPr>
          <p:cNvSpPr>
            <a:spLocks noGrp="1"/>
          </p:cNvSpPr>
          <p:nvPr>
            <p:ph type="body" sz="quarter" idx="37" hasCustomPrompt="1"/>
          </p:nvPr>
        </p:nvSpPr>
        <p:spPr>
          <a:xfrm>
            <a:off x="4386616" y="4891891"/>
            <a:ext cx="416781" cy="492443"/>
          </a:xfrm>
        </p:spPr>
        <p:txBody>
          <a:bodyPr wrap="none" anchor="t">
            <a:spAutoFit/>
          </a:bodyPr>
          <a:lstStyle>
            <a:lvl1pPr algn="r" rtl="0">
              <a:defRPr sz="3200" b="0">
                <a:latin typeface="+mj-lt"/>
              </a:defRPr>
            </a:lvl1pPr>
          </a:lstStyle>
          <a:p>
            <a:pPr lvl="0"/>
            <a:r>
              <a:rPr lang="en-US"/>
              <a:t>00</a:t>
            </a:r>
          </a:p>
        </p:txBody>
      </p:sp>
      <p:sp>
        <p:nvSpPr>
          <p:cNvPr id="31" name="Text Placeholder 9">
            <a:extLst>
              <a:ext uri="{FF2B5EF4-FFF2-40B4-BE49-F238E27FC236}">
                <a16:creationId xmlns:a16="http://schemas.microsoft.com/office/drawing/2014/main" id="{217008E2-95F1-F544-9A60-67B4548E3454}"/>
              </a:ext>
            </a:extLst>
          </p:cNvPr>
          <p:cNvSpPr>
            <a:spLocks noGrp="1"/>
          </p:cNvSpPr>
          <p:nvPr>
            <p:ph type="body" sz="quarter" idx="38" hasCustomPrompt="1"/>
          </p:nvPr>
        </p:nvSpPr>
        <p:spPr>
          <a:xfrm>
            <a:off x="8810632" y="2487762"/>
            <a:ext cx="2165350" cy="430887"/>
          </a:xfrm>
        </p:spPr>
        <p:txBody>
          <a:bodyPr>
            <a:spAutoFit/>
          </a:bodyPr>
          <a:lstStyle>
            <a:lvl1pPr marL="0" indent="0" rtl="0">
              <a:buNone/>
              <a:defRPr sz="1400" b="0">
                <a:latin typeface="+mn-lt"/>
              </a:defRPr>
            </a:lvl1pPr>
          </a:lstStyle>
          <a:p>
            <a:pPr lvl="0"/>
            <a:r>
              <a:rPr lang="en-US"/>
              <a:t>Click here to add section titles for contents</a:t>
            </a:r>
          </a:p>
        </p:txBody>
      </p:sp>
      <p:sp>
        <p:nvSpPr>
          <p:cNvPr id="32" name="Text Placeholder 3">
            <a:extLst>
              <a:ext uri="{FF2B5EF4-FFF2-40B4-BE49-F238E27FC236}">
                <a16:creationId xmlns:a16="http://schemas.microsoft.com/office/drawing/2014/main" id="{071EE634-56F3-E043-BBFD-79C97FA4EE87}"/>
              </a:ext>
            </a:extLst>
          </p:cNvPr>
          <p:cNvSpPr>
            <a:spLocks noGrp="1"/>
          </p:cNvSpPr>
          <p:nvPr>
            <p:ph type="body" sz="quarter" idx="39" hasCustomPrompt="1"/>
          </p:nvPr>
        </p:nvSpPr>
        <p:spPr>
          <a:xfrm>
            <a:off x="8247416" y="2415396"/>
            <a:ext cx="416781" cy="492443"/>
          </a:xfrm>
        </p:spPr>
        <p:txBody>
          <a:bodyPr wrap="none" anchor="t">
            <a:spAutoFit/>
          </a:bodyPr>
          <a:lstStyle>
            <a:lvl1pPr algn="r" rtl="0">
              <a:defRPr sz="3200" b="0">
                <a:latin typeface="+mj-lt"/>
              </a:defRPr>
            </a:lvl1pPr>
          </a:lstStyle>
          <a:p>
            <a:pPr lvl="0"/>
            <a:r>
              <a:rPr lang="en-US"/>
              <a:t>00</a:t>
            </a:r>
          </a:p>
        </p:txBody>
      </p:sp>
      <p:sp>
        <p:nvSpPr>
          <p:cNvPr id="33" name="Text Placeholder 9">
            <a:extLst>
              <a:ext uri="{FF2B5EF4-FFF2-40B4-BE49-F238E27FC236}">
                <a16:creationId xmlns:a16="http://schemas.microsoft.com/office/drawing/2014/main" id="{8CDD00D7-7DAF-0B43-89F2-62A35CBDE33E}"/>
              </a:ext>
            </a:extLst>
          </p:cNvPr>
          <p:cNvSpPr>
            <a:spLocks noGrp="1"/>
          </p:cNvSpPr>
          <p:nvPr>
            <p:ph type="body" sz="quarter" idx="40" hasCustomPrompt="1"/>
          </p:nvPr>
        </p:nvSpPr>
        <p:spPr>
          <a:xfrm>
            <a:off x="8810632" y="3694232"/>
            <a:ext cx="2165350" cy="430887"/>
          </a:xfrm>
        </p:spPr>
        <p:txBody>
          <a:bodyPr>
            <a:spAutoFit/>
          </a:bodyPr>
          <a:lstStyle>
            <a:lvl1pPr marL="0" indent="0" rtl="0">
              <a:buNone/>
              <a:defRPr sz="1400" b="0">
                <a:latin typeface="+mn-lt"/>
              </a:defRPr>
            </a:lvl1pPr>
          </a:lstStyle>
          <a:p>
            <a:pPr lvl="0"/>
            <a:r>
              <a:rPr lang="en-US"/>
              <a:t>Click here to add section titles for contents</a:t>
            </a:r>
          </a:p>
        </p:txBody>
      </p:sp>
      <p:sp>
        <p:nvSpPr>
          <p:cNvPr id="34" name="Text Placeholder 3">
            <a:extLst>
              <a:ext uri="{FF2B5EF4-FFF2-40B4-BE49-F238E27FC236}">
                <a16:creationId xmlns:a16="http://schemas.microsoft.com/office/drawing/2014/main" id="{1C2D6D8A-3A45-C24D-8855-9188EF22FCE4}"/>
              </a:ext>
            </a:extLst>
          </p:cNvPr>
          <p:cNvSpPr>
            <a:spLocks noGrp="1"/>
          </p:cNvSpPr>
          <p:nvPr>
            <p:ph type="body" sz="quarter" idx="41" hasCustomPrompt="1"/>
          </p:nvPr>
        </p:nvSpPr>
        <p:spPr>
          <a:xfrm>
            <a:off x="8247416" y="3621866"/>
            <a:ext cx="416781" cy="492443"/>
          </a:xfrm>
        </p:spPr>
        <p:txBody>
          <a:bodyPr wrap="none" anchor="t">
            <a:spAutoFit/>
          </a:bodyPr>
          <a:lstStyle>
            <a:lvl1pPr algn="r" rtl="0">
              <a:defRPr sz="3200" b="0">
                <a:latin typeface="+mj-lt"/>
              </a:defRPr>
            </a:lvl1pPr>
          </a:lstStyle>
          <a:p>
            <a:pPr lvl="0"/>
            <a:r>
              <a:rPr lang="en-US"/>
              <a:t>00</a:t>
            </a:r>
          </a:p>
        </p:txBody>
      </p:sp>
      <p:sp>
        <p:nvSpPr>
          <p:cNvPr id="35" name="Text Placeholder 9">
            <a:extLst>
              <a:ext uri="{FF2B5EF4-FFF2-40B4-BE49-F238E27FC236}">
                <a16:creationId xmlns:a16="http://schemas.microsoft.com/office/drawing/2014/main" id="{1250780D-93AC-764B-9DEE-2897B33F6535}"/>
              </a:ext>
            </a:extLst>
          </p:cNvPr>
          <p:cNvSpPr>
            <a:spLocks noGrp="1"/>
          </p:cNvSpPr>
          <p:nvPr>
            <p:ph type="body" sz="quarter" idx="42" hasCustomPrompt="1"/>
          </p:nvPr>
        </p:nvSpPr>
        <p:spPr>
          <a:xfrm>
            <a:off x="8810632" y="4964257"/>
            <a:ext cx="2165350" cy="430887"/>
          </a:xfrm>
        </p:spPr>
        <p:txBody>
          <a:bodyPr>
            <a:spAutoFit/>
          </a:bodyPr>
          <a:lstStyle>
            <a:lvl1pPr marL="0" indent="0" rtl="0">
              <a:buNone/>
              <a:defRPr sz="1400" b="0">
                <a:latin typeface="+mn-lt"/>
              </a:defRPr>
            </a:lvl1pPr>
          </a:lstStyle>
          <a:p>
            <a:pPr lvl="0"/>
            <a:r>
              <a:rPr lang="en-US"/>
              <a:t>Click here to add section titles for contents</a:t>
            </a:r>
          </a:p>
        </p:txBody>
      </p:sp>
      <p:sp>
        <p:nvSpPr>
          <p:cNvPr id="36" name="Text Placeholder 3">
            <a:extLst>
              <a:ext uri="{FF2B5EF4-FFF2-40B4-BE49-F238E27FC236}">
                <a16:creationId xmlns:a16="http://schemas.microsoft.com/office/drawing/2014/main" id="{A9406CD1-1457-3643-AA85-EFAE3230C71C}"/>
              </a:ext>
            </a:extLst>
          </p:cNvPr>
          <p:cNvSpPr>
            <a:spLocks noGrp="1"/>
          </p:cNvSpPr>
          <p:nvPr>
            <p:ph type="body" sz="quarter" idx="43" hasCustomPrompt="1"/>
          </p:nvPr>
        </p:nvSpPr>
        <p:spPr>
          <a:xfrm>
            <a:off x="8247416" y="4891891"/>
            <a:ext cx="416781" cy="492443"/>
          </a:xfrm>
        </p:spPr>
        <p:txBody>
          <a:bodyPr wrap="none" anchor="t">
            <a:spAutoFit/>
          </a:bodyPr>
          <a:lstStyle>
            <a:lvl1pPr algn="r" rtl="0">
              <a:defRPr sz="3200" b="0">
                <a:latin typeface="+mj-lt"/>
              </a:defRPr>
            </a:lvl1pPr>
          </a:lstStyle>
          <a:p>
            <a:pPr lvl="0"/>
            <a:r>
              <a:rPr lang="en-US"/>
              <a:t>00</a:t>
            </a:r>
          </a:p>
        </p:txBody>
      </p:sp>
    </p:spTree>
    <p:extLst>
      <p:ext uri="{BB962C8B-B14F-4D97-AF65-F5344CB8AC3E}">
        <p14:creationId xmlns:p14="http://schemas.microsoft.com/office/powerpoint/2010/main" val="229181656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genda 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CFC4E67-7C6F-7612-431C-BB81F62BE41D}"/>
              </a:ext>
            </a:extLst>
          </p:cNvPr>
          <p:cNvGraphicFramePr>
            <a:graphicFrameLocks noChangeAspect="1"/>
          </p:cNvGraphicFramePr>
          <p:nvPr userDrawn="1">
            <p:custDataLst>
              <p:tags r:id="rId1"/>
            </p:custDataLst>
            <p:extLst>
              <p:ext uri="{D42A27DB-BD31-4B8C-83A1-F6EECF244321}">
                <p14:modId xmlns:p14="http://schemas.microsoft.com/office/powerpoint/2010/main" val="420090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3CFC4E67-7C6F-7612-431C-BB81F62BE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 Placeholder 9">
            <a:extLst>
              <a:ext uri="{FF2B5EF4-FFF2-40B4-BE49-F238E27FC236}">
                <a16:creationId xmlns:a16="http://schemas.microsoft.com/office/drawing/2014/main" id="{07EF2354-3168-FC44-90E3-0FE62F08819C}"/>
              </a:ext>
            </a:extLst>
          </p:cNvPr>
          <p:cNvSpPr>
            <a:spLocks noGrp="1"/>
          </p:cNvSpPr>
          <p:nvPr>
            <p:ph type="body" sz="quarter" idx="22" hasCustomPrompt="1"/>
          </p:nvPr>
        </p:nvSpPr>
        <p:spPr>
          <a:xfrm>
            <a:off x="2387601" y="2535554"/>
            <a:ext cx="1625599" cy="184666"/>
          </a:xfrm>
        </p:spPr>
        <p:txBody>
          <a:bodyPr wrap="square" anchor="b">
            <a:spAutoFit/>
          </a:bodyPr>
          <a:lstStyle>
            <a:lvl1pPr marL="0" indent="0" rtl="0">
              <a:buNone/>
              <a:defRPr sz="1200" b="1"/>
            </a:lvl1pPr>
          </a:lstStyle>
          <a:p>
            <a:pPr lvl="0"/>
            <a:r>
              <a:rPr lang="en-US"/>
              <a:t>Section titles</a:t>
            </a:r>
          </a:p>
        </p:txBody>
      </p:sp>
      <p:sp>
        <p:nvSpPr>
          <p:cNvPr id="26" name="Text Placeholder 9">
            <a:extLst>
              <a:ext uri="{FF2B5EF4-FFF2-40B4-BE49-F238E27FC236}">
                <a16:creationId xmlns:a16="http://schemas.microsoft.com/office/drawing/2014/main" id="{86350062-1A8F-F84F-A749-31682562DEE4}"/>
              </a:ext>
            </a:extLst>
          </p:cNvPr>
          <p:cNvSpPr>
            <a:spLocks noGrp="1"/>
          </p:cNvSpPr>
          <p:nvPr>
            <p:ph type="body" sz="quarter" idx="33" hasCustomPrompt="1"/>
          </p:nvPr>
        </p:nvSpPr>
        <p:spPr>
          <a:xfrm>
            <a:off x="2387601" y="2796222"/>
            <a:ext cx="1625599" cy="369332"/>
          </a:xfrm>
        </p:spPr>
        <p:txBody>
          <a:bodyPr wrap="square">
            <a:spAutoFit/>
          </a:bodyPr>
          <a:lstStyle>
            <a:lvl1pPr marL="0" indent="0" rtl="0">
              <a:buNone/>
              <a:defRPr sz="1200" b="0"/>
            </a:lvl1pPr>
          </a:lstStyle>
          <a:p>
            <a:pPr lvl="0"/>
            <a:r>
              <a:rPr lang="en-US"/>
              <a:t>Click here to add description</a:t>
            </a:r>
          </a:p>
        </p:txBody>
      </p:sp>
      <p:sp>
        <p:nvSpPr>
          <p:cNvPr id="27" name="Text Placeholder 9">
            <a:extLst>
              <a:ext uri="{FF2B5EF4-FFF2-40B4-BE49-F238E27FC236}">
                <a16:creationId xmlns:a16="http://schemas.microsoft.com/office/drawing/2014/main" id="{EBC6B21E-45F1-EA47-B1AD-55714589C3FD}"/>
              </a:ext>
            </a:extLst>
          </p:cNvPr>
          <p:cNvSpPr>
            <a:spLocks noGrp="1"/>
          </p:cNvSpPr>
          <p:nvPr>
            <p:ph type="body" sz="quarter" idx="58" hasCustomPrompt="1"/>
          </p:nvPr>
        </p:nvSpPr>
        <p:spPr>
          <a:xfrm>
            <a:off x="1741833" y="2514266"/>
            <a:ext cx="340967" cy="184666"/>
          </a:xfrm>
        </p:spPr>
        <p:txBody>
          <a:bodyPr wrap="square">
            <a:spAutoFit/>
          </a:bodyPr>
          <a:lstStyle>
            <a:lvl1pPr marL="0" indent="0" algn="r" rtl="0">
              <a:buNone/>
              <a:defRPr sz="1200" b="1"/>
            </a:lvl1pPr>
          </a:lstStyle>
          <a:p>
            <a:pPr lvl="0"/>
            <a:r>
              <a:rPr lang="en-US"/>
              <a:t>00</a:t>
            </a:r>
          </a:p>
        </p:txBody>
      </p:sp>
      <p:sp>
        <p:nvSpPr>
          <p:cNvPr id="28" name="Text Placeholder 9">
            <a:extLst>
              <a:ext uri="{FF2B5EF4-FFF2-40B4-BE49-F238E27FC236}">
                <a16:creationId xmlns:a16="http://schemas.microsoft.com/office/drawing/2014/main" id="{9A925B67-B7F6-D141-A090-7DCE6D23E40B}"/>
              </a:ext>
            </a:extLst>
          </p:cNvPr>
          <p:cNvSpPr>
            <a:spLocks noGrp="1"/>
          </p:cNvSpPr>
          <p:nvPr>
            <p:ph type="body" sz="quarter" idx="59" hasCustomPrompt="1"/>
          </p:nvPr>
        </p:nvSpPr>
        <p:spPr>
          <a:xfrm>
            <a:off x="1187041" y="2800287"/>
            <a:ext cx="895759" cy="184666"/>
          </a:xfrm>
        </p:spPr>
        <p:txBody>
          <a:bodyPr wrap="square">
            <a:spAutoFit/>
          </a:bodyPr>
          <a:lstStyle>
            <a:lvl1pPr marL="0" indent="0" algn="r" rtl="0">
              <a:buNone/>
              <a:defRPr lang="en-GB" sz="1200" b="0" i="0" smtClean="0">
                <a:effectLst/>
                <a:latin typeface="+mn-lt"/>
                <a:ea typeface="Open Sans" panose="020B0606030504020204" pitchFamily="34" charset="0"/>
                <a:cs typeface="Open Sans" panose="020B0606030504020204" pitchFamily="34" charset="0"/>
              </a:defRPr>
            </a:lvl1pPr>
          </a:lstStyle>
          <a:p>
            <a:pPr lvl="0"/>
            <a:r>
              <a:rPr lang="en-US"/>
              <a:t>00:00 – 00:00</a:t>
            </a:r>
          </a:p>
        </p:txBody>
      </p:sp>
      <p:sp>
        <p:nvSpPr>
          <p:cNvPr id="29" name="Text Placeholder 9">
            <a:extLst>
              <a:ext uri="{FF2B5EF4-FFF2-40B4-BE49-F238E27FC236}">
                <a16:creationId xmlns:a16="http://schemas.microsoft.com/office/drawing/2014/main" id="{387B04FF-911A-B841-AD0F-B945E1336F13}"/>
              </a:ext>
            </a:extLst>
          </p:cNvPr>
          <p:cNvSpPr>
            <a:spLocks noGrp="1"/>
          </p:cNvSpPr>
          <p:nvPr>
            <p:ph type="body" sz="quarter" idx="60" hasCustomPrompt="1"/>
          </p:nvPr>
        </p:nvSpPr>
        <p:spPr>
          <a:xfrm>
            <a:off x="2387601" y="3738879"/>
            <a:ext cx="1625599" cy="184666"/>
          </a:xfrm>
        </p:spPr>
        <p:txBody>
          <a:bodyPr wrap="square" anchor="b">
            <a:spAutoFit/>
          </a:bodyPr>
          <a:lstStyle>
            <a:lvl1pPr marL="0" indent="0" rtl="0">
              <a:buNone/>
              <a:defRPr sz="1200" b="1"/>
            </a:lvl1pPr>
          </a:lstStyle>
          <a:p>
            <a:pPr lvl="0"/>
            <a:r>
              <a:rPr lang="en-US"/>
              <a:t>Section titles</a:t>
            </a:r>
          </a:p>
        </p:txBody>
      </p:sp>
      <p:sp>
        <p:nvSpPr>
          <p:cNvPr id="30" name="Text Placeholder 9">
            <a:extLst>
              <a:ext uri="{FF2B5EF4-FFF2-40B4-BE49-F238E27FC236}">
                <a16:creationId xmlns:a16="http://schemas.microsoft.com/office/drawing/2014/main" id="{22A8CDA1-4DDA-924E-9729-6ABF74676237}"/>
              </a:ext>
            </a:extLst>
          </p:cNvPr>
          <p:cNvSpPr>
            <a:spLocks noGrp="1"/>
          </p:cNvSpPr>
          <p:nvPr>
            <p:ph type="body" sz="quarter" idx="61" hasCustomPrompt="1"/>
          </p:nvPr>
        </p:nvSpPr>
        <p:spPr>
          <a:xfrm>
            <a:off x="2387601" y="3999547"/>
            <a:ext cx="1625599" cy="369332"/>
          </a:xfrm>
        </p:spPr>
        <p:txBody>
          <a:bodyPr wrap="square">
            <a:spAutoFit/>
          </a:bodyPr>
          <a:lstStyle>
            <a:lvl1pPr marL="0" indent="0" rtl="0">
              <a:buNone/>
              <a:defRPr sz="1200" b="0"/>
            </a:lvl1pPr>
          </a:lstStyle>
          <a:p>
            <a:pPr lvl="0"/>
            <a:r>
              <a:rPr lang="en-US"/>
              <a:t>Click here to add description</a:t>
            </a:r>
          </a:p>
        </p:txBody>
      </p:sp>
      <p:sp>
        <p:nvSpPr>
          <p:cNvPr id="31" name="Text Placeholder 9">
            <a:extLst>
              <a:ext uri="{FF2B5EF4-FFF2-40B4-BE49-F238E27FC236}">
                <a16:creationId xmlns:a16="http://schemas.microsoft.com/office/drawing/2014/main" id="{39131D16-4716-514D-927D-44AAF75A4FBD}"/>
              </a:ext>
            </a:extLst>
          </p:cNvPr>
          <p:cNvSpPr>
            <a:spLocks noGrp="1"/>
          </p:cNvSpPr>
          <p:nvPr>
            <p:ph type="body" sz="quarter" idx="62" hasCustomPrompt="1"/>
          </p:nvPr>
        </p:nvSpPr>
        <p:spPr>
          <a:xfrm>
            <a:off x="1741833" y="3717591"/>
            <a:ext cx="340967" cy="184666"/>
          </a:xfrm>
        </p:spPr>
        <p:txBody>
          <a:bodyPr wrap="square">
            <a:spAutoFit/>
          </a:bodyPr>
          <a:lstStyle>
            <a:lvl1pPr marL="0" indent="0" algn="r" rtl="0">
              <a:buNone/>
              <a:defRPr sz="1200" b="1"/>
            </a:lvl1pPr>
          </a:lstStyle>
          <a:p>
            <a:pPr lvl="0"/>
            <a:r>
              <a:rPr lang="en-US"/>
              <a:t>00</a:t>
            </a:r>
          </a:p>
        </p:txBody>
      </p:sp>
      <p:sp>
        <p:nvSpPr>
          <p:cNvPr id="32" name="Text Placeholder 9">
            <a:extLst>
              <a:ext uri="{FF2B5EF4-FFF2-40B4-BE49-F238E27FC236}">
                <a16:creationId xmlns:a16="http://schemas.microsoft.com/office/drawing/2014/main" id="{6B685322-EE9D-9E48-8650-4DE849CC2B4B}"/>
              </a:ext>
            </a:extLst>
          </p:cNvPr>
          <p:cNvSpPr>
            <a:spLocks noGrp="1"/>
          </p:cNvSpPr>
          <p:nvPr>
            <p:ph type="body" sz="quarter" idx="63" hasCustomPrompt="1"/>
          </p:nvPr>
        </p:nvSpPr>
        <p:spPr>
          <a:xfrm>
            <a:off x="1187041" y="4003612"/>
            <a:ext cx="895759" cy="184666"/>
          </a:xfrm>
        </p:spPr>
        <p:txBody>
          <a:bodyPr wrap="square">
            <a:spAutoFit/>
          </a:bodyPr>
          <a:lstStyle>
            <a:lvl1pPr marL="0" indent="0" algn="r" rtl="0">
              <a:buNone/>
              <a:defRPr lang="en-GB" sz="1200" b="0" i="0" smtClean="0">
                <a:effectLst/>
                <a:latin typeface="+mn-lt"/>
                <a:ea typeface="Open Sans" panose="020B0606030504020204" pitchFamily="34" charset="0"/>
                <a:cs typeface="Open Sans" panose="020B0606030504020204" pitchFamily="34" charset="0"/>
              </a:defRPr>
            </a:lvl1pPr>
          </a:lstStyle>
          <a:p>
            <a:pPr lvl="0"/>
            <a:r>
              <a:rPr lang="en-US"/>
              <a:t>00:00 – 00:00</a:t>
            </a:r>
          </a:p>
        </p:txBody>
      </p:sp>
      <p:sp>
        <p:nvSpPr>
          <p:cNvPr id="33" name="Text Placeholder 9">
            <a:extLst>
              <a:ext uri="{FF2B5EF4-FFF2-40B4-BE49-F238E27FC236}">
                <a16:creationId xmlns:a16="http://schemas.microsoft.com/office/drawing/2014/main" id="{8BE801D1-2949-8A43-AB85-B8AFCE5748FF}"/>
              </a:ext>
            </a:extLst>
          </p:cNvPr>
          <p:cNvSpPr>
            <a:spLocks noGrp="1"/>
          </p:cNvSpPr>
          <p:nvPr>
            <p:ph type="body" sz="quarter" idx="64" hasCustomPrompt="1"/>
          </p:nvPr>
        </p:nvSpPr>
        <p:spPr>
          <a:xfrm>
            <a:off x="2387601" y="4945379"/>
            <a:ext cx="1625599" cy="184666"/>
          </a:xfrm>
        </p:spPr>
        <p:txBody>
          <a:bodyPr wrap="square" anchor="b">
            <a:spAutoFit/>
          </a:bodyPr>
          <a:lstStyle>
            <a:lvl1pPr marL="0" indent="0" rtl="0">
              <a:buNone/>
              <a:defRPr sz="1200" b="1"/>
            </a:lvl1pPr>
          </a:lstStyle>
          <a:p>
            <a:pPr lvl="0"/>
            <a:r>
              <a:rPr lang="en-US"/>
              <a:t>Section titles</a:t>
            </a:r>
          </a:p>
        </p:txBody>
      </p:sp>
      <p:sp>
        <p:nvSpPr>
          <p:cNvPr id="34" name="Text Placeholder 9">
            <a:extLst>
              <a:ext uri="{FF2B5EF4-FFF2-40B4-BE49-F238E27FC236}">
                <a16:creationId xmlns:a16="http://schemas.microsoft.com/office/drawing/2014/main" id="{E935D8FC-368A-6643-886E-5C968129D812}"/>
              </a:ext>
            </a:extLst>
          </p:cNvPr>
          <p:cNvSpPr>
            <a:spLocks noGrp="1"/>
          </p:cNvSpPr>
          <p:nvPr>
            <p:ph type="body" sz="quarter" idx="65" hasCustomPrompt="1"/>
          </p:nvPr>
        </p:nvSpPr>
        <p:spPr>
          <a:xfrm>
            <a:off x="2387601" y="5206047"/>
            <a:ext cx="1625599" cy="369332"/>
          </a:xfrm>
        </p:spPr>
        <p:txBody>
          <a:bodyPr wrap="square">
            <a:spAutoFit/>
          </a:bodyPr>
          <a:lstStyle>
            <a:lvl1pPr marL="0" indent="0" rtl="0">
              <a:buNone/>
              <a:defRPr sz="1200" b="0"/>
            </a:lvl1pPr>
          </a:lstStyle>
          <a:p>
            <a:pPr lvl="0"/>
            <a:r>
              <a:rPr lang="en-US"/>
              <a:t>Click here to add description</a:t>
            </a:r>
          </a:p>
        </p:txBody>
      </p:sp>
      <p:sp>
        <p:nvSpPr>
          <p:cNvPr id="35" name="Text Placeholder 9">
            <a:extLst>
              <a:ext uri="{FF2B5EF4-FFF2-40B4-BE49-F238E27FC236}">
                <a16:creationId xmlns:a16="http://schemas.microsoft.com/office/drawing/2014/main" id="{1700A194-E164-FA4A-BE05-BF39D244AE3B}"/>
              </a:ext>
            </a:extLst>
          </p:cNvPr>
          <p:cNvSpPr>
            <a:spLocks noGrp="1"/>
          </p:cNvSpPr>
          <p:nvPr>
            <p:ph type="body" sz="quarter" idx="66" hasCustomPrompt="1"/>
          </p:nvPr>
        </p:nvSpPr>
        <p:spPr>
          <a:xfrm>
            <a:off x="1741833" y="4924091"/>
            <a:ext cx="340967" cy="184666"/>
          </a:xfrm>
        </p:spPr>
        <p:txBody>
          <a:bodyPr wrap="square">
            <a:spAutoFit/>
          </a:bodyPr>
          <a:lstStyle>
            <a:lvl1pPr marL="0" indent="0" algn="r" rtl="0">
              <a:buNone/>
              <a:defRPr sz="1200" b="1"/>
            </a:lvl1pPr>
          </a:lstStyle>
          <a:p>
            <a:pPr lvl="0"/>
            <a:r>
              <a:rPr lang="en-US"/>
              <a:t>00</a:t>
            </a:r>
          </a:p>
        </p:txBody>
      </p:sp>
      <p:sp>
        <p:nvSpPr>
          <p:cNvPr id="36" name="Text Placeholder 9">
            <a:extLst>
              <a:ext uri="{FF2B5EF4-FFF2-40B4-BE49-F238E27FC236}">
                <a16:creationId xmlns:a16="http://schemas.microsoft.com/office/drawing/2014/main" id="{0343F85A-8EFF-AC41-A971-8DB9CC0FD7A5}"/>
              </a:ext>
            </a:extLst>
          </p:cNvPr>
          <p:cNvSpPr>
            <a:spLocks noGrp="1"/>
          </p:cNvSpPr>
          <p:nvPr>
            <p:ph type="body" sz="quarter" idx="67" hasCustomPrompt="1"/>
          </p:nvPr>
        </p:nvSpPr>
        <p:spPr>
          <a:xfrm>
            <a:off x="1187041" y="5210112"/>
            <a:ext cx="895759" cy="184666"/>
          </a:xfrm>
        </p:spPr>
        <p:txBody>
          <a:bodyPr wrap="square">
            <a:spAutoFit/>
          </a:bodyPr>
          <a:lstStyle>
            <a:lvl1pPr marL="0" indent="0" algn="r" rtl="0">
              <a:buNone/>
              <a:defRPr lang="en-GB" sz="1200" b="0" i="0" smtClean="0">
                <a:effectLst/>
                <a:latin typeface="+mn-lt"/>
                <a:ea typeface="Open Sans" panose="020B0606030504020204" pitchFamily="34" charset="0"/>
                <a:cs typeface="Open Sans" panose="020B0606030504020204" pitchFamily="34" charset="0"/>
              </a:defRPr>
            </a:lvl1pPr>
          </a:lstStyle>
          <a:p>
            <a:pPr lvl="0"/>
            <a:r>
              <a:rPr lang="en-US"/>
              <a:t>00:00 – 00:00</a:t>
            </a:r>
          </a:p>
        </p:txBody>
      </p:sp>
      <p:sp>
        <p:nvSpPr>
          <p:cNvPr id="62" name="Text Placeholder 8">
            <a:extLst>
              <a:ext uri="{FF2B5EF4-FFF2-40B4-BE49-F238E27FC236}">
                <a16:creationId xmlns:a16="http://schemas.microsoft.com/office/drawing/2014/main" id="{3A686253-A686-2342-9037-A7421285A102}"/>
              </a:ext>
            </a:extLst>
          </p:cNvPr>
          <p:cNvSpPr>
            <a:spLocks noGrp="1"/>
          </p:cNvSpPr>
          <p:nvPr>
            <p:ph type="body" sz="quarter" idx="9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
        <p:nvSpPr>
          <p:cNvPr id="63" name="Title Placeholder 1">
            <a:extLst>
              <a:ext uri="{FF2B5EF4-FFF2-40B4-BE49-F238E27FC236}">
                <a16:creationId xmlns:a16="http://schemas.microsoft.com/office/drawing/2014/main" id="{B3B84B43-8951-9F44-B4AA-45334D35BCCE}"/>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
        <p:nvSpPr>
          <p:cNvPr id="64" name="Text Placeholder 9">
            <a:extLst>
              <a:ext uri="{FF2B5EF4-FFF2-40B4-BE49-F238E27FC236}">
                <a16:creationId xmlns:a16="http://schemas.microsoft.com/office/drawing/2014/main" id="{52728377-51A3-044F-AB90-ADC243E58A97}"/>
              </a:ext>
            </a:extLst>
          </p:cNvPr>
          <p:cNvSpPr>
            <a:spLocks noGrp="1"/>
          </p:cNvSpPr>
          <p:nvPr>
            <p:ph type="body" sz="quarter" idx="93" hasCustomPrompt="1"/>
          </p:nvPr>
        </p:nvSpPr>
        <p:spPr>
          <a:xfrm>
            <a:off x="6258561" y="2535554"/>
            <a:ext cx="1615439" cy="184666"/>
          </a:xfrm>
        </p:spPr>
        <p:txBody>
          <a:bodyPr wrap="square" anchor="b">
            <a:spAutoFit/>
          </a:bodyPr>
          <a:lstStyle>
            <a:lvl1pPr marL="0" indent="0" rtl="0">
              <a:buNone/>
              <a:defRPr sz="1200" b="1"/>
            </a:lvl1pPr>
          </a:lstStyle>
          <a:p>
            <a:pPr lvl="0"/>
            <a:r>
              <a:rPr lang="en-US"/>
              <a:t>Section titles</a:t>
            </a:r>
          </a:p>
        </p:txBody>
      </p:sp>
      <p:sp>
        <p:nvSpPr>
          <p:cNvPr id="65" name="Text Placeholder 9">
            <a:extLst>
              <a:ext uri="{FF2B5EF4-FFF2-40B4-BE49-F238E27FC236}">
                <a16:creationId xmlns:a16="http://schemas.microsoft.com/office/drawing/2014/main" id="{C74BDD2A-C94E-7145-9AF6-DBA58DDFD47F}"/>
              </a:ext>
            </a:extLst>
          </p:cNvPr>
          <p:cNvSpPr>
            <a:spLocks noGrp="1"/>
          </p:cNvSpPr>
          <p:nvPr>
            <p:ph type="body" sz="quarter" idx="94" hasCustomPrompt="1"/>
          </p:nvPr>
        </p:nvSpPr>
        <p:spPr>
          <a:xfrm>
            <a:off x="6258561" y="2796222"/>
            <a:ext cx="1615439" cy="369332"/>
          </a:xfrm>
        </p:spPr>
        <p:txBody>
          <a:bodyPr wrap="square">
            <a:spAutoFit/>
          </a:bodyPr>
          <a:lstStyle>
            <a:lvl1pPr marL="0" indent="0" rtl="0">
              <a:buNone/>
              <a:defRPr sz="1200" b="0"/>
            </a:lvl1pPr>
          </a:lstStyle>
          <a:p>
            <a:pPr lvl="0"/>
            <a:r>
              <a:rPr lang="en-US"/>
              <a:t>Click here to add description</a:t>
            </a:r>
          </a:p>
        </p:txBody>
      </p:sp>
      <p:sp>
        <p:nvSpPr>
          <p:cNvPr id="66" name="Text Placeholder 9">
            <a:extLst>
              <a:ext uri="{FF2B5EF4-FFF2-40B4-BE49-F238E27FC236}">
                <a16:creationId xmlns:a16="http://schemas.microsoft.com/office/drawing/2014/main" id="{1990CA40-77FB-EC42-B1CC-5431AAEB7409}"/>
              </a:ext>
            </a:extLst>
          </p:cNvPr>
          <p:cNvSpPr>
            <a:spLocks noGrp="1"/>
          </p:cNvSpPr>
          <p:nvPr>
            <p:ph type="body" sz="quarter" idx="95" hasCustomPrompt="1"/>
          </p:nvPr>
        </p:nvSpPr>
        <p:spPr>
          <a:xfrm>
            <a:off x="5592473" y="2514266"/>
            <a:ext cx="340967" cy="184666"/>
          </a:xfrm>
        </p:spPr>
        <p:txBody>
          <a:bodyPr wrap="square">
            <a:spAutoFit/>
          </a:bodyPr>
          <a:lstStyle>
            <a:lvl1pPr marL="0" indent="0" algn="r" rtl="0">
              <a:buNone/>
              <a:defRPr sz="1200" b="1"/>
            </a:lvl1pPr>
          </a:lstStyle>
          <a:p>
            <a:pPr lvl="0"/>
            <a:r>
              <a:rPr lang="en-US"/>
              <a:t>00</a:t>
            </a:r>
          </a:p>
        </p:txBody>
      </p:sp>
      <p:sp>
        <p:nvSpPr>
          <p:cNvPr id="67" name="Text Placeholder 9">
            <a:extLst>
              <a:ext uri="{FF2B5EF4-FFF2-40B4-BE49-F238E27FC236}">
                <a16:creationId xmlns:a16="http://schemas.microsoft.com/office/drawing/2014/main" id="{19DE56C4-476E-2A4F-BC17-C255C95238D6}"/>
              </a:ext>
            </a:extLst>
          </p:cNvPr>
          <p:cNvSpPr>
            <a:spLocks noGrp="1"/>
          </p:cNvSpPr>
          <p:nvPr>
            <p:ph type="body" sz="quarter" idx="96" hasCustomPrompt="1"/>
          </p:nvPr>
        </p:nvSpPr>
        <p:spPr>
          <a:xfrm>
            <a:off x="5037681" y="2800287"/>
            <a:ext cx="895759" cy="184666"/>
          </a:xfrm>
        </p:spPr>
        <p:txBody>
          <a:bodyPr wrap="square">
            <a:spAutoFit/>
          </a:bodyPr>
          <a:lstStyle>
            <a:lvl1pPr marL="0" indent="0" algn="r" rtl="0">
              <a:buNone/>
              <a:defRPr lang="en-GB" sz="1200" b="0" i="0" smtClean="0">
                <a:effectLst/>
                <a:latin typeface="+mn-lt"/>
                <a:ea typeface="Open Sans" panose="020B0606030504020204" pitchFamily="34" charset="0"/>
                <a:cs typeface="Open Sans" panose="020B0606030504020204" pitchFamily="34" charset="0"/>
              </a:defRPr>
            </a:lvl1pPr>
          </a:lstStyle>
          <a:p>
            <a:pPr lvl="0"/>
            <a:r>
              <a:rPr lang="en-US"/>
              <a:t>00:00 – 00:00</a:t>
            </a:r>
          </a:p>
        </p:txBody>
      </p:sp>
      <p:sp>
        <p:nvSpPr>
          <p:cNvPr id="68" name="Text Placeholder 9">
            <a:extLst>
              <a:ext uri="{FF2B5EF4-FFF2-40B4-BE49-F238E27FC236}">
                <a16:creationId xmlns:a16="http://schemas.microsoft.com/office/drawing/2014/main" id="{93130EC9-7FB4-274A-A84C-E9979FB62437}"/>
              </a:ext>
            </a:extLst>
          </p:cNvPr>
          <p:cNvSpPr>
            <a:spLocks noGrp="1"/>
          </p:cNvSpPr>
          <p:nvPr>
            <p:ph type="body" sz="quarter" idx="97" hasCustomPrompt="1"/>
          </p:nvPr>
        </p:nvSpPr>
        <p:spPr>
          <a:xfrm>
            <a:off x="6258561" y="3738879"/>
            <a:ext cx="1615439" cy="184666"/>
          </a:xfrm>
        </p:spPr>
        <p:txBody>
          <a:bodyPr wrap="square" anchor="b">
            <a:spAutoFit/>
          </a:bodyPr>
          <a:lstStyle>
            <a:lvl1pPr marL="0" indent="0" rtl="0">
              <a:buNone/>
              <a:defRPr sz="1200" b="1"/>
            </a:lvl1pPr>
          </a:lstStyle>
          <a:p>
            <a:pPr lvl="0"/>
            <a:r>
              <a:rPr lang="en-US"/>
              <a:t>Section titles</a:t>
            </a:r>
          </a:p>
        </p:txBody>
      </p:sp>
      <p:sp>
        <p:nvSpPr>
          <p:cNvPr id="69" name="Text Placeholder 9">
            <a:extLst>
              <a:ext uri="{FF2B5EF4-FFF2-40B4-BE49-F238E27FC236}">
                <a16:creationId xmlns:a16="http://schemas.microsoft.com/office/drawing/2014/main" id="{FC1CF030-DAB8-8F43-94CE-E64D733BCC32}"/>
              </a:ext>
            </a:extLst>
          </p:cNvPr>
          <p:cNvSpPr>
            <a:spLocks noGrp="1"/>
          </p:cNvSpPr>
          <p:nvPr>
            <p:ph type="body" sz="quarter" idx="98" hasCustomPrompt="1"/>
          </p:nvPr>
        </p:nvSpPr>
        <p:spPr>
          <a:xfrm>
            <a:off x="6258561" y="3999547"/>
            <a:ext cx="1615439" cy="369332"/>
          </a:xfrm>
        </p:spPr>
        <p:txBody>
          <a:bodyPr wrap="square">
            <a:spAutoFit/>
          </a:bodyPr>
          <a:lstStyle>
            <a:lvl1pPr marL="0" indent="0" rtl="0">
              <a:buNone/>
              <a:defRPr sz="1200" b="0"/>
            </a:lvl1pPr>
          </a:lstStyle>
          <a:p>
            <a:pPr lvl="0"/>
            <a:r>
              <a:rPr lang="en-US"/>
              <a:t>Click here to add description</a:t>
            </a:r>
          </a:p>
        </p:txBody>
      </p:sp>
      <p:sp>
        <p:nvSpPr>
          <p:cNvPr id="70" name="Text Placeholder 9">
            <a:extLst>
              <a:ext uri="{FF2B5EF4-FFF2-40B4-BE49-F238E27FC236}">
                <a16:creationId xmlns:a16="http://schemas.microsoft.com/office/drawing/2014/main" id="{832662F2-D2FA-904F-A721-CF7F092483C6}"/>
              </a:ext>
            </a:extLst>
          </p:cNvPr>
          <p:cNvSpPr>
            <a:spLocks noGrp="1"/>
          </p:cNvSpPr>
          <p:nvPr>
            <p:ph type="body" sz="quarter" idx="99" hasCustomPrompt="1"/>
          </p:nvPr>
        </p:nvSpPr>
        <p:spPr>
          <a:xfrm>
            <a:off x="5592473" y="3717591"/>
            <a:ext cx="340967" cy="184666"/>
          </a:xfrm>
        </p:spPr>
        <p:txBody>
          <a:bodyPr wrap="square">
            <a:spAutoFit/>
          </a:bodyPr>
          <a:lstStyle>
            <a:lvl1pPr marL="0" indent="0" algn="r" rtl="0">
              <a:buNone/>
              <a:defRPr sz="1200" b="1"/>
            </a:lvl1pPr>
          </a:lstStyle>
          <a:p>
            <a:pPr lvl="0"/>
            <a:r>
              <a:rPr lang="en-US"/>
              <a:t>00</a:t>
            </a:r>
          </a:p>
        </p:txBody>
      </p:sp>
      <p:sp>
        <p:nvSpPr>
          <p:cNvPr id="71" name="Text Placeholder 9">
            <a:extLst>
              <a:ext uri="{FF2B5EF4-FFF2-40B4-BE49-F238E27FC236}">
                <a16:creationId xmlns:a16="http://schemas.microsoft.com/office/drawing/2014/main" id="{66045ED4-30F1-904F-A4C8-76AA0B5420B7}"/>
              </a:ext>
            </a:extLst>
          </p:cNvPr>
          <p:cNvSpPr>
            <a:spLocks noGrp="1"/>
          </p:cNvSpPr>
          <p:nvPr>
            <p:ph type="body" sz="quarter" idx="100" hasCustomPrompt="1"/>
          </p:nvPr>
        </p:nvSpPr>
        <p:spPr>
          <a:xfrm>
            <a:off x="5037681" y="4003612"/>
            <a:ext cx="895759" cy="184666"/>
          </a:xfrm>
        </p:spPr>
        <p:txBody>
          <a:bodyPr wrap="square">
            <a:spAutoFit/>
          </a:bodyPr>
          <a:lstStyle>
            <a:lvl1pPr marL="0" indent="0" algn="r" rtl="0">
              <a:buNone/>
              <a:defRPr lang="en-GB" sz="1200" b="0" i="0" smtClean="0">
                <a:effectLst/>
                <a:latin typeface="+mn-lt"/>
                <a:ea typeface="Open Sans" panose="020B0606030504020204" pitchFamily="34" charset="0"/>
                <a:cs typeface="Open Sans" panose="020B0606030504020204" pitchFamily="34" charset="0"/>
              </a:defRPr>
            </a:lvl1pPr>
          </a:lstStyle>
          <a:p>
            <a:pPr lvl="0"/>
            <a:r>
              <a:rPr lang="en-US"/>
              <a:t>00:00 – 00:00</a:t>
            </a:r>
          </a:p>
        </p:txBody>
      </p:sp>
      <p:sp>
        <p:nvSpPr>
          <p:cNvPr id="72" name="Text Placeholder 9">
            <a:extLst>
              <a:ext uri="{FF2B5EF4-FFF2-40B4-BE49-F238E27FC236}">
                <a16:creationId xmlns:a16="http://schemas.microsoft.com/office/drawing/2014/main" id="{A69A1AF9-8747-734B-95D8-294456ECB75C}"/>
              </a:ext>
            </a:extLst>
          </p:cNvPr>
          <p:cNvSpPr>
            <a:spLocks noGrp="1"/>
          </p:cNvSpPr>
          <p:nvPr>
            <p:ph type="body" sz="quarter" idx="101" hasCustomPrompt="1"/>
          </p:nvPr>
        </p:nvSpPr>
        <p:spPr>
          <a:xfrm>
            <a:off x="6258561" y="4945379"/>
            <a:ext cx="1615439" cy="184666"/>
          </a:xfrm>
        </p:spPr>
        <p:txBody>
          <a:bodyPr wrap="square" anchor="b">
            <a:spAutoFit/>
          </a:bodyPr>
          <a:lstStyle>
            <a:lvl1pPr marL="0" indent="0" rtl="0">
              <a:buNone/>
              <a:defRPr sz="1200" b="1"/>
            </a:lvl1pPr>
          </a:lstStyle>
          <a:p>
            <a:pPr lvl="0"/>
            <a:r>
              <a:rPr lang="en-US"/>
              <a:t>Section titles</a:t>
            </a:r>
          </a:p>
        </p:txBody>
      </p:sp>
      <p:sp>
        <p:nvSpPr>
          <p:cNvPr id="73" name="Text Placeholder 9">
            <a:extLst>
              <a:ext uri="{FF2B5EF4-FFF2-40B4-BE49-F238E27FC236}">
                <a16:creationId xmlns:a16="http://schemas.microsoft.com/office/drawing/2014/main" id="{C2441663-8906-AF45-AA74-35153B2E58DD}"/>
              </a:ext>
            </a:extLst>
          </p:cNvPr>
          <p:cNvSpPr>
            <a:spLocks noGrp="1"/>
          </p:cNvSpPr>
          <p:nvPr>
            <p:ph type="body" sz="quarter" idx="102" hasCustomPrompt="1"/>
          </p:nvPr>
        </p:nvSpPr>
        <p:spPr>
          <a:xfrm>
            <a:off x="6258561" y="5206047"/>
            <a:ext cx="1615439" cy="369332"/>
          </a:xfrm>
        </p:spPr>
        <p:txBody>
          <a:bodyPr wrap="square">
            <a:spAutoFit/>
          </a:bodyPr>
          <a:lstStyle>
            <a:lvl1pPr marL="0" indent="0" rtl="0">
              <a:buNone/>
              <a:defRPr sz="1200" b="0"/>
            </a:lvl1pPr>
          </a:lstStyle>
          <a:p>
            <a:pPr lvl="0"/>
            <a:r>
              <a:rPr lang="en-US"/>
              <a:t>Click here to add description</a:t>
            </a:r>
          </a:p>
        </p:txBody>
      </p:sp>
      <p:sp>
        <p:nvSpPr>
          <p:cNvPr id="74" name="Text Placeholder 9">
            <a:extLst>
              <a:ext uri="{FF2B5EF4-FFF2-40B4-BE49-F238E27FC236}">
                <a16:creationId xmlns:a16="http://schemas.microsoft.com/office/drawing/2014/main" id="{2187E76C-CBF5-C245-9E27-F05C2639D269}"/>
              </a:ext>
            </a:extLst>
          </p:cNvPr>
          <p:cNvSpPr>
            <a:spLocks noGrp="1"/>
          </p:cNvSpPr>
          <p:nvPr>
            <p:ph type="body" sz="quarter" idx="103" hasCustomPrompt="1"/>
          </p:nvPr>
        </p:nvSpPr>
        <p:spPr>
          <a:xfrm>
            <a:off x="5592473" y="4924091"/>
            <a:ext cx="340967" cy="184666"/>
          </a:xfrm>
        </p:spPr>
        <p:txBody>
          <a:bodyPr wrap="square">
            <a:spAutoFit/>
          </a:bodyPr>
          <a:lstStyle>
            <a:lvl1pPr marL="0" indent="0" algn="r" rtl="0">
              <a:buNone/>
              <a:defRPr sz="1200" b="1"/>
            </a:lvl1pPr>
          </a:lstStyle>
          <a:p>
            <a:pPr lvl="0"/>
            <a:r>
              <a:rPr lang="en-US"/>
              <a:t>00</a:t>
            </a:r>
          </a:p>
        </p:txBody>
      </p:sp>
      <p:sp>
        <p:nvSpPr>
          <p:cNvPr id="75" name="Text Placeholder 9">
            <a:extLst>
              <a:ext uri="{FF2B5EF4-FFF2-40B4-BE49-F238E27FC236}">
                <a16:creationId xmlns:a16="http://schemas.microsoft.com/office/drawing/2014/main" id="{E33A1398-61F2-184C-8D89-4966B509A001}"/>
              </a:ext>
            </a:extLst>
          </p:cNvPr>
          <p:cNvSpPr>
            <a:spLocks noGrp="1"/>
          </p:cNvSpPr>
          <p:nvPr>
            <p:ph type="body" sz="quarter" idx="104" hasCustomPrompt="1"/>
          </p:nvPr>
        </p:nvSpPr>
        <p:spPr>
          <a:xfrm>
            <a:off x="5037681" y="5210112"/>
            <a:ext cx="895759" cy="184666"/>
          </a:xfrm>
        </p:spPr>
        <p:txBody>
          <a:bodyPr wrap="square">
            <a:spAutoFit/>
          </a:bodyPr>
          <a:lstStyle>
            <a:lvl1pPr marL="0" indent="0" algn="r" rtl="0">
              <a:buNone/>
              <a:defRPr lang="en-GB" sz="1200" b="0" i="0" smtClean="0">
                <a:effectLst/>
                <a:latin typeface="+mn-lt"/>
                <a:ea typeface="Open Sans" panose="020B0606030504020204" pitchFamily="34" charset="0"/>
                <a:cs typeface="Open Sans" panose="020B0606030504020204" pitchFamily="34" charset="0"/>
              </a:defRPr>
            </a:lvl1pPr>
          </a:lstStyle>
          <a:p>
            <a:pPr lvl="0"/>
            <a:r>
              <a:rPr lang="en-US"/>
              <a:t>00:00 – 00:00</a:t>
            </a:r>
          </a:p>
        </p:txBody>
      </p:sp>
      <p:sp>
        <p:nvSpPr>
          <p:cNvPr id="76" name="Text Placeholder 9">
            <a:extLst>
              <a:ext uri="{FF2B5EF4-FFF2-40B4-BE49-F238E27FC236}">
                <a16:creationId xmlns:a16="http://schemas.microsoft.com/office/drawing/2014/main" id="{5535EAD7-862E-364C-80ED-21548D20BB35}"/>
              </a:ext>
            </a:extLst>
          </p:cNvPr>
          <p:cNvSpPr>
            <a:spLocks noGrp="1"/>
          </p:cNvSpPr>
          <p:nvPr>
            <p:ph type="body" sz="quarter" idx="105" hasCustomPrompt="1"/>
          </p:nvPr>
        </p:nvSpPr>
        <p:spPr>
          <a:xfrm>
            <a:off x="10119361" y="2535554"/>
            <a:ext cx="1615439" cy="184666"/>
          </a:xfrm>
        </p:spPr>
        <p:txBody>
          <a:bodyPr wrap="square" anchor="b">
            <a:spAutoFit/>
          </a:bodyPr>
          <a:lstStyle>
            <a:lvl1pPr marL="0" indent="0" rtl="0">
              <a:buNone/>
              <a:defRPr sz="1200" b="1"/>
            </a:lvl1pPr>
          </a:lstStyle>
          <a:p>
            <a:pPr lvl="0"/>
            <a:r>
              <a:rPr lang="en-US"/>
              <a:t>Section titles</a:t>
            </a:r>
          </a:p>
        </p:txBody>
      </p:sp>
      <p:sp>
        <p:nvSpPr>
          <p:cNvPr id="77" name="Text Placeholder 9">
            <a:extLst>
              <a:ext uri="{FF2B5EF4-FFF2-40B4-BE49-F238E27FC236}">
                <a16:creationId xmlns:a16="http://schemas.microsoft.com/office/drawing/2014/main" id="{E1195C39-D34D-6348-B929-5CA94562A110}"/>
              </a:ext>
            </a:extLst>
          </p:cNvPr>
          <p:cNvSpPr>
            <a:spLocks noGrp="1"/>
          </p:cNvSpPr>
          <p:nvPr>
            <p:ph type="body" sz="quarter" idx="106" hasCustomPrompt="1"/>
          </p:nvPr>
        </p:nvSpPr>
        <p:spPr>
          <a:xfrm>
            <a:off x="10119361" y="2796222"/>
            <a:ext cx="1615439" cy="369332"/>
          </a:xfrm>
        </p:spPr>
        <p:txBody>
          <a:bodyPr wrap="square">
            <a:spAutoFit/>
          </a:bodyPr>
          <a:lstStyle>
            <a:lvl1pPr marL="0" indent="0" rtl="0">
              <a:buNone/>
              <a:defRPr sz="1200" b="0"/>
            </a:lvl1pPr>
          </a:lstStyle>
          <a:p>
            <a:pPr lvl="0"/>
            <a:r>
              <a:rPr lang="en-US"/>
              <a:t>Click here to add description</a:t>
            </a:r>
          </a:p>
        </p:txBody>
      </p:sp>
      <p:sp>
        <p:nvSpPr>
          <p:cNvPr id="78" name="Text Placeholder 9">
            <a:extLst>
              <a:ext uri="{FF2B5EF4-FFF2-40B4-BE49-F238E27FC236}">
                <a16:creationId xmlns:a16="http://schemas.microsoft.com/office/drawing/2014/main" id="{E28CE5ED-B05F-FE45-B2AD-B921C3B9EC1A}"/>
              </a:ext>
            </a:extLst>
          </p:cNvPr>
          <p:cNvSpPr>
            <a:spLocks noGrp="1"/>
          </p:cNvSpPr>
          <p:nvPr>
            <p:ph type="body" sz="quarter" idx="107" hasCustomPrompt="1"/>
          </p:nvPr>
        </p:nvSpPr>
        <p:spPr>
          <a:xfrm>
            <a:off x="9463432" y="2514266"/>
            <a:ext cx="340967" cy="184666"/>
          </a:xfrm>
        </p:spPr>
        <p:txBody>
          <a:bodyPr wrap="square">
            <a:spAutoFit/>
          </a:bodyPr>
          <a:lstStyle>
            <a:lvl1pPr marL="0" indent="0" algn="r" rtl="0">
              <a:buNone/>
              <a:defRPr sz="1200" b="1"/>
            </a:lvl1pPr>
          </a:lstStyle>
          <a:p>
            <a:pPr lvl="0"/>
            <a:r>
              <a:rPr lang="en-US"/>
              <a:t>00</a:t>
            </a:r>
          </a:p>
        </p:txBody>
      </p:sp>
      <p:sp>
        <p:nvSpPr>
          <p:cNvPr id="79" name="Text Placeholder 9">
            <a:extLst>
              <a:ext uri="{FF2B5EF4-FFF2-40B4-BE49-F238E27FC236}">
                <a16:creationId xmlns:a16="http://schemas.microsoft.com/office/drawing/2014/main" id="{55458A98-45A7-1041-9B73-6527BB3CEBCB}"/>
              </a:ext>
            </a:extLst>
          </p:cNvPr>
          <p:cNvSpPr>
            <a:spLocks noGrp="1"/>
          </p:cNvSpPr>
          <p:nvPr>
            <p:ph type="body" sz="quarter" idx="108" hasCustomPrompt="1"/>
          </p:nvPr>
        </p:nvSpPr>
        <p:spPr>
          <a:xfrm>
            <a:off x="8908640" y="2800287"/>
            <a:ext cx="895759" cy="184666"/>
          </a:xfrm>
        </p:spPr>
        <p:txBody>
          <a:bodyPr wrap="square">
            <a:spAutoFit/>
          </a:bodyPr>
          <a:lstStyle>
            <a:lvl1pPr marL="0" indent="0" algn="r" rtl="0">
              <a:buNone/>
              <a:defRPr lang="en-GB" sz="1200" b="0" i="0" smtClean="0">
                <a:effectLst/>
                <a:latin typeface="+mn-lt"/>
                <a:ea typeface="Open Sans" panose="020B0606030504020204" pitchFamily="34" charset="0"/>
                <a:cs typeface="Open Sans" panose="020B0606030504020204" pitchFamily="34" charset="0"/>
              </a:defRPr>
            </a:lvl1pPr>
          </a:lstStyle>
          <a:p>
            <a:pPr lvl="0"/>
            <a:r>
              <a:rPr lang="en-US"/>
              <a:t>00:00 – 00:00</a:t>
            </a:r>
          </a:p>
        </p:txBody>
      </p:sp>
      <p:sp>
        <p:nvSpPr>
          <p:cNvPr id="80" name="Text Placeholder 9">
            <a:extLst>
              <a:ext uri="{FF2B5EF4-FFF2-40B4-BE49-F238E27FC236}">
                <a16:creationId xmlns:a16="http://schemas.microsoft.com/office/drawing/2014/main" id="{6B2B152C-FE09-7E40-8238-CD1220393376}"/>
              </a:ext>
            </a:extLst>
          </p:cNvPr>
          <p:cNvSpPr>
            <a:spLocks noGrp="1"/>
          </p:cNvSpPr>
          <p:nvPr>
            <p:ph type="body" sz="quarter" idx="109" hasCustomPrompt="1"/>
          </p:nvPr>
        </p:nvSpPr>
        <p:spPr>
          <a:xfrm>
            <a:off x="10119361" y="3738879"/>
            <a:ext cx="1615439" cy="184666"/>
          </a:xfrm>
        </p:spPr>
        <p:txBody>
          <a:bodyPr wrap="square" anchor="b">
            <a:spAutoFit/>
          </a:bodyPr>
          <a:lstStyle>
            <a:lvl1pPr marL="0" indent="0" rtl="0">
              <a:buNone/>
              <a:defRPr sz="1200" b="1"/>
            </a:lvl1pPr>
          </a:lstStyle>
          <a:p>
            <a:pPr lvl="0"/>
            <a:r>
              <a:rPr lang="en-US"/>
              <a:t>Section titles</a:t>
            </a:r>
          </a:p>
        </p:txBody>
      </p:sp>
      <p:sp>
        <p:nvSpPr>
          <p:cNvPr id="81" name="Text Placeholder 9">
            <a:extLst>
              <a:ext uri="{FF2B5EF4-FFF2-40B4-BE49-F238E27FC236}">
                <a16:creationId xmlns:a16="http://schemas.microsoft.com/office/drawing/2014/main" id="{E5AE2477-C6B8-C84E-859C-FBD52D5C7F74}"/>
              </a:ext>
            </a:extLst>
          </p:cNvPr>
          <p:cNvSpPr>
            <a:spLocks noGrp="1"/>
          </p:cNvSpPr>
          <p:nvPr>
            <p:ph type="body" sz="quarter" idx="110" hasCustomPrompt="1"/>
          </p:nvPr>
        </p:nvSpPr>
        <p:spPr>
          <a:xfrm>
            <a:off x="10119361" y="3999547"/>
            <a:ext cx="1615439" cy="369332"/>
          </a:xfrm>
        </p:spPr>
        <p:txBody>
          <a:bodyPr wrap="square">
            <a:spAutoFit/>
          </a:bodyPr>
          <a:lstStyle>
            <a:lvl1pPr marL="0" indent="0" rtl="0">
              <a:buNone/>
              <a:defRPr sz="1200" b="0"/>
            </a:lvl1pPr>
          </a:lstStyle>
          <a:p>
            <a:pPr lvl="0"/>
            <a:r>
              <a:rPr lang="en-US"/>
              <a:t>Click here to add description</a:t>
            </a:r>
          </a:p>
        </p:txBody>
      </p:sp>
      <p:sp>
        <p:nvSpPr>
          <p:cNvPr id="82" name="Text Placeholder 9">
            <a:extLst>
              <a:ext uri="{FF2B5EF4-FFF2-40B4-BE49-F238E27FC236}">
                <a16:creationId xmlns:a16="http://schemas.microsoft.com/office/drawing/2014/main" id="{1BC7A186-798E-5049-932A-818CC7D16031}"/>
              </a:ext>
            </a:extLst>
          </p:cNvPr>
          <p:cNvSpPr>
            <a:spLocks noGrp="1"/>
          </p:cNvSpPr>
          <p:nvPr>
            <p:ph type="body" sz="quarter" idx="111" hasCustomPrompt="1"/>
          </p:nvPr>
        </p:nvSpPr>
        <p:spPr>
          <a:xfrm>
            <a:off x="9463432" y="3717591"/>
            <a:ext cx="340967" cy="184666"/>
          </a:xfrm>
        </p:spPr>
        <p:txBody>
          <a:bodyPr wrap="square">
            <a:spAutoFit/>
          </a:bodyPr>
          <a:lstStyle>
            <a:lvl1pPr marL="0" indent="0" algn="r" rtl="0">
              <a:buNone/>
              <a:defRPr sz="1200" b="1"/>
            </a:lvl1pPr>
          </a:lstStyle>
          <a:p>
            <a:pPr lvl="0"/>
            <a:r>
              <a:rPr lang="en-US"/>
              <a:t>00</a:t>
            </a:r>
          </a:p>
        </p:txBody>
      </p:sp>
      <p:sp>
        <p:nvSpPr>
          <p:cNvPr id="83" name="Text Placeholder 9">
            <a:extLst>
              <a:ext uri="{FF2B5EF4-FFF2-40B4-BE49-F238E27FC236}">
                <a16:creationId xmlns:a16="http://schemas.microsoft.com/office/drawing/2014/main" id="{8AC7C892-0ACF-0C4C-B7A6-83049C3BFAEA}"/>
              </a:ext>
            </a:extLst>
          </p:cNvPr>
          <p:cNvSpPr>
            <a:spLocks noGrp="1"/>
          </p:cNvSpPr>
          <p:nvPr>
            <p:ph type="body" sz="quarter" idx="112" hasCustomPrompt="1"/>
          </p:nvPr>
        </p:nvSpPr>
        <p:spPr>
          <a:xfrm>
            <a:off x="8908640" y="4003612"/>
            <a:ext cx="895759" cy="184666"/>
          </a:xfrm>
        </p:spPr>
        <p:txBody>
          <a:bodyPr wrap="square">
            <a:spAutoFit/>
          </a:bodyPr>
          <a:lstStyle>
            <a:lvl1pPr marL="0" indent="0" algn="r" rtl="0">
              <a:buNone/>
              <a:defRPr lang="en-GB" sz="1200" b="0" i="0" smtClean="0">
                <a:effectLst/>
                <a:latin typeface="+mn-lt"/>
                <a:ea typeface="Open Sans" panose="020B0606030504020204" pitchFamily="34" charset="0"/>
                <a:cs typeface="Open Sans" panose="020B0606030504020204" pitchFamily="34" charset="0"/>
              </a:defRPr>
            </a:lvl1pPr>
          </a:lstStyle>
          <a:p>
            <a:pPr lvl="0"/>
            <a:r>
              <a:rPr lang="en-US"/>
              <a:t>00:00 – 00:00</a:t>
            </a:r>
          </a:p>
        </p:txBody>
      </p:sp>
      <p:sp>
        <p:nvSpPr>
          <p:cNvPr id="84" name="Text Placeholder 9">
            <a:extLst>
              <a:ext uri="{FF2B5EF4-FFF2-40B4-BE49-F238E27FC236}">
                <a16:creationId xmlns:a16="http://schemas.microsoft.com/office/drawing/2014/main" id="{EF3A4C34-BB11-964D-899F-66A91E589370}"/>
              </a:ext>
            </a:extLst>
          </p:cNvPr>
          <p:cNvSpPr>
            <a:spLocks noGrp="1"/>
          </p:cNvSpPr>
          <p:nvPr>
            <p:ph type="body" sz="quarter" idx="113" hasCustomPrompt="1"/>
          </p:nvPr>
        </p:nvSpPr>
        <p:spPr>
          <a:xfrm>
            <a:off x="10119361" y="4945379"/>
            <a:ext cx="1615439" cy="184666"/>
          </a:xfrm>
        </p:spPr>
        <p:txBody>
          <a:bodyPr wrap="square" anchor="b">
            <a:spAutoFit/>
          </a:bodyPr>
          <a:lstStyle>
            <a:lvl1pPr marL="0" indent="0" rtl="0">
              <a:buNone/>
              <a:defRPr sz="1200" b="1"/>
            </a:lvl1pPr>
          </a:lstStyle>
          <a:p>
            <a:pPr lvl="0"/>
            <a:r>
              <a:rPr lang="en-US"/>
              <a:t>Section titles</a:t>
            </a:r>
          </a:p>
        </p:txBody>
      </p:sp>
      <p:sp>
        <p:nvSpPr>
          <p:cNvPr id="85" name="Text Placeholder 9">
            <a:extLst>
              <a:ext uri="{FF2B5EF4-FFF2-40B4-BE49-F238E27FC236}">
                <a16:creationId xmlns:a16="http://schemas.microsoft.com/office/drawing/2014/main" id="{3B4CA657-20F3-6840-BBBF-F2576015A3EA}"/>
              </a:ext>
            </a:extLst>
          </p:cNvPr>
          <p:cNvSpPr>
            <a:spLocks noGrp="1"/>
          </p:cNvSpPr>
          <p:nvPr>
            <p:ph type="body" sz="quarter" idx="114" hasCustomPrompt="1"/>
          </p:nvPr>
        </p:nvSpPr>
        <p:spPr>
          <a:xfrm>
            <a:off x="10119361" y="5206047"/>
            <a:ext cx="1615439" cy="369332"/>
          </a:xfrm>
        </p:spPr>
        <p:txBody>
          <a:bodyPr wrap="square">
            <a:spAutoFit/>
          </a:bodyPr>
          <a:lstStyle>
            <a:lvl1pPr marL="0" indent="0" rtl="0">
              <a:buNone/>
              <a:defRPr sz="1200" b="0"/>
            </a:lvl1pPr>
          </a:lstStyle>
          <a:p>
            <a:pPr lvl="0"/>
            <a:r>
              <a:rPr lang="en-US"/>
              <a:t>Click here to add description</a:t>
            </a:r>
          </a:p>
        </p:txBody>
      </p:sp>
      <p:sp>
        <p:nvSpPr>
          <p:cNvPr id="86" name="Text Placeholder 9">
            <a:extLst>
              <a:ext uri="{FF2B5EF4-FFF2-40B4-BE49-F238E27FC236}">
                <a16:creationId xmlns:a16="http://schemas.microsoft.com/office/drawing/2014/main" id="{D18B2319-579D-7D45-8B00-49E12430B9DF}"/>
              </a:ext>
            </a:extLst>
          </p:cNvPr>
          <p:cNvSpPr>
            <a:spLocks noGrp="1"/>
          </p:cNvSpPr>
          <p:nvPr>
            <p:ph type="body" sz="quarter" idx="115" hasCustomPrompt="1"/>
          </p:nvPr>
        </p:nvSpPr>
        <p:spPr>
          <a:xfrm>
            <a:off x="9463432" y="4924091"/>
            <a:ext cx="340967" cy="184666"/>
          </a:xfrm>
        </p:spPr>
        <p:txBody>
          <a:bodyPr wrap="square">
            <a:spAutoFit/>
          </a:bodyPr>
          <a:lstStyle>
            <a:lvl1pPr marL="0" indent="0" algn="r" rtl="0">
              <a:buNone/>
              <a:defRPr sz="1200" b="1"/>
            </a:lvl1pPr>
          </a:lstStyle>
          <a:p>
            <a:pPr lvl="0"/>
            <a:r>
              <a:rPr lang="en-US"/>
              <a:t>00</a:t>
            </a:r>
          </a:p>
        </p:txBody>
      </p:sp>
      <p:sp>
        <p:nvSpPr>
          <p:cNvPr id="87" name="Text Placeholder 9">
            <a:extLst>
              <a:ext uri="{FF2B5EF4-FFF2-40B4-BE49-F238E27FC236}">
                <a16:creationId xmlns:a16="http://schemas.microsoft.com/office/drawing/2014/main" id="{0C528FC5-6BB1-BE43-8053-4D20204716AD}"/>
              </a:ext>
            </a:extLst>
          </p:cNvPr>
          <p:cNvSpPr>
            <a:spLocks noGrp="1"/>
          </p:cNvSpPr>
          <p:nvPr>
            <p:ph type="body" sz="quarter" idx="116" hasCustomPrompt="1"/>
          </p:nvPr>
        </p:nvSpPr>
        <p:spPr>
          <a:xfrm>
            <a:off x="8908640" y="5210112"/>
            <a:ext cx="895759" cy="184666"/>
          </a:xfrm>
        </p:spPr>
        <p:txBody>
          <a:bodyPr wrap="square">
            <a:spAutoFit/>
          </a:bodyPr>
          <a:lstStyle>
            <a:lvl1pPr marL="0" indent="0" algn="r" rtl="0">
              <a:buNone/>
              <a:defRPr lang="en-GB" sz="1200" b="0" i="0" smtClean="0">
                <a:effectLst/>
                <a:latin typeface="+mn-lt"/>
                <a:ea typeface="Open Sans" panose="020B0606030504020204" pitchFamily="34" charset="0"/>
                <a:cs typeface="Open Sans" panose="020B0606030504020204" pitchFamily="34" charset="0"/>
              </a:defRPr>
            </a:lvl1pPr>
          </a:lstStyle>
          <a:p>
            <a:pPr lvl="0"/>
            <a:r>
              <a:rPr lang="en-US"/>
              <a:t>00:00 – 00:00</a:t>
            </a:r>
          </a:p>
        </p:txBody>
      </p:sp>
    </p:spTree>
    <p:extLst>
      <p:ext uri="{BB962C8B-B14F-4D97-AF65-F5344CB8AC3E}">
        <p14:creationId xmlns:p14="http://schemas.microsoft.com/office/powerpoint/2010/main" val="176916551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 Small">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7129544-A2E4-D8BB-1FAA-67937D519BF8}"/>
              </a:ext>
            </a:extLst>
          </p:cNvPr>
          <p:cNvGraphicFramePr>
            <a:graphicFrameLocks noChangeAspect="1"/>
          </p:cNvGraphicFramePr>
          <p:nvPr userDrawn="1">
            <p:custDataLst>
              <p:tags r:id="rId1"/>
            </p:custDataLst>
            <p:extLst>
              <p:ext uri="{D42A27DB-BD31-4B8C-83A1-F6EECF244321}">
                <p14:modId xmlns:p14="http://schemas.microsoft.com/office/powerpoint/2010/main" val="2311221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4" name="think-cell data - do not delete" hidden="1">
                        <a:extLst>
                          <a:ext uri="{FF2B5EF4-FFF2-40B4-BE49-F238E27FC236}">
                            <a16:creationId xmlns:a16="http://schemas.microsoft.com/office/drawing/2014/main" id="{07129544-A2E4-D8BB-1FAA-67937D519B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4">
            <a:extLst>
              <a:ext uri="{FF2B5EF4-FFF2-40B4-BE49-F238E27FC236}">
                <a16:creationId xmlns:a16="http://schemas.microsoft.com/office/drawing/2014/main" id="{2E10E615-D815-E34A-B2B6-43D2BDB86774}"/>
              </a:ext>
            </a:extLst>
          </p:cNvPr>
          <p:cNvSpPr>
            <a:spLocks noGrp="1"/>
          </p:cNvSpPr>
          <p:nvPr>
            <p:ph type="body" sz="quarter" idx="21" hasCustomPrompt="1"/>
          </p:nvPr>
        </p:nvSpPr>
        <p:spPr>
          <a:xfrm>
            <a:off x="457202" y="4760913"/>
            <a:ext cx="2166936"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19" name="Picture Placeholder 2">
            <a:extLst>
              <a:ext uri="{FF2B5EF4-FFF2-40B4-BE49-F238E27FC236}">
                <a16:creationId xmlns:a16="http://schemas.microsoft.com/office/drawing/2014/main" id="{A0E54AB4-AF08-3E4A-9C98-568450675942}"/>
              </a:ext>
            </a:extLst>
          </p:cNvPr>
          <p:cNvSpPr>
            <a:spLocks noGrp="1"/>
          </p:cNvSpPr>
          <p:nvPr>
            <p:ph type="pic" sz="quarter" idx="32"/>
          </p:nvPr>
        </p:nvSpPr>
        <p:spPr>
          <a:xfrm>
            <a:off x="457200" y="1714500"/>
            <a:ext cx="2166938" cy="2640570"/>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2" name="Title 1">
            <a:extLst>
              <a:ext uri="{FF2B5EF4-FFF2-40B4-BE49-F238E27FC236}">
                <a16:creationId xmlns:a16="http://schemas.microsoft.com/office/drawing/2014/main" id="{6F1266CA-74F1-3A46-BE92-EACC13537B89}"/>
              </a:ext>
            </a:extLst>
          </p:cNvPr>
          <p:cNvSpPr>
            <a:spLocks noGrp="1"/>
          </p:cNvSpPr>
          <p:nvPr>
            <p:ph type="title"/>
          </p:nvPr>
        </p:nvSpPr>
        <p:spPr/>
        <p:txBody>
          <a:bodyPr vert="horz"/>
          <a:lstStyle>
            <a:lvl1pPr rtl="0">
              <a:defRPr/>
            </a:lvl1pPr>
          </a:lstStyle>
          <a:p>
            <a:r>
              <a:rPr lang="en-US"/>
              <a:t>Click to edit Master title style</a:t>
            </a:r>
          </a:p>
        </p:txBody>
      </p:sp>
      <p:sp>
        <p:nvSpPr>
          <p:cNvPr id="26" name="Text Placeholder 4">
            <a:extLst>
              <a:ext uri="{FF2B5EF4-FFF2-40B4-BE49-F238E27FC236}">
                <a16:creationId xmlns:a16="http://schemas.microsoft.com/office/drawing/2014/main" id="{8CD85496-0EC1-6341-A1F9-7AEB6FA0922D}"/>
              </a:ext>
            </a:extLst>
          </p:cNvPr>
          <p:cNvSpPr>
            <a:spLocks noGrp="1"/>
          </p:cNvSpPr>
          <p:nvPr>
            <p:ph type="body" sz="quarter" idx="33" hasCustomPrompt="1"/>
          </p:nvPr>
        </p:nvSpPr>
        <p:spPr>
          <a:xfrm>
            <a:off x="2801936" y="4760913"/>
            <a:ext cx="2160589"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27" name="Picture Placeholder 2">
            <a:extLst>
              <a:ext uri="{FF2B5EF4-FFF2-40B4-BE49-F238E27FC236}">
                <a16:creationId xmlns:a16="http://schemas.microsoft.com/office/drawing/2014/main" id="{E1FE943A-2190-E447-B05C-CEC65C61949A}"/>
              </a:ext>
            </a:extLst>
          </p:cNvPr>
          <p:cNvSpPr>
            <a:spLocks noGrp="1"/>
          </p:cNvSpPr>
          <p:nvPr>
            <p:ph type="pic" sz="quarter" idx="34"/>
          </p:nvPr>
        </p:nvSpPr>
        <p:spPr>
          <a:xfrm>
            <a:off x="2801937" y="1714500"/>
            <a:ext cx="2166938" cy="2640570"/>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30" name="Text Placeholder 4">
            <a:extLst>
              <a:ext uri="{FF2B5EF4-FFF2-40B4-BE49-F238E27FC236}">
                <a16:creationId xmlns:a16="http://schemas.microsoft.com/office/drawing/2014/main" id="{37789770-5EC0-3F4A-AD96-EB7EA56D0169}"/>
              </a:ext>
            </a:extLst>
          </p:cNvPr>
          <p:cNvSpPr>
            <a:spLocks noGrp="1"/>
          </p:cNvSpPr>
          <p:nvPr>
            <p:ph type="body" sz="quarter" idx="35" hasCustomPrompt="1"/>
          </p:nvPr>
        </p:nvSpPr>
        <p:spPr>
          <a:xfrm>
            <a:off x="5146672" y="4760913"/>
            <a:ext cx="2166940"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31" name="Picture Placeholder 2">
            <a:extLst>
              <a:ext uri="{FF2B5EF4-FFF2-40B4-BE49-F238E27FC236}">
                <a16:creationId xmlns:a16="http://schemas.microsoft.com/office/drawing/2014/main" id="{5D9B344F-0A8C-9D4A-B3CD-7C83535FC297}"/>
              </a:ext>
            </a:extLst>
          </p:cNvPr>
          <p:cNvSpPr>
            <a:spLocks noGrp="1"/>
          </p:cNvSpPr>
          <p:nvPr>
            <p:ph type="pic" sz="quarter" idx="36"/>
          </p:nvPr>
        </p:nvSpPr>
        <p:spPr>
          <a:xfrm>
            <a:off x="5146674" y="1714500"/>
            <a:ext cx="2166938" cy="2640570"/>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32" name="Text Placeholder 4">
            <a:extLst>
              <a:ext uri="{FF2B5EF4-FFF2-40B4-BE49-F238E27FC236}">
                <a16:creationId xmlns:a16="http://schemas.microsoft.com/office/drawing/2014/main" id="{51D374DF-D2EC-6447-BE4D-626B839FE1E7}"/>
              </a:ext>
            </a:extLst>
          </p:cNvPr>
          <p:cNvSpPr>
            <a:spLocks noGrp="1"/>
          </p:cNvSpPr>
          <p:nvPr>
            <p:ph type="body" sz="quarter" idx="37" hasCustomPrompt="1"/>
          </p:nvPr>
        </p:nvSpPr>
        <p:spPr>
          <a:xfrm>
            <a:off x="7491406" y="4760913"/>
            <a:ext cx="2143131"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33" name="Picture Placeholder 2">
            <a:extLst>
              <a:ext uri="{FF2B5EF4-FFF2-40B4-BE49-F238E27FC236}">
                <a16:creationId xmlns:a16="http://schemas.microsoft.com/office/drawing/2014/main" id="{D4F5B5AF-0D32-7B4F-A783-20476CB4F8B0}"/>
              </a:ext>
            </a:extLst>
          </p:cNvPr>
          <p:cNvSpPr>
            <a:spLocks noGrp="1"/>
          </p:cNvSpPr>
          <p:nvPr>
            <p:ph type="pic" sz="quarter" idx="38"/>
          </p:nvPr>
        </p:nvSpPr>
        <p:spPr>
          <a:xfrm>
            <a:off x="7480300" y="1714500"/>
            <a:ext cx="2166938" cy="2640570"/>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14" name="Text Placeholder 8">
            <a:extLst>
              <a:ext uri="{FF2B5EF4-FFF2-40B4-BE49-F238E27FC236}">
                <a16:creationId xmlns:a16="http://schemas.microsoft.com/office/drawing/2014/main" id="{A61A483A-6138-C643-937B-34E6D6CB7A8E}"/>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Tree>
    <p:extLst>
      <p:ext uri="{BB962C8B-B14F-4D97-AF65-F5344CB8AC3E}">
        <p14:creationId xmlns:p14="http://schemas.microsoft.com/office/powerpoint/2010/main" val="1174783196"/>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 Bi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0B5060-1B25-2430-1361-B046B0D2643E}"/>
              </a:ext>
            </a:extLst>
          </p:cNvPr>
          <p:cNvGraphicFramePr>
            <a:graphicFrameLocks noChangeAspect="1"/>
          </p:cNvGraphicFramePr>
          <p:nvPr userDrawn="1">
            <p:custDataLst>
              <p:tags r:id="rId1"/>
            </p:custDataLst>
            <p:extLst>
              <p:ext uri="{D42A27DB-BD31-4B8C-83A1-F6EECF244321}">
                <p14:modId xmlns:p14="http://schemas.microsoft.com/office/powerpoint/2010/main" val="428238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4" name="think-cell data - do not delete" hidden="1">
                        <a:extLst>
                          <a:ext uri="{FF2B5EF4-FFF2-40B4-BE49-F238E27FC236}">
                            <a16:creationId xmlns:a16="http://schemas.microsoft.com/office/drawing/2014/main" id="{AD0B5060-1B25-2430-1361-B046B0D264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4">
            <a:extLst>
              <a:ext uri="{FF2B5EF4-FFF2-40B4-BE49-F238E27FC236}">
                <a16:creationId xmlns:a16="http://schemas.microsoft.com/office/drawing/2014/main" id="{2E10E615-D815-E34A-B2B6-43D2BDB86774}"/>
              </a:ext>
            </a:extLst>
          </p:cNvPr>
          <p:cNvSpPr>
            <a:spLocks noGrp="1"/>
          </p:cNvSpPr>
          <p:nvPr>
            <p:ph type="body" sz="quarter" idx="21" hasCustomPrompt="1"/>
          </p:nvPr>
        </p:nvSpPr>
        <p:spPr>
          <a:xfrm>
            <a:off x="457202" y="3214681"/>
            <a:ext cx="1370852"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19" name="Picture Placeholder 2">
            <a:extLst>
              <a:ext uri="{FF2B5EF4-FFF2-40B4-BE49-F238E27FC236}">
                <a16:creationId xmlns:a16="http://schemas.microsoft.com/office/drawing/2014/main" id="{A0E54AB4-AF08-3E4A-9C98-568450675942}"/>
              </a:ext>
            </a:extLst>
          </p:cNvPr>
          <p:cNvSpPr>
            <a:spLocks noGrp="1"/>
          </p:cNvSpPr>
          <p:nvPr>
            <p:ph type="pic" sz="quarter" idx="32"/>
          </p:nvPr>
        </p:nvSpPr>
        <p:spPr>
          <a:xfrm>
            <a:off x="457200" y="1714500"/>
            <a:ext cx="1370853" cy="137085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48" name="Text Placeholder 4">
            <a:extLst>
              <a:ext uri="{FF2B5EF4-FFF2-40B4-BE49-F238E27FC236}">
                <a16:creationId xmlns:a16="http://schemas.microsoft.com/office/drawing/2014/main" id="{74AE6BF2-48E8-4242-9E98-BDCB0DB5CB7C}"/>
              </a:ext>
            </a:extLst>
          </p:cNvPr>
          <p:cNvSpPr>
            <a:spLocks noGrp="1"/>
          </p:cNvSpPr>
          <p:nvPr>
            <p:ph type="body" sz="quarter" idx="33" hasCustomPrompt="1"/>
          </p:nvPr>
        </p:nvSpPr>
        <p:spPr>
          <a:xfrm>
            <a:off x="2705287" y="3214681"/>
            <a:ext cx="1370852"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49" name="Picture Placeholder 2">
            <a:extLst>
              <a:ext uri="{FF2B5EF4-FFF2-40B4-BE49-F238E27FC236}">
                <a16:creationId xmlns:a16="http://schemas.microsoft.com/office/drawing/2014/main" id="{93394C16-72C2-2C43-9E62-21A40DCC1D7E}"/>
              </a:ext>
            </a:extLst>
          </p:cNvPr>
          <p:cNvSpPr>
            <a:spLocks noGrp="1"/>
          </p:cNvSpPr>
          <p:nvPr>
            <p:ph type="pic" sz="quarter" idx="34"/>
          </p:nvPr>
        </p:nvSpPr>
        <p:spPr>
          <a:xfrm>
            <a:off x="2705286" y="1714500"/>
            <a:ext cx="1370853" cy="137085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50" name="Text Placeholder 4">
            <a:extLst>
              <a:ext uri="{FF2B5EF4-FFF2-40B4-BE49-F238E27FC236}">
                <a16:creationId xmlns:a16="http://schemas.microsoft.com/office/drawing/2014/main" id="{00443CAB-5ED0-B642-BD7C-0F3F015D78F0}"/>
              </a:ext>
            </a:extLst>
          </p:cNvPr>
          <p:cNvSpPr>
            <a:spLocks noGrp="1"/>
          </p:cNvSpPr>
          <p:nvPr>
            <p:ph type="body" sz="quarter" idx="35" hasCustomPrompt="1"/>
          </p:nvPr>
        </p:nvSpPr>
        <p:spPr>
          <a:xfrm>
            <a:off x="4953372" y="3214681"/>
            <a:ext cx="1370852"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51" name="Picture Placeholder 2">
            <a:extLst>
              <a:ext uri="{FF2B5EF4-FFF2-40B4-BE49-F238E27FC236}">
                <a16:creationId xmlns:a16="http://schemas.microsoft.com/office/drawing/2014/main" id="{3F4B472F-2F2C-4445-B36D-372AF44C61AE}"/>
              </a:ext>
            </a:extLst>
          </p:cNvPr>
          <p:cNvSpPr>
            <a:spLocks noGrp="1"/>
          </p:cNvSpPr>
          <p:nvPr>
            <p:ph type="pic" sz="quarter" idx="36"/>
          </p:nvPr>
        </p:nvSpPr>
        <p:spPr>
          <a:xfrm>
            <a:off x="4953372" y="1714500"/>
            <a:ext cx="1370853" cy="137085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52" name="Text Placeholder 4">
            <a:extLst>
              <a:ext uri="{FF2B5EF4-FFF2-40B4-BE49-F238E27FC236}">
                <a16:creationId xmlns:a16="http://schemas.microsoft.com/office/drawing/2014/main" id="{E3A1233E-EDB1-9E46-AEDB-620B592C05CD}"/>
              </a:ext>
            </a:extLst>
          </p:cNvPr>
          <p:cNvSpPr>
            <a:spLocks noGrp="1"/>
          </p:cNvSpPr>
          <p:nvPr>
            <p:ph type="body" sz="quarter" idx="37" hasCustomPrompt="1"/>
          </p:nvPr>
        </p:nvSpPr>
        <p:spPr>
          <a:xfrm>
            <a:off x="7201457" y="3214681"/>
            <a:ext cx="1370852"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53" name="Picture Placeholder 2">
            <a:extLst>
              <a:ext uri="{FF2B5EF4-FFF2-40B4-BE49-F238E27FC236}">
                <a16:creationId xmlns:a16="http://schemas.microsoft.com/office/drawing/2014/main" id="{C821688B-9DC4-E54C-B550-7F1E5EEC5A7F}"/>
              </a:ext>
            </a:extLst>
          </p:cNvPr>
          <p:cNvSpPr>
            <a:spLocks noGrp="1"/>
          </p:cNvSpPr>
          <p:nvPr>
            <p:ph type="pic" sz="quarter" idx="38"/>
          </p:nvPr>
        </p:nvSpPr>
        <p:spPr>
          <a:xfrm>
            <a:off x="7201458" y="1714500"/>
            <a:ext cx="1370853" cy="137085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54" name="Text Placeholder 4">
            <a:extLst>
              <a:ext uri="{FF2B5EF4-FFF2-40B4-BE49-F238E27FC236}">
                <a16:creationId xmlns:a16="http://schemas.microsoft.com/office/drawing/2014/main" id="{F64D5498-0A31-7845-AECC-FBA64746C22C}"/>
              </a:ext>
            </a:extLst>
          </p:cNvPr>
          <p:cNvSpPr>
            <a:spLocks noGrp="1"/>
          </p:cNvSpPr>
          <p:nvPr>
            <p:ph type="body" sz="quarter" idx="39" hasCustomPrompt="1"/>
          </p:nvPr>
        </p:nvSpPr>
        <p:spPr>
          <a:xfrm>
            <a:off x="9449546" y="3214681"/>
            <a:ext cx="1370852"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55" name="Picture Placeholder 2">
            <a:extLst>
              <a:ext uri="{FF2B5EF4-FFF2-40B4-BE49-F238E27FC236}">
                <a16:creationId xmlns:a16="http://schemas.microsoft.com/office/drawing/2014/main" id="{22A03375-6E7E-F84C-B35E-B5FF85E300EE}"/>
              </a:ext>
            </a:extLst>
          </p:cNvPr>
          <p:cNvSpPr>
            <a:spLocks noGrp="1"/>
          </p:cNvSpPr>
          <p:nvPr>
            <p:ph type="pic" sz="quarter" idx="40"/>
          </p:nvPr>
        </p:nvSpPr>
        <p:spPr>
          <a:xfrm>
            <a:off x="9449544" y="1714500"/>
            <a:ext cx="1370853" cy="137085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66" name="Text Placeholder 4">
            <a:extLst>
              <a:ext uri="{FF2B5EF4-FFF2-40B4-BE49-F238E27FC236}">
                <a16:creationId xmlns:a16="http://schemas.microsoft.com/office/drawing/2014/main" id="{F51B6EE0-A216-A340-B77D-74318EE2C4CA}"/>
              </a:ext>
            </a:extLst>
          </p:cNvPr>
          <p:cNvSpPr>
            <a:spLocks noGrp="1"/>
          </p:cNvSpPr>
          <p:nvPr>
            <p:ph type="body" sz="quarter" idx="41" hasCustomPrompt="1"/>
          </p:nvPr>
        </p:nvSpPr>
        <p:spPr>
          <a:xfrm>
            <a:off x="457202" y="5578739"/>
            <a:ext cx="1370852"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67" name="Picture Placeholder 2">
            <a:extLst>
              <a:ext uri="{FF2B5EF4-FFF2-40B4-BE49-F238E27FC236}">
                <a16:creationId xmlns:a16="http://schemas.microsoft.com/office/drawing/2014/main" id="{9F4195E9-350D-0A42-B9F4-344CBEFA994D}"/>
              </a:ext>
            </a:extLst>
          </p:cNvPr>
          <p:cNvSpPr>
            <a:spLocks noGrp="1"/>
          </p:cNvSpPr>
          <p:nvPr>
            <p:ph type="pic" sz="quarter" idx="42"/>
          </p:nvPr>
        </p:nvSpPr>
        <p:spPr>
          <a:xfrm>
            <a:off x="457200" y="4078558"/>
            <a:ext cx="1370853" cy="137085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68" name="Text Placeholder 4">
            <a:extLst>
              <a:ext uri="{FF2B5EF4-FFF2-40B4-BE49-F238E27FC236}">
                <a16:creationId xmlns:a16="http://schemas.microsoft.com/office/drawing/2014/main" id="{AD0BD5D4-9DBD-7546-A2A0-B6A23770C9DB}"/>
              </a:ext>
            </a:extLst>
          </p:cNvPr>
          <p:cNvSpPr>
            <a:spLocks noGrp="1"/>
          </p:cNvSpPr>
          <p:nvPr>
            <p:ph type="body" sz="quarter" idx="43" hasCustomPrompt="1"/>
          </p:nvPr>
        </p:nvSpPr>
        <p:spPr>
          <a:xfrm>
            <a:off x="2705287" y="5578739"/>
            <a:ext cx="1370852"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69" name="Picture Placeholder 2">
            <a:extLst>
              <a:ext uri="{FF2B5EF4-FFF2-40B4-BE49-F238E27FC236}">
                <a16:creationId xmlns:a16="http://schemas.microsoft.com/office/drawing/2014/main" id="{2BCE1A19-7234-3E45-8BE2-DB7CA18EF7E0}"/>
              </a:ext>
            </a:extLst>
          </p:cNvPr>
          <p:cNvSpPr>
            <a:spLocks noGrp="1"/>
          </p:cNvSpPr>
          <p:nvPr>
            <p:ph type="pic" sz="quarter" idx="44"/>
          </p:nvPr>
        </p:nvSpPr>
        <p:spPr>
          <a:xfrm>
            <a:off x="2705286" y="4078558"/>
            <a:ext cx="1370853" cy="137085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70" name="Text Placeholder 4">
            <a:extLst>
              <a:ext uri="{FF2B5EF4-FFF2-40B4-BE49-F238E27FC236}">
                <a16:creationId xmlns:a16="http://schemas.microsoft.com/office/drawing/2014/main" id="{03F7A986-6CF2-1C45-8EAE-91DEB4537185}"/>
              </a:ext>
            </a:extLst>
          </p:cNvPr>
          <p:cNvSpPr>
            <a:spLocks noGrp="1"/>
          </p:cNvSpPr>
          <p:nvPr>
            <p:ph type="body" sz="quarter" idx="45" hasCustomPrompt="1"/>
          </p:nvPr>
        </p:nvSpPr>
        <p:spPr>
          <a:xfrm>
            <a:off x="4953372" y="5578739"/>
            <a:ext cx="1370852"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71" name="Picture Placeholder 2">
            <a:extLst>
              <a:ext uri="{FF2B5EF4-FFF2-40B4-BE49-F238E27FC236}">
                <a16:creationId xmlns:a16="http://schemas.microsoft.com/office/drawing/2014/main" id="{B486F4C6-011C-C24C-8240-2930D352BCC3}"/>
              </a:ext>
            </a:extLst>
          </p:cNvPr>
          <p:cNvSpPr>
            <a:spLocks noGrp="1"/>
          </p:cNvSpPr>
          <p:nvPr>
            <p:ph type="pic" sz="quarter" idx="46"/>
          </p:nvPr>
        </p:nvSpPr>
        <p:spPr>
          <a:xfrm>
            <a:off x="4953372" y="4078558"/>
            <a:ext cx="1370853" cy="137085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72" name="Text Placeholder 4">
            <a:extLst>
              <a:ext uri="{FF2B5EF4-FFF2-40B4-BE49-F238E27FC236}">
                <a16:creationId xmlns:a16="http://schemas.microsoft.com/office/drawing/2014/main" id="{52F18604-BAC7-3142-8224-ABFF6875A834}"/>
              </a:ext>
            </a:extLst>
          </p:cNvPr>
          <p:cNvSpPr>
            <a:spLocks noGrp="1"/>
          </p:cNvSpPr>
          <p:nvPr>
            <p:ph type="body" sz="quarter" idx="47" hasCustomPrompt="1"/>
          </p:nvPr>
        </p:nvSpPr>
        <p:spPr>
          <a:xfrm>
            <a:off x="7201457" y="5578739"/>
            <a:ext cx="1370852"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73" name="Picture Placeholder 2">
            <a:extLst>
              <a:ext uri="{FF2B5EF4-FFF2-40B4-BE49-F238E27FC236}">
                <a16:creationId xmlns:a16="http://schemas.microsoft.com/office/drawing/2014/main" id="{0117FBD2-2C25-F84F-8CB6-D67F26C154B2}"/>
              </a:ext>
            </a:extLst>
          </p:cNvPr>
          <p:cNvSpPr>
            <a:spLocks noGrp="1"/>
          </p:cNvSpPr>
          <p:nvPr>
            <p:ph type="pic" sz="quarter" idx="48"/>
          </p:nvPr>
        </p:nvSpPr>
        <p:spPr>
          <a:xfrm>
            <a:off x="7201458" y="4078558"/>
            <a:ext cx="1370853" cy="137085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74" name="Text Placeholder 4">
            <a:extLst>
              <a:ext uri="{FF2B5EF4-FFF2-40B4-BE49-F238E27FC236}">
                <a16:creationId xmlns:a16="http://schemas.microsoft.com/office/drawing/2014/main" id="{E902A3EE-4DEC-214B-A952-33F361F5B82E}"/>
              </a:ext>
            </a:extLst>
          </p:cNvPr>
          <p:cNvSpPr>
            <a:spLocks noGrp="1"/>
          </p:cNvSpPr>
          <p:nvPr>
            <p:ph type="body" sz="quarter" idx="49" hasCustomPrompt="1"/>
          </p:nvPr>
        </p:nvSpPr>
        <p:spPr>
          <a:xfrm>
            <a:off x="9449546" y="5578739"/>
            <a:ext cx="1370852" cy="540917"/>
          </a:xfrm>
        </p:spPr>
        <p:txBody>
          <a:bodyPr wrap="square">
            <a:spAutoFit/>
          </a:bodyPr>
          <a:lstStyle>
            <a:lvl1pPr marL="0" indent="0" rtl="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75" name="Picture Placeholder 2">
            <a:extLst>
              <a:ext uri="{FF2B5EF4-FFF2-40B4-BE49-F238E27FC236}">
                <a16:creationId xmlns:a16="http://schemas.microsoft.com/office/drawing/2014/main" id="{CD494E09-6CEA-404D-81AA-FDB6019E543D}"/>
              </a:ext>
            </a:extLst>
          </p:cNvPr>
          <p:cNvSpPr>
            <a:spLocks noGrp="1"/>
          </p:cNvSpPr>
          <p:nvPr>
            <p:ph type="pic" sz="quarter" idx="50"/>
          </p:nvPr>
        </p:nvSpPr>
        <p:spPr>
          <a:xfrm>
            <a:off x="9449544" y="4078558"/>
            <a:ext cx="1370853" cy="1370853"/>
          </a:xfrm>
          <a:solidFill>
            <a:schemeClr val="tx1">
              <a:lumMod val="65000"/>
              <a:lumOff val="35000"/>
            </a:schemeClr>
          </a:solidFill>
        </p:spPr>
        <p:txBody>
          <a:bodyPr vert="horz" wrap="square" lIns="0" tIns="0" rIns="0" bIns="720000" rtlCol="0" anchor="ctr" anchorCtr="0">
            <a:noAutofit/>
          </a:bodyPr>
          <a:lstStyle>
            <a:lvl1pPr rtl="0">
              <a:defRPr lang="en-US" sz="1000" b="1" dirty="0">
                <a:solidFill>
                  <a:schemeClr val="bg1"/>
                </a:solidFill>
              </a:defRPr>
            </a:lvl1pPr>
          </a:lstStyle>
          <a:p>
            <a:pPr lvl="0" algn="ctr"/>
            <a:r>
              <a:rPr lang="en-US"/>
              <a:t>Click icon to add picture</a:t>
            </a:r>
          </a:p>
        </p:txBody>
      </p:sp>
      <p:sp>
        <p:nvSpPr>
          <p:cNvPr id="2" name="Title 1">
            <a:extLst>
              <a:ext uri="{FF2B5EF4-FFF2-40B4-BE49-F238E27FC236}">
                <a16:creationId xmlns:a16="http://schemas.microsoft.com/office/drawing/2014/main" id="{6F1266CA-74F1-3A46-BE92-EACC13537B89}"/>
              </a:ext>
            </a:extLst>
          </p:cNvPr>
          <p:cNvSpPr>
            <a:spLocks noGrp="1"/>
          </p:cNvSpPr>
          <p:nvPr>
            <p:ph type="title"/>
          </p:nvPr>
        </p:nvSpPr>
        <p:spPr/>
        <p:txBody>
          <a:bodyPr vert="horz"/>
          <a:lstStyle>
            <a:lvl1pPr rtl="0">
              <a:defRPr/>
            </a:lvl1pPr>
          </a:lstStyle>
          <a:p>
            <a:r>
              <a:rPr lang="en-US"/>
              <a:t>Click to edit Master title style</a:t>
            </a:r>
          </a:p>
        </p:txBody>
      </p:sp>
      <p:sp>
        <p:nvSpPr>
          <p:cNvPr id="26" name="Text Placeholder 8">
            <a:extLst>
              <a:ext uri="{FF2B5EF4-FFF2-40B4-BE49-F238E27FC236}">
                <a16:creationId xmlns:a16="http://schemas.microsoft.com/office/drawing/2014/main" id="{D81C0624-2624-0D4C-AD78-655E38E759FF}"/>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Tree>
    <p:extLst>
      <p:ext uri="{BB962C8B-B14F-4D97-AF65-F5344CB8AC3E}">
        <p14:creationId xmlns:p14="http://schemas.microsoft.com/office/powerpoint/2010/main" val="2141671741"/>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FA6C0C-4CF1-5773-B472-744E9292F16A}"/>
              </a:ext>
            </a:extLst>
          </p:cNvPr>
          <p:cNvGraphicFramePr>
            <a:graphicFrameLocks noChangeAspect="1"/>
          </p:cNvGraphicFramePr>
          <p:nvPr userDrawn="1">
            <p:custDataLst>
              <p:tags r:id="rId1"/>
            </p:custDataLst>
            <p:extLst>
              <p:ext uri="{D42A27DB-BD31-4B8C-83A1-F6EECF244321}">
                <p14:modId xmlns:p14="http://schemas.microsoft.com/office/powerpoint/2010/main" val="3056178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42FA6C0C-4CF1-5773-B472-744E9292F1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4FF3B6AE-C489-C942-9A25-D27F57242FBA}"/>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Tree>
    <p:extLst>
      <p:ext uri="{BB962C8B-B14F-4D97-AF65-F5344CB8AC3E}">
        <p14:creationId xmlns:p14="http://schemas.microsoft.com/office/powerpoint/2010/main" val="19631890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C765A91-164E-F13D-5F60-DF9665BE49AF}"/>
              </a:ext>
            </a:extLst>
          </p:cNvPr>
          <p:cNvGraphicFramePr>
            <a:graphicFrameLocks noChangeAspect="1"/>
          </p:cNvGraphicFramePr>
          <p:nvPr userDrawn="1">
            <p:custDataLst>
              <p:tags r:id="rId1"/>
            </p:custDataLst>
            <p:extLst>
              <p:ext uri="{D42A27DB-BD31-4B8C-83A1-F6EECF244321}">
                <p14:modId xmlns:p14="http://schemas.microsoft.com/office/powerpoint/2010/main" val="2162584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6C765A91-164E-F13D-5F60-DF9665BE4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rtl="0">
              <a:buFontTx/>
              <a:buNone/>
              <a:defRPr sz="1200">
                <a:latin typeface="+mn-lt"/>
              </a:defRPr>
            </a:lvl1pPr>
            <a:lvl2pPr marL="104775" indent="-104775" algn="l" rtl="0">
              <a:buClrTx/>
              <a:buSzPct val="100000"/>
              <a:buFont typeface="Arial" panose="020B0604020202020204" pitchFamily="34" charset="0"/>
              <a:buChar char="•"/>
              <a:defRPr sz="1200">
                <a:latin typeface="+mj-lt"/>
              </a:defRPr>
            </a:lvl2pPr>
            <a:lvl3pPr marL="228600" indent="-104775" algn="l" rtl="0">
              <a:buClrTx/>
              <a:buSzPct val="100000"/>
              <a:buFont typeface="Arial" panose="020B0604020202020204" pitchFamily="34" charset="0"/>
              <a:buChar char="−"/>
              <a:defRPr sz="1200">
                <a:latin typeface="+mn-lt"/>
              </a:defRPr>
            </a:lvl3pPr>
            <a:lvl4pPr marL="352425" indent="-104775" algn="l" rtl="0">
              <a:buClrTx/>
              <a:buSzPct val="100000"/>
              <a:buFont typeface="Arial" panose="020B0604020202020204" pitchFamily="34" charset="0"/>
              <a:buChar char="◦"/>
              <a:defRPr sz="1200">
                <a:latin typeface="+mn-lt"/>
              </a:defRPr>
            </a:lvl4pPr>
            <a:lvl5pPr marL="476250" indent="-104775" algn="l" rtl="0">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5" name="Title Placeholder 1">
            <a:extLst>
              <a:ext uri="{FF2B5EF4-FFF2-40B4-BE49-F238E27FC236}">
                <a16:creationId xmlns:a16="http://schemas.microsoft.com/office/drawing/2014/main" id="{D85CBAF5-1AF5-0E4B-A944-E0F10FAA243E}"/>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Tree>
    <p:extLst>
      <p:ext uri="{BB962C8B-B14F-4D97-AF65-F5344CB8AC3E}">
        <p14:creationId xmlns:p14="http://schemas.microsoft.com/office/powerpoint/2010/main" val="415576498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108D1A6-0A3B-8617-F8DF-40DA46B8EFAC}"/>
              </a:ext>
            </a:extLst>
          </p:cNvPr>
          <p:cNvGraphicFramePr>
            <a:graphicFrameLocks noChangeAspect="1"/>
          </p:cNvGraphicFramePr>
          <p:nvPr userDrawn="1">
            <p:custDataLst>
              <p:tags r:id="rId1"/>
            </p:custDataLst>
            <p:extLst>
              <p:ext uri="{D42A27DB-BD31-4B8C-83A1-F6EECF244321}">
                <p14:modId xmlns:p14="http://schemas.microsoft.com/office/powerpoint/2010/main" val="279540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1108D1A6-0A3B-8617-F8DF-40DA46B8EF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rtl="0">
              <a:defRPr sz="1200"/>
            </a:lvl1pPr>
            <a:lvl2pPr rtl="0">
              <a:defRPr sz="1200"/>
            </a:lvl2pPr>
            <a:lvl3pPr rtl="0">
              <a:defRPr sz="1200"/>
            </a:lvl3pPr>
            <a:lvl4pPr rtl="0">
              <a:defRPr sz="1200"/>
            </a:lvl4pPr>
            <a:lvl5pPr rtl="0">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B6424F76-3B0F-DC4F-AD9E-C0F4F46B8C74}"/>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3AD7C6AA-43E7-7F49-979A-DEDBE64EB746}"/>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Tree>
    <p:extLst>
      <p:ext uri="{BB962C8B-B14F-4D97-AF65-F5344CB8AC3E}">
        <p14:creationId xmlns:p14="http://schemas.microsoft.com/office/powerpoint/2010/main" val="2265361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9444B6-E85F-0DA2-38F4-B51C0C49585A}"/>
              </a:ext>
            </a:extLst>
          </p:cNvPr>
          <p:cNvGraphicFramePr>
            <a:graphicFrameLocks noChangeAspect="1"/>
          </p:cNvGraphicFramePr>
          <p:nvPr userDrawn="1">
            <p:custDataLst>
              <p:tags r:id="rId1"/>
            </p:custDataLst>
            <p:extLst>
              <p:ext uri="{D42A27DB-BD31-4B8C-83A1-F6EECF244321}">
                <p14:modId xmlns:p14="http://schemas.microsoft.com/office/powerpoint/2010/main" val="1290432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689444B6-E85F-0DA2-38F4-B51C0C4958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8">
            <a:extLst>
              <a:ext uri="{FF2B5EF4-FFF2-40B4-BE49-F238E27FC236}">
                <a16:creationId xmlns:a16="http://schemas.microsoft.com/office/drawing/2014/main" id="{23E2D96F-89AE-5243-A8A4-88BE95C71B9C}"/>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709F49D9-154D-3F43-870F-995F6D89DD38}"/>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Tree>
    <p:extLst>
      <p:ext uri="{BB962C8B-B14F-4D97-AF65-F5344CB8AC3E}">
        <p14:creationId xmlns:p14="http://schemas.microsoft.com/office/powerpoint/2010/main" val="348062292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Cop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959D76-1287-218B-ADDA-1393F555642D}"/>
              </a:ext>
            </a:extLst>
          </p:cNvPr>
          <p:cNvGraphicFramePr>
            <a:graphicFrameLocks noChangeAspect="1"/>
          </p:cNvGraphicFramePr>
          <p:nvPr userDrawn="1">
            <p:custDataLst>
              <p:tags r:id="rId1"/>
            </p:custDataLst>
            <p:extLst>
              <p:ext uri="{D42A27DB-BD31-4B8C-83A1-F6EECF244321}">
                <p14:modId xmlns:p14="http://schemas.microsoft.com/office/powerpoint/2010/main" val="199155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F6959D76-1287-218B-ADDA-1393F55564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3">
            <a:extLst>
              <a:ext uri="{FF2B5EF4-FFF2-40B4-BE49-F238E27FC236}">
                <a16:creationId xmlns:a16="http://schemas.microsoft.com/office/drawing/2014/main" id="{07D9AEBF-798E-9440-B960-77204C476ECF}"/>
              </a:ext>
            </a:extLst>
          </p:cNvPr>
          <p:cNvSpPr>
            <a:spLocks noGrp="1"/>
          </p:cNvSpPr>
          <p:nvPr>
            <p:ph sz="quarter" idx="10"/>
          </p:nvPr>
        </p:nvSpPr>
        <p:spPr>
          <a:xfrm>
            <a:off x="457201" y="2529443"/>
            <a:ext cx="3555999" cy="3833257"/>
          </a:xfrm>
          <a:prstGeom prst="rect">
            <a:avLst/>
          </a:prstGeom>
        </p:spPr>
        <p:txBody>
          <a:bodyPr vert="horz" lIns="0" tIns="0" rIns="0" bIns="0" rtlCol="0">
            <a:noAutofit/>
          </a:bodyPr>
          <a:lstStyle>
            <a:lvl1pPr marL="0" indent="0" rtl="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1pPr>
            <a:lvl2pPr marL="0" indent="0" rtl="0">
              <a:lnSpc>
                <a:spcPct val="120000"/>
              </a:lnSpc>
              <a:spcAft>
                <a:spcPts val="600"/>
              </a:spcAft>
              <a:buFont typeface="Arial" panose="020B0604020202020204" pitchFamily="34" charset="0"/>
              <a:buNone/>
              <a:defRPr kumimoji="0" lang="en-US" sz="1200" b="1" i="0" u="none" strike="noStrike" cap="none" spc="0" normalizeH="0" baseline="0" noProof="0" dirty="0">
                <a:ln>
                  <a:noFill/>
                </a:ln>
                <a:solidFill>
                  <a:srgbClr val="000000"/>
                </a:solidFill>
                <a:effectLst/>
                <a:uLnTx/>
                <a:uFillTx/>
                <a:latin typeface="Open Sans"/>
                <a:ea typeface="+mn-ea"/>
                <a:cs typeface="+mn-cs"/>
              </a:defRPr>
            </a:lvl2pPr>
            <a:lvl3pPr marL="0" indent="0" rtl="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3pPr>
            <a:lvl4pPr marL="0" indent="0" rtl="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4pPr>
            <a:lvl5pPr marL="0" indent="0" rtl="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5pPr>
          </a:lstStyle>
          <a:p>
            <a:pPr marL="228600" marR="0" lvl="0" indent="-228600" defTabSz="1219170" fontAlgn="auto">
              <a:spcBef>
                <a:spcPts val="0"/>
              </a:spcBef>
              <a:spcAft>
                <a:spcPts val="1333"/>
              </a:spcAft>
              <a:buClrTx/>
              <a:buSzPct val="100000"/>
              <a:tabLst>
                <a:tab pos="8972326" algn="r"/>
              </a:tabLst>
            </a:pPr>
            <a:r>
              <a:rPr lang="en-US" noProof="0"/>
              <a:t>Click to edit Master text styles</a:t>
            </a:r>
          </a:p>
          <a:p>
            <a:pPr marL="171450" marR="0" lvl="1" indent="-171450" defTabSz="1219170" fontAlgn="auto">
              <a:spcBef>
                <a:spcPts val="0"/>
              </a:spcBef>
              <a:spcAft>
                <a:spcPts val="1333"/>
              </a:spcAft>
              <a:buClrTx/>
              <a:buSzPct val="100000"/>
              <a:tabLst>
                <a:tab pos="8972326" algn="r"/>
              </a:tabLst>
            </a:pPr>
            <a:r>
              <a:rPr lang="en-US" noProof="0"/>
              <a:t>Second level</a:t>
            </a:r>
          </a:p>
          <a:p>
            <a:pPr marL="235194" marR="0" lvl="2" indent="-235194" defTabSz="1219170" fontAlgn="auto">
              <a:spcBef>
                <a:spcPts val="0"/>
              </a:spcBef>
              <a:spcAft>
                <a:spcPts val="1333"/>
              </a:spcAft>
              <a:buClrTx/>
              <a:buSzPct val="100000"/>
              <a:tabLst>
                <a:tab pos="8972326" algn="r"/>
              </a:tabLst>
            </a:pPr>
            <a:r>
              <a:rPr lang="en-US" noProof="0"/>
              <a:t>Third level</a:t>
            </a:r>
          </a:p>
          <a:p>
            <a:pPr marL="475188" marR="0" lvl="3" indent="-235194" defTabSz="1219170" fontAlgn="auto">
              <a:spcBef>
                <a:spcPts val="0"/>
              </a:spcBef>
              <a:spcAft>
                <a:spcPts val="1333"/>
              </a:spcAft>
              <a:buClrTx/>
              <a:buSzPct val="100000"/>
              <a:buFont typeface="Verdana" panose="020B0604030504040204" pitchFamily="34" charset="0"/>
              <a:buChar char="−"/>
              <a:tabLst>
                <a:tab pos="8972326" algn="r"/>
              </a:tabLst>
            </a:pPr>
            <a:r>
              <a:rPr lang="en-US" noProof="0"/>
              <a:t>Fourth level</a:t>
            </a:r>
          </a:p>
          <a:p>
            <a:pPr marL="710382" marR="0" lvl="4" indent="-235194" defTabSz="1064657" fontAlgn="auto">
              <a:spcBef>
                <a:spcPts val="0"/>
              </a:spcBef>
              <a:spcAft>
                <a:spcPts val="1333"/>
              </a:spcAft>
              <a:buClrTx/>
              <a:buSzPct val="100000"/>
              <a:buFont typeface="Verdana" panose="020B0604030504040204" pitchFamily="34" charset="0"/>
              <a:buChar char="−"/>
              <a:tabLst>
                <a:tab pos="6705432" algn="r"/>
              </a:tabLst>
            </a:pPr>
            <a:r>
              <a:rPr lang="en-US" noProof="0"/>
              <a:t>Fifth level</a:t>
            </a:r>
          </a:p>
        </p:txBody>
      </p:sp>
      <p:sp>
        <p:nvSpPr>
          <p:cNvPr id="8" name="Text Placeholder 8">
            <a:extLst>
              <a:ext uri="{FF2B5EF4-FFF2-40B4-BE49-F238E27FC236}">
                <a16:creationId xmlns:a16="http://schemas.microsoft.com/office/drawing/2014/main" id="{8B8D70B5-6DFA-6D40-BA14-D18A4FAEB0AC}"/>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E5D90F06-592B-6749-A1A1-6C64956937F9}"/>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Tree>
    <p:extLst>
      <p:ext uri="{BB962C8B-B14F-4D97-AF65-F5344CB8AC3E}">
        <p14:creationId xmlns:p14="http://schemas.microsoft.com/office/powerpoint/2010/main" val="65603389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2 Column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14717B-BBFF-F76A-0B81-9D4B44DC7ADF}"/>
              </a:ext>
            </a:extLst>
          </p:cNvPr>
          <p:cNvGraphicFramePr>
            <a:graphicFrameLocks noChangeAspect="1"/>
          </p:cNvGraphicFramePr>
          <p:nvPr userDrawn="1">
            <p:custDataLst>
              <p:tags r:id="rId1"/>
            </p:custDataLst>
            <p:extLst>
              <p:ext uri="{D42A27DB-BD31-4B8C-83A1-F6EECF244321}">
                <p14:modId xmlns:p14="http://schemas.microsoft.com/office/powerpoint/2010/main" val="14466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2B14717B-BBFF-F76A-0B81-9D4B44DC7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DE34624-9E83-9041-8C2D-C4FE895E35FB}"/>
              </a:ext>
            </a:extLst>
          </p:cNvPr>
          <p:cNvSpPr>
            <a:spLocks noGrp="1"/>
          </p:cNvSpPr>
          <p:nvPr>
            <p:ph type="sldNum" sz="quarter" idx="16"/>
          </p:nvPr>
        </p:nvSpPr>
        <p:spPr>
          <a:xfrm>
            <a:off x="914400" y="6428516"/>
            <a:ext cx="288000" cy="144000"/>
          </a:xfrm>
          <a:prstGeom prst="rect">
            <a:avLst/>
          </a:prstGeom>
        </p:spPr>
        <p:txBody>
          <a:bodyPr vert="horz" lIns="0" tIns="0" rIns="0" bIns="0" rtlCol="0" anchor="ctr"/>
          <a:lstStyle>
            <a:defPPr>
              <a:defRPr lang="en-DE"/>
            </a:defPPr>
            <a:lvl1pPr marL="0" algn="l" defTabSz="914400" rtl="0" eaLnBrk="1" latinLnBrk="0" hangingPunct="1">
              <a:defRPr lang="en-US" sz="800" b="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E4C9C1C-1113-7C45-B1CD-294E50D549B7}" type="slidenum">
              <a:rPr lang="de-DE" smtClean="0"/>
              <a:pPr/>
              <a:t>‹#›</a:t>
            </a:fld>
            <a:endParaRPr lang="de-DE"/>
          </a:p>
        </p:txBody>
      </p:sp>
      <p:sp>
        <p:nvSpPr>
          <p:cNvPr id="12" name="TextBox 10">
            <a:extLst>
              <a:ext uri="{FF2B5EF4-FFF2-40B4-BE49-F238E27FC236}">
                <a16:creationId xmlns:a16="http://schemas.microsoft.com/office/drawing/2014/main" id="{C50EF561-92B0-5444-98B0-B4152E8CAC6D}"/>
              </a:ext>
            </a:extLst>
          </p:cNvPr>
          <p:cNvSpPr txBox="1"/>
          <p:nvPr userDrawn="1"/>
        </p:nvSpPr>
        <p:spPr>
          <a:xfrm>
            <a:off x="1205576" y="6438960"/>
            <a:ext cx="4214150" cy="133556"/>
          </a:xfrm>
          <a:prstGeom prst="rect">
            <a:avLst/>
          </a:prstGeom>
        </p:spPr>
        <p:txBody>
          <a:bodyPr vert="horz" lIns="0" tIns="0" rIns="0" bIns="0" rtlCol="0" anchor="ctr" anchorCtr="0"/>
          <a:lstStyle>
            <a:defPPr>
              <a:defRPr lang="de-DE"/>
            </a:defPPr>
            <a:lvl1pPr>
              <a:defRPr sz="800" b="0" i="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rtl="0">
              <a:tabLst>
                <a:tab pos="177800" algn="l"/>
              </a:tabLst>
            </a:pPr>
            <a:r>
              <a:rPr lang="en-US" sz="800">
                <a:solidFill>
                  <a:schemeClr val="bg1">
                    <a:lumMod val="75000"/>
                  </a:schemeClr>
                </a:solidFill>
                <a:effectLst/>
                <a:latin typeface="Open Sans" panose="020B0606030504020204" pitchFamily="34" charset="0"/>
              </a:rPr>
              <a:t>|	Deloitte 2021</a:t>
            </a:r>
          </a:p>
        </p:txBody>
      </p:sp>
      <p:sp>
        <p:nvSpPr>
          <p:cNvPr id="9" name="Text Placeholder 8">
            <a:extLst>
              <a:ext uri="{FF2B5EF4-FFF2-40B4-BE49-F238E27FC236}">
                <a16:creationId xmlns:a16="http://schemas.microsoft.com/office/drawing/2014/main" id="{F97F395A-3B0F-FF4C-B605-3DB430171BBC}"/>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
        <p:nvSpPr>
          <p:cNvPr id="10" name="Title Placeholder 1">
            <a:extLst>
              <a:ext uri="{FF2B5EF4-FFF2-40B4-BE49-F238E27FC236}">
                <a16:creationId xmlns:a16="http://schemas.microsoft.com/office/drawing/2014/main" id="{8B548418-DEB7-F343-8917-F7FA1F7FC854}"/>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
        <p:nvSpPr>
          <p:cNvPr id="13" name="Text Placeholder 4">
            <a:extLst>
              <a:ext uri="{FF2B5EF4-FFF2-40B4-BE49-F238E27FC236}">
                <a16:creationId xmlns:a16="http://schemas.microsoft.com/office/drawing/2014/main" id="{78A7DDB8-A19B-0446-9C37-20C60B58FCB8}"/>
              </a:ext>
            </a:extLst>
          </p:cNvPr>
          <p:cNvSpPr>
            <a:spLocks noGrp="1"/>
          </p:cNvSpPr>
          <p:nvPr>
            <p:ph type="body" sz="quarter" idx="21"/>
          </p:nvPr>
        </p:nvSpPr>
        <p:spPr>
          <a:xfrm>
            <a:off x="457200" y="1714500"/>
            <a:ext cx="5486400" cy="4648200"/>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16" name="Text Placeholder 4">
            <a:extLst>
              <a:ext uri="{FF2B5EF4-FFF2-40B4-BE49-F238E27FC236}">
                <a16:creationId xmlns:a16="http://schemas.microsoft.com/office/drawing/2014/main" id="{D0E7A798-BFED-4B48-87DE-BECA6D336E09}"/>
              </a:ext>
            </a:extLst>
          </p:cNvPr>
          <p:cNvSpPr>
            <a:spLocks noGrp="1"/>
          </p:cNvSpPr>
          <p:nvPr>
            <p:ph type="body" sz="quarter" idx="23"/>
          </p:nvPr>
        </p:nvSpPr>
        <p:spPr>
          <a:xfrm>
            <a:off x="6255028" y="1714500"/>
            <a:ext cx="5486400" cy="4648200"/>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Tree>
    <p:extLst>
      <p:ext uri="{BB962C8B-B14F-4D97-AF65-F5344CB8AC3E}">
        <p14:creationId xmlns:p14="http://schemas.microsoft.com/office/powerpoint/2010/main" val="1005882381"/>
      </p:ext>
    </p:extLst>
  </p:cSld>
  <p:clrMapOvr>
    <a:masterClrMapping/>
  </p:clrMapOvr>
  <p:transition>
    <p:fade/>
  </p:transition>
  <p:extLst>
    <p:ext uri="{DCECCB84-F9BA-43D5-87BE-67443E8EF086}">
      <p15:sldGuideLst xmlns:p15="http://schemas.microsoft.com/office/powerpoint/2012/main">
        <p15:guide id="1" pos="3784">
          <p15:clr>
            <a:srgbClr val="5ACBF0"/>
          </p15:clr>
        </p15:guide>
        <p15:guide id="2" pos="38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Divider - Deloitte Accessible Green">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8471CAD-EC7D-0179-CF16-F820E87B14F9}"/>
              </a:ext>
            </a:extLst>
          </p:cNvPr>
          <p:cNvSpPr>
            <a:spLocks noGrp="1"/>
          </p:cNvSpPr>
          <p:nvPr>
            <p:ph type="title"/>
          </p:nvPr>
        </p:nvSpPr>
        <p:spPr bwMode="gray">
          <a:xfrm>
            <a:off x="501651" y="1670834"/>
            <a:ext cx="10347324" cy="1592403"/>
          </a:xfrm>
          <a:prstGeom prst="rect">
            <a:avLst/>
          </a:prstGeom>
        </p:spPr>
        <p:txBody>
          <a:bodyPr lIns="0" anchor="b"/>
          <a:lstStyle>
            <a:lvl1pPr>
              <a:lnSpc>
                <a:spcPct val="95000"/>
              </a:lnSpc>
              <a:defRPr sz="4000" b="1">
                <a:solidFill>
                  <a:srgbClr val="D0D0CE"/>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32C2B597-942F-E8EA-3652-C71185E83010}"/>
              </a:ext>
            </a:extLst>
          </p:cNvPr>
          <p:cNvSpPr>
            <a:spLocks noGrp="1"/>
          </p:cNvSpPr>
          <p:nvPr>
            <p:ph type="body" idx="1"/>
          </p:nvPr>
        </p:nvSpPr>
        <p:spPr bwMode="gray">
          <a:xfrm>
            <a:off x="501651" y="3429000"/>
            <a:ext cx="10347324" cy="1566532"/>
          </a:xfrm>
          <a:prstGeom prst="rect">
            <a:avLst/>
          </a:prstGeom>
        </p:spPr>
        <p:txBody>
          <a:bodyPr lIns="0" tIns="0" rIns="0" bIns="0">
            <a:noAutofit/>
          </a:bodyPr>
          <a:lstStyle>
            <a:lvl1pPr marL="0" indent="0">
              <a:lnSpc>
                <a:spcPct val="95000"/>
              </a:lnSpc>
              <a:spcAft>
                <a:spcPts val="0"/>
              </a:spcAft>
              <a:buNone/>
              <a:defRPr sz="1800" b="0" i="0">
                <a:solidFill>
                  <a:srgbClr val="D0D0CE"/>
                </a:solidFill>
                <a:latin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361369265"/>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3 Column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A4A0F78-27A2-401C-027E-75518B316C66}"/>
              </a:ext>
            </a:extLst>
          </p:cNvPr>
          <p:cNvGraphicFramePr>
            <a:graphicFrameLocks noChangeAspect="1"/>
          </p:cNvGraphicFramePr>
          <p:nvPr userDrawn="1">
            <p:custDataLst>
              <p:tags r:id="rId1"/>
            </p:custDataLst>
            <p:extLst>
              <p:ext uri="{D42A27DB-BD31-4B8C-83A1-F6EECF244321}">
                <p14:modId xmlns:p14="http://schemas.microsoft.com/office/powerpoint/2010/main" val="2464572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3A4A0F78-27A2-401C-027E-75518B316C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3ED164B3-5AC2-E640-8D06-3945285FD130}"/>
              </a:ext>
            </a:extLst>
          </p:cNvPr>
          <p:cNvSpPr>
            <a:spLocks noGrp="1"/>
          </p:cNvSpPr>
          <p:nvPr>
            <p:ph type="body" sz="quarter" idx="21"/>
          </p:nvPr>
        </p:nvSpPr>
        <p:spPr>
          <a:xfrm>
            <a:off x="457201" y="1714500"/>
            <a:ext cx="3555999" cy="4648200"/>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27" name="Text Placeholder 4">
            <a:extLst>
              <a:ext uri="{FF2B5EF4-FFF2-40B4-BE49-F238E27FC236}">
                <a16:creationId xmlns:a16="http://schemas.microsoft.com/office/drawing/2014/main" id="{C1A90DB9-F7C8-D34F-904A-CF8D3EB0F8F9}"/>
              </a:ext>
            </a:extLst>
          </p:cNvPr>
          <p:cNvSpPr>
            <a:spLocks noGrp="1"/>
          </p:cNvSpPr>
          <p:nvPr>
            <p:ph type="body" sz="quarter" idx="27"/>
          </p:nvPr>
        </p:nvSpPr>
        <p:spPr>
          <a:xfrm>
            <a:off x="4318000" y="1714500"/>
            <a:ext cx="3555999" cy="4648200"/>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28" name="Text Placeholder 4">
            <a:extLst>
              <a:ext uri="{FF2B5EF4-FFF2-40B4-BE49-F238E27FC236}">
                <a16:creationId xmlns:a16="http://schemas.microsoft.com/office/drawing/2014/main" id="{B9836E64-999D-1348-A8B9-85E26C47A450}"/>
              </a:ext>
            </a:extLst>
          </p:cNvPr>
          <p:cNvSpPr>
            <a:spLocks noGrp="1"/>
          </p:cNvSpPr>
          <p:nvPr>
            <p:ph type="body" sz="quarter" idx="28"/>
          </p:nvPr>
        </p:nvSpPr>
        <p:spPr>
          <a:xfrm>
            <a:off x="8178799" y="1714500"/>
            <a:ext cx="3556001" cy="4648199"/>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10" name="Text Placeholder 8">
            <a:extLst>
              <a:ext uri="{FF2B5EF4-FFF2-40B4-BE49-F238E27FC236}">
                <a16:creationId xmlns:a16="http://schemas.microsoft.com/office/drawing/2014/main" id="{12CF84F9-F728-504B-9A4D-51942C35FCC0}"/>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8568A9CD-E67D-DD4B-AC1F-210E34A13512}"/>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Tree>
    <p:extLst>
      <p:ext uri="{BB962C8B-B14F-4D97-AF65-F5344CB8AC3E}">
        <p14:creationId xmlns:p14="http://schemas.microsoft.com/office/powerpoint/2010/main" val="4181475745"/>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4 Column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2A55DE-9330-9E2D-B0F8-0B26E8BC570F}"/>
              </a:ext>
            </a:extLst>
          </p:cNvPr>
          <p:cNvGraphicFramePr>
            <a:graphicFrameLocks noChangeAspect="1"/>
          </p:cNvGraphicFramePr>
          <p:nvPr userDrawn="1">
            <p:custDataLst>
              <p:tags r:id="rId1"/>
            </p:custDataLst>
            <p:extLst>
              <p:ext uri="{D42A27DB-BD31-4B8C-83A1-F6EECF244321}">
                <p14:modId xmlns:p14="http://schemas.microsoft.com/office/powerpoint/2010/main" val="423658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ED2A55DE-9330-9E2D-B0F8-0B26E8BC57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Text Placeholder 4">
            <a:extLst>
              <a:ext uri="{FF2B5EF4-FFF2-40B4-BE49-F238E27FC236}">
                <a16:creationId xmlns:a16="http://schemas.microsoft.com/office/drawing/2014/main" id="{B9836E64-999D-1348-A8B9-85E26C47A450}"/>
              </a:ext>
            </a:extLst>
          </p:cNvPr>
          <p:cNvSpPr>
            <a:spLocks noGrp="1"/>
          </p:cNvSpPr>
          <p:nvPr>
            <p:ph type="body" sz="quarter" idx="28"/>
          </p:nvPr>
        </p:nvSpPr>
        <p:spPr>
          <a:xfrm>
            <a:off x="458585" y="1714500"/>
            <a:ext cx="2589415" cy="4648200"/>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11" name="Text Placeholder 8">
            <a:extLst>
              <a:ext uri="{FF2B5EF4-FFF2-40B4-BE49-F238E27FC236}">
                <a16:creationId xmlns:a16="http://schemas.microsoft.com/office/drawing/2014/main" id="{50DE72FB-70FA-0B43-A6E5-8DBC9EE57812}"/>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
        <p:nvSpPr>
          <p:cNvPr id="12" name="Title Placeholder 1">
            <a:extLst>
              <a:ext uri="{FF2B5EF4-FFF2-40B4-BE49-F238E27FC236}">
                <a16:creationId xmlns:a16="http://schemas.microsoft.com/office/drawing/2014/main" id="{53C598F6-A0E9-B44B-8B7B-4070B7AFCD83}"/>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
        <p:nvSpPr>
          <p:cNvPr id="16" name="Text Placeholder 4">
            <a:extLst>
              <a:ext uri="{FF2B5EF4-FFF2-40B4-BE49-F238E27FC236}">
                <a16:creationId xmlns:a16="http://schemas.microsoft.com/office/drawing/2014/main" id="{A2E43FF4-7302-364B-B6C9-351AC6E5877B}"/>
              </a:ext>
            </a:extLst>
          </p:cNvPr>
          <p:cNvSpPr>
            <a:spLocks noGrp="1"/>
          </p:cNvSpPr>
          <p:nvPr>
            <p:ph type="body" sz="quarter" idx="30"/>
          </p:nvPr>
        </p:nvSpPr>
        <p:spPr>
          <a:xfrm>
            <a:off x="3354185" y="1714500"/>
            <a:ext cx="2589415" cy="4648200"/>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17" name="Text Placeholder 4">
            <a:extLst>
              <a:ext uri="{FF2B5EF4-FFF2-40B4-BE49-F238E27FC236}">
                <a16:creationId xmlns:a16="http://schemas.microsoft.com/office/drawing/2014/main" id="{1293C7D7-0295-C449-83EA-C7E8C7BD5FC6}"/>
              </a:ext>
            </a:extLst>
          </p:cNvPr>
          <p:cNvSpPr>
            <a:spLocks noGrp="1"/>
          </p:cNvSpPr>
          <p:nvPr>
            <p:ph type="body" sz="quarter" idx="31"/>
          </p:nvPr>
        </p:nvSpPr>
        <p:spPr>
          <a:xfrm>
            <a:off x="6248402" y="1714500"/>
            <a:ext cx="2589415" cy="4648200"/>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18" name="Text Placeholder 4">
            <a:extLst>
              <a:ext uri="{FF2B5EF4-FFF2-40B4-BE49-F238E27FC236}">
                <a16:creationId xmlns:a16="http://schemas.microsoft.com/office/drawing/2014/main" id="{D66150A0-46DC-7E4D-84B5-D371F093B4C9}"/>
              </a:ext>
            </a:extLst>
          </p:cNvPr>
          <p:cNvSpPr>
            <a:spLocks noGrp="1"/>
          </p:cNvSpPr>
          <p:nvPr>
            <p:ph type="body" sz="quarter" idx="32"/>
          </p:nvPr>
        </p:nvSpPr>
        <p:spPr>
          <a:xfrm>
            <a:off x="9131300" y="1714500"/>
            <a:ext cx="2589415" cy="4648200"/>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Tree>
    <p:extLst>
      <p:ext uri="{BB962C8B-B14F-4D97-AF65-F5344CB8AC3E}">
        <p14:creationId xmlns:p14="http://schemas.microsoft.com/office/powerpoint/2010/main" val="137800380"/>
      </p:ext>
    </p:extLst>
  </p:cSld>
  <p:clrMapOvr>
    <a:masterClrMapping/>
  </p:clrMapOvr>
  <p:transition>
    <p:fade/>
  </p:transition>
  <p:extLst>
    <p:ext uri="{DCECCB84-F9BA-43D5-87BE-67443E8EF086}">
      <p15:sldGuideLst xmlns:p15="http://schemas.microsoft.com/office/powerpoint/2012/main">
        <p15:guide id="1" pos="1912">
          <p15:clr>
            <a:srgbClr val="5ACBF0"/>
          </p15:clr>
        </p15:guide>
        <p15:guide id="2" pos="2112">
          <p15:clr>
            <a:srgbClr val="5ACBF0"/>
          </p15:clr>
        </p15:guide>
        <p15:guide id="3" pos="5560">
          <p15:clr>
            <a:srgbClr val="5ACBF0"/>
          </p15:clr>
        </p15:guide>
        <p15:guide id="4" pos="5752">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5 Column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D9435E-DF2C-6AC6-D774-0773475F9C29}"/>
              </a:ext>
            </a:extLst>
          </p:cNvPr>
          <p:cNvGraphicFramePr>
            <a:graphicFrameLocks noChangeAspect="1"/>
          </p:cNvGraphicFramePr>
          <p:nvPr userDrawn="1">
            <p:custDataLst>
              <p:tags r:id="rId1"/>
            </p:custDataLst>
            <p:extLst>
              <p:ext uri="{D42A27DB-BD31-4B8C-83A1-F6EECF244321}">
                <p14:modId xmlns:p14="http://schemas.microsoft.com/office/powerpoint/2010/main" val="291813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90D9435E-DF2C-6AC6-D774-0773475F9C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DE34624-9E83-9041-8C2D-C4FE895E35FB}"/>
              </a:ext>
            </a:extLst>
          </p:cNvPr>
          <p:cNvSpPr>
            <a:spLocks noGrp="1"/>
          </p:cNvSpPr>
          <p:nvPr>
            <p:ph type="sldNum" sz="quarter" idx="16"/>
          </p:nvPr>
        </p:nvSpPr>
        <p:spPr>
          <a:xfrm>
            <a:off x="914400" y="6428516"/>
            <a:ext cx="288000" cy="144000"/>
          </a:xfrm>
          <a:prstGeom prst="rect">
            <a:avLst/>
          </a:prstGeom>
        </p:spPr>
        <p:txBody>
          <a:bodyPr vert="horz" lIns="0" tIns="0" rIns="0" bIns="0" rtlCol="0" anchor="ctr"/>
          <a:lstStyle>
            <a:defPPr>
              <a:defRPr lang="en-DE"/>
            </a:defPPr>
            <a:lvl1pPr marL="0" algn="l" defTabSz="914400" rtl="0" eaLnBrk="1" latinLnBrk="0" hangingPunct="1">
              <a:defRPr lang="en-US" sz="800" b="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E4C9C1C-1113-7C45-B1CD-294E50D549B7}" type="slidenum">
              <a:rPr lang="de-DE" smtClean="0"/>
              <a:pPr/>
              <a:t>‹#›</a:t>
            </a:fld>
            <a:endParaRPr lang="de-DE"/>
          </a:p>
        </p:txBody>
      </p:sp>
      <p:sp>
        <p:nvSpPr>
          <p:cNvPr id="8" name="Text Placeholder 4">
            <a:extLst>
              <a:ext uri="{FF2B5EF4-FFF2-40B4-BE49-F238E27FC236}">
                <a16:creationId xmlns:a16="http://schemas.microsoft.com/office/drawing/2014/main" id="{3ED164B3-5AC2-E640-8D06-3945285FD130}"/>
              </a:ext>
            </a:extLst>
          </p:cNvPr>
          <p:cNvSpPr>
            <a:spLocks noGrp="1"/>
          </p:cNvSpPr>
          <p:nvPr>
            <p:ph type="body" sz="quarter" idx="21"/>
          </p:nvPr>
        </p:nvSpPr>
        <p:spPr>
          <a:xfrm>
            <a:off x="457200" y="1714500"/>
            <a:ext cx="2102139" cy="4071287"/>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27" name="Text Placeholder 4">
            <a:extLst>
              <a:ext uri="{FF2B5EF4-FFF2-40B4-BE49-F238E27FC236}">
                <a16:creationId xmlns:a16="http://schemas.microsoft.com/office/drawing/2014/main" id="{C1A90DB9-F7C8-D34F-904A-CF8D3EB0F8F9}"/>
              </a:ext>
            </a:extLst>
          </p:cNvPr>
          <p:cNvSpPr>
            <a:spLocks noGrp="1"/>
          </p:cNvSpPr>
          <p:nvPr>
            <p:ph type="body" sz="quarter" idx="27"/>
          </p:nvPr>
        </p:nvSpPr>
        <p:spPr>
          <a:xfrm>
            <a:off x="2749930" y="1714500"/>
            <a:ext cx="2102141" cy="4071287"/>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28" name="Text Placeholder 4">
            <a:extLst>
              <a:ext uri="{FF2B5EF4-FFF2-40B4-BE49-F238E27FC236}">
                <a16:creationId xmlns:a16="http://schemas.microsoft.com/office/drawing/2014/main" id="{B9836E64-999D-1348-A8B9-85E26C47A450}"/>
              </a:ext>
            </a:extLst>
          </p:cNvPr>
          <p:cNvSpPr>
            <a:spLocks noGrp="1"/>
          </p:cNvSpPr>
          <p:nvPr>
            <p:ph type="body" sz="quarter" idx="28"/>
          </p:nvPr>
        </p:nvSpPr>
        <p:spPr>
          <a:xfrm>
            <a:off x="5042662" y="1714501"/>
            <a:ext cx="2102141" cy="4071287"/>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15" name="Text Placeholder 4">
            <a:extLst>
              <a:ext uri="{FF2B5EF4-FFF2-40B4-BE49-F238E27FC236}">
                <a16:creationId xmlns:a16="http://schemas.microsoft.com/office/drawing/2014/main" id="{FA0295E2-B5E8-3F4A-8FFA-25CF988AE1F9}"/>
              </a:ext>
            </a:extLst>
          </p:cNvPr>
          <p:cNvSpPr>
            <a:spLocks noGrp="1"/>
          </p:cNvSpPr>
          <p:nvPr>
            <p:ph type="body" sz="quarter" idx="29"/>
          </p:nvPr>
        </p:nvSpPr>
        <p:spPr>
          <a:xfrm>
            <a:off x="7335394" y="1714500"/>
            <a:ext cx="2102141" cy="4071287"/>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12" name="Text Placeholder 4">
            <a:extLst>
              <a:ext uri="{FF2B5EF4-FFF2-40B4-BE49-F238E27FC236}">
                <a16:creationId xmlns:a16="http://schemas.microsoft.com/office/drawing/2014/main" id="{6DA8E7B0-84E4-CF48-8813-BC168E76A755}"/>
              </a:ext>
            </a:extLst>
          </p:cNvPr>
          <p:cNvSpPr>
            <a:spLocks noGrp="1"/>
          </p:cNvSpPr>
          <p:nvPr>
            <p:ph type="body" sz="quarter" idx="30"/>
          </p:nvPr>
        </p:nvSpPr>
        <p:spPr>
          <a:xfrm>
            <a:off x="9628124" y="1714500"/>
            <a:ext cx="2102141" cy="4071287"/>
          </a:xfrm>
        </p:spPr>
        <p:txBody>
          <a:bodyPr/>
          <a:lstStyle>
            <a:lvl1pPr marL="0" indent="0" rtl="0">
              <a:lnSpc>
                <a:spcPct val="120000"/>
              </a:lnSpc>
              <a:spcBef>
                <a:spcPts val="0"/>
              </a:spcBef>
              <a:spcAft>
                <a:spcPts val="600"/>
              </a:spcAft>
              <a:buNone/>
              <a:defRPr sz="1200" baseline="0"/>
            </a:lvl1pPr>
          </a:lstStyle>
          <a:p>
            <a:pPr lvl="0"/>
            <a:r>
              <a:rPr lang="en-US"/>
              <a:t>Click to edit Master text styles</a:t>
            </a:r>
          </a:p>
        </p:txBody>
      </p:sp>
      <p:sp>
        <p:nvSpPr>
          <p:cNvPr id="19" name="TextBox 10">
            <a:extLst>
              <a:ext uri="{FF2B5EF4-FFF2-40B4-BE49-F238E27FC236}">
                <a16:creationId xmlns:a16="http://schemas.microsoft.com/office/drawing/2014/main" id="{8E19D9FF-781A-2743-BB5E-08CDDBD52DBC}"/>
              </a:ext>
            </a:extLst>
          </p:cNvPr>
          <p:cNvSpPr txBox="1"/>
          <p:nvPr userDrawn="1"/>
        </p:nvSpPr>
        <p:spPr>
          <a:xfrm>
            <a:off x="1205576" y="6438960"/>
            <a:ext cx="4214150" cy="133556"/>
          </a:xfrm>
          <a:prstGeom prst="rect">
            <a:avLst/>
          </a:prstGeom>
        </p:spPr>
        <p:txBody>
          <a:bodyPr vert="horz" lIns="0" tIns="0" rIns="0" bIns="0" rtlCol="0" anchor="ctr" anchorCtr="0"/>
          <a:lstStyle>
            <a:defPPr>
              <a:defRPr lang="de-DE"/>
            </a:defPPr>
            <a:lvl1pPr>
              <a:defRPr sz="800" b="0" i="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rtl="0">
              <a:tabLst>
                <a:tab pos="177800" algn="l"/>
              </a:tabLst>
            </a:pPr>
            <a:r>
              <a:rPr lang="en-US" sz="800">
                <a:solidFill>
                  <a:schemeClr val="bg1">
                    <a:lumMod val="75000"/>
                  </a:schemeClr>
                </a:solidFill>
                <a:effectLst/>
                <a:latin typeface="Open Sans" panose="020B0606030504020204" pitchFamily="34" charset="0"/>
              </a:rPr>
              <a:t>|	Deloitte 2021</a:t>
            </a:r>
          </a:p>
        </p:txBody>
      </p:sp>
      <p:sp>
        <p:nvSpPr>
          <p:cNvPr id="13" name="Text Placeholder 8">
            <a:extLst>
              <a:ext uri="{FF2B5EF4-FFF2-40B4-BE49-F238E27FC236}">
                <a16:creationId xmlns:a16="http://schemas.microsoft.com/office/drawing/2014/main" id="{FEDBF76A-5A9A-F240-8524-46DF83281CCD}"/>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31B34813-1A37-694D-A525-CD7208113D7C}"/>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Tree>
    <p:extLst>
      <p:ext uri="{BB962C8B-B14F-4D97-AF65-F5344CB8AC3E}">
        <p14:creationId xmlns:p14="http://schemas.microsoft.com/office/powerpoint/2010/main" val="843619252"/>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eft Breadcrumb, Title, Cop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3AD7F1-2C82-0FFC-6B80-11BD998F6851}"/>
              </a:ext>
            </a:extLst>
          </p:cNvPr>
          <p:cNvGraphicFramePr>
            <a:graphicFrameLocks noChangeAspect="1"/>
          </p:cNvGraphicFramePr>
          <p:nvPr userDrawn="1">
            <p:custDataLst>
              <p:tags r:id="rId1"/>
            </p:custDataLst>
            <p:extLst>
              <p:ext uri="{D42A27DB-BD31-4B8C-83A1-F6EECF244321}">
                <p14:modId xmlns:p14="http://schemas.microsoft.com/office/powerpoint/2010/main" val="3994202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4" name="think-cell data - do not delete" hidden="1">
                        <a:extLst>
                          <a:ext uri="{FF2B5EF4-FFF2-40B4-BE49-F238E27FC236}">
                            <a16:creationId xmlns:a16="http://schemas.microsoft.com/office/drawing/2014/main" id="{053AD7F1-2C82-0FFC-6B80-11BD998F6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91B6EF-CD12-714F-8305-8ED4D63EB0C1}"/>
              </a:ext>
            </a:extLst>
          </p:cNvPr>
          <p:cNvSpPr>
            <a:spLocks noGrp="1"/>
          </p:cNvSpPr>
          <p:nvPr>
            <p:ph type="title" hasCustomPrompt="1"/>
          </p:nvPr>
        </p:nvSpPr>
        <p:spPr>
          <a:xfrm>
            <a:off x="457200" y="342901"/>
            <a:ext cx="3556000" cy="2066194"/>
          </a:xfrm>
        </p:spPr>
        <p:txBody>
          <a:bodyPr vert="horz" anchor="t"/>
          <a:lstStyle>
            <a:lvl1pPr rtl="0">
              <a:defRPr/>
            </a:lvl1pPr>
          </a:lstStyle>
          <a:p>
            <a:r>
              <a:rPr lang="en-US"/>
              <a:t>Click to edit title over multiple lines</a:t>
            </a:r>
          </a:p>
        </p:txBody>
      </p:sp>
      <p:sp>
        <p:nvSpPr>
          <p:cNvPr id="10" name="Content Placeholder 3">
            <a:extLst>
              <a:ext uri="{FF2B5EF4-FFF2-40B4-BE49-F238E27FC236}">
                <a16:creationId xmlns:a16="http://schemas.microsoft.com/office/drawing/2014/main" id="{5E45C409-95E5-8341-83C8-7339E6F02F52}"/>
              </a:ext>
            </a:extLst>
          </p:cNvPr>
          <p:cNvSpPr>
            <a:spLocks noGrp="1"/>
          </p:cNvSpPr>
          <p:nvPr>
            <p:ph sz="quarter" idx="10"/>
          </p:nvPr>
        </p:nvSpPr>
        <p:spPr>
          <a:xfrm>
            <a:off x="457201" y="2529443"/>
            <a:ext cx="3555999" cy="3833257"/>
          </a:xfrm>
          <a:prstGeom prst="rect">
            <a:avLst/>
          </a:prstGeom>
        </p:spPr>
        <p:txBody>
          <a:bodyPr vert="horz" lIns="0" tIns="0" rIns="0" bIns="0" rtlCol="0">
            <a:noAutofit/>
          </a:bodyPr>
          <a:lstStyle>
            <a:lvl1pPr marL="0" indent="0" rtl="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1pPr>
            <a:lvl2pPr marL="0" indent="0" rtl="0">
              <a:lnSpc>
                <a:spcPct val="120000"/>
              </a:lnSpc>
              <a:spcAft>
                <a:spcPts val="600"/>
              </a:spcAft>
              <a:buFont typeface="Arial" panose="020B0604020202020204" pitchFamily="34" charset="0"/>
              <a:buNone/>
              <a:defRPr kumimoji="0" lang="en-US" sz="1200" b="1" i="0" u="none" strike="noStrike" cap="none" spc="0" normalizeH="0" baseline="0" noProof="0" dirty="0">
                <a:ln>
                  <a:noFill/>
                </a:ln>
                <a:solidFill>
                  <a:srgbClr val="000000"/>
                </a:solidFill>
                <a:effectLst/>
                <a:uLnTx/>
                <a:uFillTx/>
                <a:latin typeface="Open Sans"/>
                <a:ea typeface="+mn-ea"/>
                <a:cs typeface="+mn-cs"/>
              </a:defRPr>
            </a:lvl2pPr>
            <a:lvl3pPr marL="0" indent="0" rtl="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3pPr>
            <a:lvl4pPr marL="0" indent="0" rtl="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4pPr>
            <a:lvl5pPr marL="0" indent="0" rtl="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5pPr>
          </a:lstStyle>
          <a:p>
            <a:pPr marL="228600" marR="0" lvl="0" indent="-228600" defTabSz="1219170" fontAlgn="auto">
              <a:spcBef>
                <a:spcPts val="0"/>
              </a:spcBef>
              <a:spcAft>
                <a:spcPts val="1333"/>
              </a:spcAft>
              <a:buClrTx/>
              <a:buSzPct val="100000"/>
              <a:tabLst>
                <a:tab pos="8972326" algn="r"/>
              </a:tabLst>
            </a:pPr>
            <a:r>
              <a:rPr lang="en-US" noProof="0"/>
              <a:t>Click to edit Master text styles</a:t>
            </a:r>
          </a:p>
          <a:p>
            <a:pPr marL="171450" marR="0" lvl="1" indent="-171450" defTabSz="1219170" fontAlgn="auto">
              <a:spcBef>
                <a:spcPts val="0"/>
              </a:spcBef>
              <a:spcAft>
                <a:spcPts val="1333"/>
              </a:spcAft>
              <a:buClrTx/>
              <a:buSzPct val="100000"/>
              <a:tabLst>
                <a:tab pos="8972326" algn="r"/>
              </a:tabLst>
            </a:pPr>
            <a:r>
              <a:rPr lang="en-US" noProof="0"/>
              <a:t>Second level</a:t>
            </a:r>
          </a:p>
          <a:p>
            <a:pPr marL="235194" marR="0" lvl="2" indent="-235194" defTabSz="1219170" fontAlgn="auto">
              <a:spcBef>
                <a:spcPts val="0"/>
              </a:spcBef>
              <a:spcAft>
                <a:spcPts val="1333"/>
              </a:spcAft>
              <a:buClrTx/>
              <a:buSzPct val="100000"/>
              <a:tabLst>
                <a:tab pos="8972326" algn="r"/>
              </a:tabLst>
            </a:pPr>
            <a:r>
              <a:rPr lang="en-US" noProof="0"/>
              <a:t>Third level</a:t>
            </a:r>
          </a:p>
          <a:p>
            <a:pPr marL="475188" marR="0" lvl="3" indent="-235194" defTabSz="1219170" fontAlgn="auto">
              <a:spcBef>
                <a:spcPts val="0"/>
              </a:spcBef>
              <a:spcAft>
                <a:spcPts val="1333"/>
              </a:spcAft>
              <a:buClrTx/>
              <a:buSzPct val="100000"/>
              <a:buFont typeface="Verdana" panose="020B0604030504040204" pitchFamily="34" charset="0"/>
              <a:buChar char="−"/>
              <a:tabLst>
                <a:tab pos="8972326" algn="r"/>
              </a:tabLst>
            </a:pPr>
            <a:r>
              <a:rPr lang="en-US" noProof="0"/>
              <a:t>Fourth level</a:t>
            </a:r>
          </a:p>
          <a:p>
            <a:pPr marL="710382" marR="0" lvl="4" indent="-235194" defTabSz="1064657" fontAlgn="auto">
              <a:spcBef>
                <a:spcPts val="0"/>
              </a:spcBef>
              <a:spcAft>
                <a:spcPts val="1333"/>
              </a:spcAft>
              <a:buClrTx/>
              <a:buSzPct val="100000"/>
              <a:buFont typeface="Verdana" panose="020B0604030504040204" pitchFamily="34" charset="0"/>
              <a:buChar char="−"/>
              <a:tabLst>
                <a:tab pos="6705432" algn="r"/>
              </a:tabLst>
            </a:pPr>
            <a:r>
              <a:rPr lang="en-US" noProof="0"/>
              <a:t>Fifth level</a:t>
            </a:r>
          </a:p>
        </p:txBody>
      </p:sp>
    </p:spTree>
    <p:extLst>
      <p:ext uri="{BB962C8B-B14F-4D97-AF65-F5344CB8AC3E}">
        <p14:creationId xmlns:p14="http://schemas.microsoft.com/office/powerpoint/2010/main" val="806098293"/>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ight 1:3 Light Content, Title, Copy">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47BC721-380D-AEF3-F200-612034312C25}"/>
              </a:ext>
            </a:extLst>
          </p:cNvPr>
          <p:cNvGraphicFramePr>
            <a:graphicFrameLocks noChangeAspect="1"/>
          </p:cNvGraphicFramePr>
          <p:nvPr userDrawn="1">
            <p:custDataLst>
              <p:tags r:id="rId1"/>
            </p:custDataLst>
            <p:extLst>
              <p:ext uri="{D42A27DB-BD31-4B8C-83A1-F6EECF244321}">
                <p14:modId xmlns:p14="http://schemas.microsoft.com/office/powerpoint/2010/main" val="1893720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847BC721-380D-AEF3-F200-612034312C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E330639-2C6A-344D-82A9-23DCF31DE41B}"/>
              </a:ext>
            </a:extLst>
          </p:cNvPr>
          <p:cNvSpPr/>
          <p:nvPr userDrawn="1"/>
        </p:nvSpPr>
        <p:spPr>
          <a:xfrm>
            <a:off x="0" y="0"/>
            <a:ext cx="491807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a:solidFill>
                <a:schemeClr val="tx1"/>
              </a:solidFill>
            </a:endParaRPr>
          </a:p>
        </p:txBody>
      </p:sp>
      <p:sp>
        <p:nvSpPr>
          <p:cNvPr id="16" name="Text Placeholder 4">
            <a:extLst>
              <a:ext uri="{FF2B5EF4-FFF2-40B4-BE49-F238E27FC236}">
                <a16:creationId xmlns:a16="http://schemas.microsoft.com/office/drawing/2014/main" id="{B006913E-3E58-5B49-A129-03A1C5A0B28C}"/>
              </a:ext>
            </a:extLst>
          </p:cNvPr>
          <p:cNvSpPr>
            <a:spLocks noGrp="1"/>
          </p:cNvSpPr>
          <p:nvPr>
            <p:ph type="body" sz="quarter" idx="16"/>
          </p:nvPr>
        </p:nvSpPr>
        <p:spPr>
          <a:xfrm>
            <a:off x="457200" y="3245529"/>
            <a:ext cx="3340099" cy="2996521"/>
          </a:xfrm>
        </p:spPr>
        <p:txBody>
          <a:bodyPr/>
          <a:lstStyle>
            <a:lvl1pPr marL="0" indent="0" rtl="0">
              <a:lnSpc>
                <a:spcPct val="120000"/>
              </a:lnSpc>
              <a:spcBef>
                <a:spcPts val="0"/>
              </a:spcBef>
              <a:buNone/>
              <a:defRPr sz="1200" baseline="0"/>
            </a:lvl1pPr>
          </a:lstStyle>
          <a:p>
            <a:pPr lvl="0"/>
            <a:r>
              <a:rPr lang="en-US"/>
              <a:t>Click to edit Master text styles</a:t>
            </a:r>
          </a:p>
        </p:txBody>
      </p:sp>
      <p:sp>
        <p:nvSpPr>
          <p:cNvPr id="10" name="Copyright">
            <a:extLst>
              <a:ext uri="{FF2B5EF4-FFF2-40B4-BE49-F238E27FC236}">
                <a16:creationId xmlns:a16="http://schemas.microsoft.com/office/drawing/2014/main" id="{D84CA01A-B545-ED46-B0DF-38B63DE436A9}"/>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rtl="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
        <p:nvSpPr>
          <p:cNvPr id="4" name="Text Placeholder 3">
            <a:extLst>
              <a:ext uri="{FF2B5EF4-FFF2-40B4-BE49-F238E27FC236}">
                <a16:creationId xmlns:a16="http://schemas.microsoft.com/office/drawing/2014/main" id="{5BBB1404-C4F7-1143-8F3D-DFADA3761EC5}"/>
              </a:ext>
            </a:extLst>
          </p:cNvPr>
          <p:cNvSpPr>
            <a:spLocks noGrp="1"/>
          </p:cNvSpPr>
          <p:nvPr>
            <p:ph type="body" sz="quarter" idx="17" hasCustomPrompt="1"/>
          </p:nvPr>
        </p:nvSpPr>
        <p:spPr>
          <a:xfrm>
            <a:off x="457200" y="1093788"/>
            <a:ext cx="3340100" cy="1966912"/>
          </a:xfrm>
        </p:spPr>
        <p:txBody>
          <a:bodyPr anchor="b">
            <a:normAutofit/>
          </a:bodyPr>
          <a:lstStyle>
            <a:lvl1pPr rtl="0">
              <a:defRPr sz="2800">
                <a:latin typeface="+mj-lt"/>
              </a:defRPr>
            </a:lvl1pPr>
          </a:lstStyle>
          <a:p>
            <a:pPr lvl="0"/>
            <a:r>
              <a:rPr lang="en-US"/>
              <a:t>Click to edit heading</a:t>
            </a:r>
          </a:p>
        </p:txBody>
      </p:sp>
    </p:spTree>
    <p:extLst>
      <p:ext uri="{BB962C8B-B14F-4D97-AF65-F5344CB8AC3E}">
        <p14:creationId xmlns:p14="http://schemas.microsoft.com/office/powerpoint/2010/main" val="366219524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ight 1:3 Image, Title, Cop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322D2D6-230C-7C3F-0CFF-1CBAC343BEC9}"/>
              </a:ext>
            </a:extLst>
          </p:cNvPr>
          <p:cNvGraphicFramePr>
            <a:graphicFrameLocks noChangeAspect="1"/>
          </p:cNvGraphicFramePr>
          <p:nvPr userDrawn="1">
            <p:custDataLst>
              <p:tags r:id="rId1"/>
            </p:custDataLst>
            <p:extLst>
              <p:ext uri="{D42A27DB-BD31-4B8C-83A1-F6EECF244321}">
                <p14:modId xmlns:p14="http://schemas.microsoft.com/office/powerpoint/2010/main" val="205607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2" name="think-cell data - do not delete" hidden="1">
                        <a:extLst>
                          <a:ext uri="{FF2B5EF4-FFF2-40B4-BE49-F238E27FC236}">
                            <a16:creationId xmlns:a16="http://schemas.microsoft.com/office/drawing/2014/main" id="{4322D2D6-230C-7C3F-0CFF-1CBAC343BE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A372C9E1-E11F-054C-A94A-043575E199A4}"/>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rtl="0">
              <a:defRPr lang="en-US" sz="1000" b="1">
                <a:solidFill>
                  <a:schemeClr val="bg1"/>
                </a:solidFill>
              </a:defRPr>
            </a:lvl1pPr>
          </a:lstStyle>
          <a:p>
            <a:pPr marL="0" lvl="0" indent="0">
              <a:buNone/>
            </a:pPr>
            <a:r>
              <a:rPr lang="en-US"/>
              <a:t>Click icon to add picture</a:t>
            </a:r>
          </a:p>
        </p:txBody>
      </p:sp>
      <p:sp>
        <p:nvSpPr>
          <p:cNvPr id="9" name="Text Placeholder 4">
            <a:extLst>
              <a:ext uri="{FF2B5EF4-FFF2-40B4-BE49-F238E27FC236}">
                <a16:creationId xmlns:a16="http://schemas.microsoft.com/office/drawing/2014/main" id="{047CAFF8-991F-B644-9D28-3A98ADDF4830}"/>
              </a:ext>
            </a:extLst>
          </p:cNvPr>
          <p:cNvSpPr>
            <a:spLocks noGrp="1"/>
          </p:cNvSpPr>
          <p:nvPr>
            <p:ph type="body" sz="quarter" idx="16"/>
          </p:nvPr>
        </p:nvSpPr>
        <p:spPr>
          <a:xfrm>
            <a:off x="457200" y="3245529"/>
            <a:ext cx="3340099" cy="2996521"/>
          </a:xfrm>
        </p:spPr>
        <p:txBody>
          <a:bodyPr/>
          <a:lstStyle>
            <a:lvl1pPr marL="0" indent="0" rtl="0">
              <a:lnSpc>
                <a:spcPct val="120000"/>
              </a:lnSpc>
              <a:spcBef>
                <a:spcPts val="0"/>
              </a:spcBef>
              <a:buNone/>
              <a:defRPr sz="1200" baseline="0"/>
            </a:lvl1pPr>
          </a:lstStyle>
          <a:p>
            <a:pPr lvl="0"/>
            <a:r>
              <a:rPr lang="en-US"/>
              <a:t>Click to edit Master text styles</a:t>
            </a:r>
          </a:p>
        </p:txBody>
      </p:sp>
      <p:sp>
        <p:nvSpPr>
          <p:cNvPr id="10" name="Text Placeholder 3">
            <a:extLst>
              <a:ext uri="{FF2B5EF4-FFF2-40B4-BE49-F238E27FC236}">
                <a16:creationId xmlns:a16="http://schemas.microsoft.com/office/drawing/2014/main" id="{E7DCEF3D-C685-8F4F-AD3A-8865DB81F2A5}"/>
              </a:ext>
            </a:extLst>
          </p:cNvPr>
          <p:cNvSpPr>
            <a:spLocks noGrp="1"/>
          </p:cNvSpPr>
          <p:nvPr>
            <p:ph type="body" sz="quarter" idx="17" hasCustomPrompt="1"/>
          </p:nvPr>
        </p:nvSpPr>
        <p:spPr>
          <a:xfrm>
            <a:off x="457200" y="1093788"/>
            <a:ext cx="3340100" cy="1966912"/>
          </a:xfrm>
        </p:spPr>
        <p:txBody>
          <a:bodyPr anchor="b">
            <a:normAutofit/>
          </a:bodyPr>
          <a:lstStyle>
            <a:lvl1pPr rtl="0">
              <a:defRPr sz="2800">
                <a:latin typeface="+mj-lt"/>
              </a:defRPr>
            </a:lvl1pPr>
          </a:lstStyle>
          <a:p>
            <a:pPr lvl="0"/>
            <a:r>
              <a:rPr lang="en-US"/>
              <a:t>Click to edit heading</a:t>
            </a:r>
          </a:p>
        </p:txBody>
      </p:sp>
    </p:spTree>
    <p:extLst>
      <p:ext uri="{BB962C8B-B14F-4D97-AF65-F5344CB8AC3E}">
        <p14:creationId xmlns:p14="http://schemas.microsoft.com/office/powerpoint/2010/main" val="659275504"/>
      </p:ext>
    </p:extLst>
  </p:cSld>
  <p:clrMapOvr>
    <a:masterClrMapping/>
  </p:clrMapOvr>
  <p:transition>
    <p:fade/>
  </p:transition>
  <p:extLst>
    <p:ext uri="{DCECCB84-F9BA-43D5-87BE-67443E8EF086}">
      <p15:sldGuideLst xmlns:p15="http://schemas.microsoft.com/office/powerpoint/2012/main">
        <p15:guide id="1" pos="3092">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ight 1:3 Content, Title, Copy">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4ACA61D-C70F-C6CC-26C5-D9FBC07F5DFF}"/>
              </a:ext>
            </a:extLst>
          </p:cNvPr>
          <p:cNvGraphicFramePr>
            <a:graphicFrameLocks noChangeAspect="1"/>
          </p:cNvGraphicFramePr>
          <p:nvPr userDrawn="1">
            <p:custDataLst>
              <p:tags r:id="rId1"/>
            </p:custDataLst>
            <p:extLst>
              <p:ext uri="{D42A27DB-BD31-4B8C-83A1-F6EECF244321}">
                <p14:modId xmlns:p14="http://schemas.microsoft.com/office/powerpoint/2010/main" val="2479229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64ACA61D-C70F-C6CC-26C5-D9FBC07F5D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E330639-2C6A-344D-82A9-23DCF31DE41B}"/>
              </a:ext>
            </a:extLst>
          </p:cNvPr>
          <p:cNvSpPr/>
          <p:nvPr userDrawn="1"/>
        </p:nvSpPr>
        <p:spPr>
          <a:xfrm>
            <a:off x="0" y="0"/>
            <a:ext cx="491807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a:solidFill>
                <a:schemeClr val="tx1"/>
              </a:solidFill>
            </a:endParaRPr>
          </a:p>
        </p:txBody>
      </p:sp>
      <p:sp>
        <p:nvSpPr>
          <p:cNvPr id="8" name="Text Placeholder 4">
            <a:extLst>
              <a:ext uri="{FF2B5EF4-FFF2-40B4-BE49-F238E27FC236}">
                <a16:creationId xmlns:a16="http://schemas.microsoft.com/office/drawing/2014/main" id="{7253BD72-5FB9-674D-B8C6-49557D38DDD5}"/>
              </a:ext>
            </a:extLst>
          </p:cNvPr>
          <p:cNvSpPr>
            <a:spLocks noGrp="1"/>
          </p:cNvSpPr>
          <p:nvPr>
            <p:ph type="body" sz="quarter" idx="16"/>
          </p:nvPr>
        </p:nvSpPr>
        <p:spPr>
          <a:xfrm>
            <a:off x="457200" y="3245529"/>
            <a:ext cx="3340099" cy="2996521"/>
          </a:xfrm>
        </p:spPr>
        <p:txBody>
          <a:bodyPr/>
          <a:lstStyle>
            <a:lvl1pPr marL="0" indent="0" rtl="0">
              <a:lnSpc>
                <a:spcPct val="120000"/>
              </a:lnSpc>
              <a:spcBef>
                <a:spcPts val="0"/>
              </a:spcBef>
              <a:buNone/>
              <a:defRPr sz="1200" baseline="0"/>
            </a:lvl1pPr>
          </a:lstStyle>
          <a:p>
            <a:pPr lvl="0"/>
            <a:r>
              <a:rPr lang="en-US"/>
              <a:t>Click to edit Master text styles</a:t>
            </a:r>
          </a:p>
        </p:txBody>
      </p:sp>
      <p:sp>
        <p:nvSpPr>
          <p:cNvPr id="10" name="Text Placeholder 3">
            <a:extLst>
              <a:ext uri="{FF2B5EF4-FFF2-40B4-BE49-F238E27FC236}">
                <a16:creationId xmlns:a16="http://schemas.microsoft.com/office/drawing/2014/main" id="{763097F3-C4D5-1B45-9161-5533635B3E7D}"/>
              </a:ext>
            </a:extLst>
          </p:cNvPr>
          <p:cNvSpPr>
            <a:spLocks noGrp="1"/>
          </p:cNvSpPr>
          <p:nvPr>
            <p:ph type="body" sz="quarter" idx="17" hasCustomPrompt="1"/>
          </p:nvPr>
        </p:nvSpPr>
        <p:spPr>
          <a:xfrm>
            <a:off x="457200" y="1093788"/>
            <a:ext cx="3340100" cy="1966912"/>
          </a:xfrm>
        </p:spPr>
        <p:txBody>
          <a:bodyPr anchor="b">
            <a:normAutofit/>
          </a:bodyPr>
          <a:lstStyle>
            <a:lvl1pPr rtl="0">
              <a:defRPr sz="2800">
                <a:latin typeface="+mj-lt"/>
              </a:defRPr>
            </a:lvl1pPr>
          </a:lstStyle>
          <a:p>
            <a:pPr lvl="0"/>
            <a:r>
              <a:rPr lang="en-US"/>
              <a:t>Click to edit heading</a:t>
            </a:r>
          </a:p>
        </p:txBody>
      </p:sp>
      <p:sp>
        <p:nvSpPr>
          <p:cNvPr id="13" name="Copyright">
            <a:extLst>
              <a:ext uri="{FF2B5EF4-FFF2-40B4-BE49-F238E27FC236}">
                <a16:creationId xmlns:a16="http://schemas.microsoft.com/office/drawing/2014/main" id="{86FF16C8-308A-1E45-93DA-9DB3F24E9A50}"/>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rtl="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8953299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Right 1:3 Light Content, Title, Copy">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308FA7-CA43-1FB6-01CD-9524FC275925}"/>
              </a:ext>
            </a:extLst>
          </p:cNvPr>
          <p:cNvGraphicFramePr>
            <a:graphicFrameLocks noChangeAspect="1"/>
          </p:cNvGraphicFramePr>
          <p:nvPr userDrawn="1">
            <p:custDataLst>
              <p:tags r:id="rId1"/>
            </p:custDataLst>
            <p:extLst>
              <p:ext uri="{D42A27DB-BD31-4B8C-83A1-F6EECF244321}">
                <p14:modId xmlns:p14="http://schemas.microsoft.com/office/powerpoint/2010/main" val="247436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EB308FA7-CA43-1FB6-01CD-9524FC2759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E330639-2C6A-344D-82A9-23DCF31DE41B}"/>
              </a:ext>
            </a:extLst>
          </p:cNvPr>
          <p:cNvSpPr/>
          <p:nvPr userDrawn="1"/>
        </p:nvSpPr>
        <p:spPr>
          <a:xfrm>
            <a:off x="0" y="0"/>
            <a:ext cx="491807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a:solidFill>
                <a:schemeClr val="tx1"/>
              </a:solidFill>
            </a:endParaRPr>
          </a:p>
        </p:txBody>
      </p:sp>
      <p:sp>
        <p:nvSpPr>
          <p:cNvPr id="8" name="Text Placeholder 4">
            <a:extLst>
              <a:ext uri="{FF2B5EF4-FFF2-40B4-BE49-F238E27FC236}">
                <a16:creationId xmlns:a16="http://schemas.microsoft.com/office/drawing/2014/main" id="{EDFD5820-CCED-A44C-8A35-441C9431352F}"/>
              </a:ext>
            </a:extLst>
          </p:cNvPr>
          <p:cNvSpPr>
            <a:spLocks noGrp="1"/>
          </p:cNvSpPr>
          <p:nvPr>
            <p:ph type="body" sz="quarter" idx="16"/>
          </p:nvPr>
        </p:nvSpPr>
        <p:spPr>
          <a:xfrm>
            <a:off x="457200" y="3245529"/>
            <a:ext cx="3340099" cy="2996521"/>
          </a:xfrm>
        </p:spPr>
        <p:txBody>
          <a:bodyPr/>
          <a:lstStyle>
            <a:lvl1pPr marL="0" indent="0" rtl="0">
              <a:lnSpc>
                <a:spcPct val="120000"/>
              </a:lnSpc>
              <a:spcBef>
                <a:spcPts val="0"/>
              </a:spcBef>
              <a:buNone/>
              <a:defRPr sz="1200" baseline="0"/>
            </a:lvl1pPr>
          </a:lstStyle>
          <a:p>
            <a:pPr lvl="0"/>
            <a:r>
              <a:rPr lang="en-US"/>
              <a:t>Click to edit Master text styles</a:t>
            </a:r>
          </a:p>
        </p:txBody>
      </p:sp>
      <p:sp>
        <p:nvSpPr>
          <p:cNvPr id="10" name="Text Placeholder 3">
            <a:extLst>
              <a:ext uri="{FF2B5EF4-FFF2-40B4-BE49-F238E27FC236}">
                <a16:creationId xmlns:a16="http://schemas.microsoft.com/office/drawing/2014/main" id="{25509D7C-A71C-AE49-AE13-B130DA8D6C07}"/>
              </a:ext>
            </a:extLst>
          </p:cNvPr>
          <p:cNvSpPr>
            <a:spLocks noGrp="1"/>
          </p:cNvSpPr>
          <p:nvPr>
            <p:ph type="body" sz="quarter" idx="17" hasCustomPrompt="1"/>
          </p:nvPr>
        </p:nvSpPr>
        <p:spPr>
          <a:xfrm>
            <a:off x="457200" y="1093788"/>
            <a:ext cx="3340100" cy="1966912"/>
          </a:xfrm>
        </p:spPr>
        <p:txBody>
          <a:bodyPr anchor="b">
            <a:normAutofit/>
          </a:bodyPr>
          <a:lstStyle>
            <a:lvl1pPr rtl="0">
              <a:defRPr sz="2800">
                <a:latin typeface="+mj-lt"/>
              </a:defRPr>
            </a:lvl1pPr>
          </a:lstStyle>
          <a:p>
            <a:pPr lvl="0"/>
            <a:r>
              <a:rPr lang="en-US"/>
              <a:t>Click to edit heading</a:t>
            </a:r>
          </a:p>
        </p:txBody>
      </p:sp>
      <p:sp>
        <p:nvSpPr>
          <p:cNvPr id="13" name="Copyright">
            <a:extLst>
              <a:ext uri="{FF2B5EF4-FFF2-40B4-BE49-F238E27FC236}">
                <a16:creationId xmlns:a16="http://schemas.microsoft.com/office/drawing/2014/main" id="{C652343F-50B8-6946-AEF9-F045476172B6}"/>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rtl="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390764740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eft 1:3 Image, Title, Cop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E65319C-B254-8659-BD6D-74FBBDAE0333}"/>
              </a:ext>
            </a:extLst>
          </p:cNvPr>
          <p:cNvGraphicFramePr>
            <a:graphicFrameLocks noChangeAspect="1"/>
          </p:cNvGraphicFramePr>
          <p:nvPr userDrawn="1">
            <p:custDataLst>
              <p:tags r:id="rId1"/>
            </p:custDataLst>
            <p:extLst>
              <p:ext uri="{D42A27DB-BD31-4B8C-83A1-F6EECF244321}">
                <p14:modId xmlns:p14="http://schemas.microsoft.com/office/powerpoint/2010/main" val="336987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2" name="think-cell data - do not delete" hidden="1">
                        <a:extLst>
                          <a:ext uri="{FF2B5EF4-FFF2-40B4-BE49-F238E27FC236}">
                            <a16:creationId xmlns:a16="http://schemas.microsoft.com/office/drawing/2014/main" id="{EE65319C-B254-8659-BD6D-74FBBDAE03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2">
            <a:extLst>
              <a:ext uri="{FF2B5EF4-FFF2-40B4-BE49-F238E27FC236}">
                <a16:creationId xmlns:a16="http://schemas.microsoft.com/office/drawing/2014/main" id="{CA991D9C-131F-C548-BB6E-225ED88A6317}"/>
              </a:ext>
            </a:extLst>
          </p:cNvPr>
          <p:cNvSpPr>
            <a:spLocks noGrp="1"/>
          </p:cNvSpPr>
          <p:nvPr>
            <p:ph type="pic" sz="quarter" idx="24"/>
          </p:nvPr>
        </p:nvSpPr>
        <p:spPr>
          <a:xfrm>
            <a:off x="0" y="0"/>
            <a:ext cx="7273925" cy="6858000"/>
          </a:xfrm>
          <a:solidFill>
            <a:schemeClr val="tx1">
              <a:lumMod val="65000"/>
              <a:lumOff val="35000"/>
            </a:schemeClr>
          </a:solidFill>
        </p:spPr>
        <p:txBody>
          <a:bodyPr vert="horz" wrap="square" lIns="0" tIns="0" rIns="0" bIns="720000" rtlCol="0" anchor="ctr" anchorCtr="0">
            <a:noAutofit/>
          </a:bodyPr>
          <a:lstStyle>
            <a:lvl1pPr algn="ctr" rtl="0">
              <a:defRPr lang="en-US" sz="1000" b="1">
                <a:solidFill>
                  <a:schemeClr val="bg1"/>
                </a:solidFill>
              </a:defRPr>
            </a:lvl1pPr>
          </a:lstStyle>
          <a:p>
            <a:pPr marL="0" lvl="0" indent="0">
              <a:buNone/>
            </a:pPr>
            <a:r>
              <a:rPr lang="en-US"/>
              <a:t>Click icon to add picture</a:t>
            </a:r>
          </a:p>
        </p:txBody>
      </p:sp>
      <p:sp>
        <p:nvSpPr>
          <p:cNvPr id="10" name="Text Placeholder 4">
            <a:extLst>
              <a:ext uri="{FF2B5EF4-FFF2-40B4-BE49-F238E27FC236}">
                <a16:creationId xmlns:a16="http://schemas.microsoft.com/office/drawing/2014/main" id="{E393DADB-5048-3E41-BE8F-181B540AE72C}"/>
              </a:ext>
            </a:extLst>
          </p:cNvPr>
          <p:cNvSpPr>
            <a:spLocks noGrp="1"/>
          </p:cNvSpPr>
          <p:nvPr>
            <p:ph type="body" sz="quarter" idx="16"/>
          </p:nvPr>
        </p:nvSpPr>
        <p:spPr>
          <a:xfrm>
            <a:off x="8178800" y="3245529"/>
            <a:ext cx="3340099" cy="2996521"/>
          </a:xfrm>
        </p:spPr>
        <p:txBody>
          <a:bodyPr/>
          <a:lstStyle>
            <a:lvl1pPr marL="0" indent="0" rtl="0">
              <a:lnSpc>
                <a:spcPct val="120000"/>
              </a:lnSpc>
              <a:spcBef>
                <a:spcPts val="0"/>
              </a:spcBef>
              <a:buNone/>
              <a:defRPr sz="1200" baseline="0"/>
            </a:lvl1pPr>
          </a:lstStyle>
          <a:p>
            <a:pPr lvl="0"/>
            <a:r>
              <a:rPr lang="en-US"/>
              <a:t>Click to edit Master text styles</a:t>
            </a:r>
          </a:p>
        </p:txBody>
      </p:sp>
      <p:sp>
        <p:nvSpPr>
          <p:cNvPr id="11" name="Text Placeholder 3">
            <a:extLst>
              <a:ext uri="{FF2B5EF4-FFF2-40B4-BE49-F238E27FC236}">
                <a16:creationId xmlns:a16="http://schemas.microsoft.com/office/drawing/2014/main" id="{FD339951-04B6-9740-A842-EC5CBF11D494}"/>
              </a:ext>
            </a:extLst>
          </p:cNvPr>
          <p:cNvSpPr>
            <a:spLocks noGrp="1"/>
          </p:cNvSpPr>
          <p:nvPr>
            <p:ph type="body" sz="quarter" idx="17" hasCustomPrompt="1"/>
          </p:nvPr>
        </p:nvSpPr>
        <p:spPr>
          <a:xfrm>
            <a:off x="8178800" y="1093788"/>
            <a:ext cx="3340100" cy="1966912"/>
          </a:xfrm>
        </p:spPr>
        <p:txBody>
          <a:bodyPr anchor="b">
            <a:normAutofit/>
          </a:bodyPr>
          <a:lstStyle>
            <a:lvl1pPr rtl="0">
              <a:defRPr sz="2800">
                <a:latin typeface="+mj-lt"/>
              </a:defRPr>
            </a:lvl1pPr>
          </a:lstStyle>
          <a:p>
            <a:pPr lvl="0"/>
            <a:r>
              <a:rPr lang="en-US"/>
              <a:t>Click to edit heading</a:t>
            </a:r>
          </a:p>
        </p:txBody>
      </p:sp>
    </p:spTree>
    <p:extLst>
      <p:ext uri="{BB962C8B-B14F-4D97-AF65-F5344CB8AC3E}">
        <p14:creationId xmlns:p14="http://schemas.microsoft.com/office/powerpoint/2010/main" val="305012841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Design Concept Overview">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A9160CF-F2F6-0DCE-7EBC-CB25C42A4C70}"/>
              </a:ext>
            </a:extLst>
          </p:cNvPr>
          <p:cNvGraphicFramePr>
            <a:graphicFrameLocks noChangeAspect="1"/>
          </p:cNvGraphicFramePr>
          <p:nvPr userDrawn="1">
            <p:custDataLst>
              <p:tags r:id="rId1"/>
            </p:custDataLst>
            <p:extLst>
              <p:ext uri="{D42A27DB-BD31-4B8C-83A1-F6EECF244321}">
                <p14:modId xmlns:p14="http://schemas.microsoft.com/office/powerpoint/2010/main" val="124925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6A9160CF-F2F6-0DCE-7EBC-CB25C42A4C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Picture Placeholder 2">
            <a:extLst>
              <a:ext uri="{FF2B5EF4-FFF2-40B4-BE49-F238E27FC236}">
                <a16:creationId xmlns:a16="http://schemas.microsoft.com/office/drawing/2014/main" id="{AF8160A3-7790-F54A-B88A-64920F1F78DA}"/>
              </a:ext>
            </a:extLst>
          </p:cNvPr>
          <p:cNvSpPr>
            <a:spLocks noGrp="1"/>
          </p:cNvSpPr>
          <p:nvPr>
            <p:ph type="pic" sz="quarter" idx="38"/>
          </p:nvPr>
        </p:nvSpPr>
        <p:spPr>
          <a:xfrm>
            <a:off x="8178800" y="1724507"/>
            <a:ext cx="3556000" cy="364172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20" name="Picture Placeholder 2">
            <a:extLst>
              <a:ext uri="{FF2B5EF4-FFF2-40B4-BE49-F238E27FC236}">
                <a16:creationId xmlns:a16="http://schemas.microsoft.com/office/drawing/2014/main" id="{91179385-57E9-C140-AA29-352524AF7F03}"/>
              </a:ext>
            </a:extLst>
          </p:cNvPr>
          <p:cNvSpPr>
            <a:spLocks noGrp="1"/>
          </p:cNvSpPr>
          <p:nvPr>
            <p:ph type="pic" sz="quarter" idx="37"/>
          </p:nvPr>
        </p:nvSpPr>
        <p:spPr>
          <a:xfrm>
            <a:off x="4324350" y="1724507"/>
            <a:ext cx="3549650" cy="364172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19" name="Picture Placeholder 2">
            <a:extLst>
              <a:ext uri="{FF2B5EF4-FFF2-40B4-BE49-F238E27FC236}">
                <a16:creationId xmlns:a16="http://schemas.microsoft.com/office/drawing/2014/main" id="{6ACCE182-E2D8-E14C-8AE6-55491B3B5CA5}"/>
              </a:ext>
            </a:extLst>
          </p:cNvPr>
          <p:cNvSpPr>
            <a:spLocks noGrp="1"/>
          </p:cNvSpPr>
          <p:nvPr>
            <p:ph type="pic" sz="quarter" idx="36"/>
          </p:nvPr>
        </p:nvSpPr>
        <p:spPr>
          <a:xfrm>
            <a:off x="457201" y="1711254"/>
            <a:ext cx="3549650" cy="364172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9" name="Text Placeholder 8">
            <a:extLst>
              <a:ext uri="{FF2B5EF4-FFF2-40B4-BE49-F238E27FC236}">
                <a16:creationId xmlns:a16="http://schemas.microsoft.com/office/drawing/2014/main" id="{1565AC08-A6DA-EE46-A9EA-EEED2D79BA5A}"/>
              </a:ext>
            </a:extLst>
          </p:cNvPr>
          <p:cNvSpPr>
            <a:spLocks noGrp="1"/>
          </p:cNvSpPr>
          <p:nvPr>
            <p:ph type="body" sz="quarter" idx="27" hasCustomPrompt="1"/>
          </p:nvPr>
        </p:nvSpPr>
        <p:spPr>
          <a:xfrm>
            <a:off x="457200" y="4606562"/>
            <a:ext cx="2168525" cy="747197"/>
          </a:xfrm>
          <a:solidFill>
            <a:schemeClr val="bg1"/>
          </a:solidFill>
        </p:spPr>
        <p:txBody>
          <a:bodyPr lIns="144000" tIns="72000" rIns="144000" bIns="396000" anchor="b">
            <a:spAutoFit/>
          </a:bodyPr>
          <a:lstStyle>
            <a:lvl1pPr marL="0" indent="0" rtl="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29" name="Text Placeholder 8">
            <a:extLst>
              <a:ext uri="{FF2B5EF4-FFF2-40B4-BE49-F238E27FC236}">
                <a16:creationId xmlns:a16="http://schemas.microsoft.com/office/drawing/2014/main" id="{CFC8C9A7-D407-9B43-A5EC-3CBD46083667}"/>
              </a:ext>
            </a:extLst>
          </p:cNvPr>
          <p:cNvSpPr>
            <a:spLocks noGrp="1"/>
          </p:cNvSpPr>
          <p:nvPr>
            <p:ph type="body" sz="quarter" idx="29" hasCustomPrompt="1"/>
          </p:nvPr>
        </p:nvSpPr>
        <p:spPr>
          <a:xfrm>
            <a:off x="4318000" y="4619815"/>
            <a:ext cx="2168525" cy="747197"/>
          </a:xfrm>
          <a:solidFill>
            <a:schemeClr val="bg1"/>
          </a:solidFill>
        </p:spPr>
        <p:txBody>
          <a:bodyPr lIns="144000" tIns="72000" rIns="144000" bIns="396000" anchor="b">
            <a:spAutoFit/>
          </a:bodyPr>
          <a:lstStyle>
            <a:lvl1pPr marL="0" indent="0" rtl="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31" name="Text Placeholder 8">
            <a:extLst>
              <a:ext uri="{FF2B5EF4-FFF2-40B4-BE49-F238E27FC236}">
                <a16:creationId xmlns:a16="http://schemas.microsoft.com/office/drawing/2014/main" id="{534754CF-4405-9E42-84B8-76168465A098}"/>
              </a:ext>
            </a:extLst>
          </p:cNvPr>
          <p:cNvSpPr>
            <a:spLocks noGrp="1"/>
          </p:cNvSpPr>
          <p:nvPr>
            <p:ph type="body" sz="quarter" idx="31" hasCustomPrompt="1"/>
          </p:nvPr>
        </p:nvSpPr>
        <p:spPr>
          <a:xfrm>
            <a:off x="8166100" y="4619033"/>
            <a:ext cx="2168525" cy="747197"/>
          </a:xfrm>
          <a:solidFill>
            <a:schemeClr val="bg1"/>
          </a:solidFill>
        </p:spPr>
        <p:txBody>
          <a:bodyPr lIns="144000" tIns="72000" rIns="144000" bIns="396000" anchor="b">
            <a:spAutoFit/>
          </a:bodyPr>
          <a:lstStyle>
            <a:lvl1pPr marL="0" indent="0" rtl="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25" name="Text Placeholder 24">
            <a:extLst>
              <a:ext uri="{FF2B5EF4-FFF2-40B4-BE49-F238E27FC236}">
                <a16:creationId xmlns:a16="http://schemas.microsoft.com/office/drawing/2014/main" id="{AE8DBE12-0D41-7648-85B5-85291A4A2837}"/>
              </a:ext>
            </a:extLst>
          </p:cNvPr>
          <p:cNvSpPr>
            <a:spLocks noGrp="1"/>
          </p:cNvSpPr>
          <p:nvPr>
            <p:ph type="body" sz="quarter" idx="32" hasCustomPrompt="1"/>
          </p:nvPr>
        </p:nvSpPr>
        <p:spPr>
          <a:xfrm>
            <a:off x="457200" y="5151868"/>
            <a:ext cx="2168525" cy="299295"/>
          </a:xfrm>
          <a:solidFill>
            <a:schemeClr val="bg1"/>
          </a:solidFill>
        </p:spPr>
        <p:txBody>
          <a:bodyPr lIns="144000" tIns="0" rIns="144000" bIns="144000">
            <a:spAutoFit/>
          </a:bodyPr>
          <a:lstStyle>
            <a:lvl1pPr marL="0" indent="0" rtl="0">
              <a:buNone/>
              <a:defRPr sz="1000"/>
            </a:lvl1pPr>
          </a:lstStyle>
          <a:p>
            <a:pPr lvl="0"/>
            <a:r>
              <a:rPr lang="en-US"/>
              <a:t>Subtitle or Description</a:t>
            </a:r>
          </a:p>
        </p:txBody>
      </p:sp>
      <p:sp>
        <p:nvSpPr>
          <p:cNvPr id="32" name="Text Placeholder 24">
            <a:extLst>
              <a:ext uri="{FF2B5EF4-FFF2-40B4-BE49-F238E27FC236}">
                <a16:creationId xmlns:a16="http://schemas.microsoft.com/office/drawing/2014/main" id="{52084F17-31C0-664F-BC0B-084165CAC01F}"/>
              </a:ext>
            </a:extLst>
          </p:cNvPr>
          <p:cNvSpPr>
            <a:spLocks noGrp="1"/>
          </p:cNvSpPr>
          <p:nvPr>
            <p:ph type="body" sz="quarter" idx="33" hasCustomPrompt="1"/>
          </p:nvPr>
        </p:nvSpPr>
        <p:spPr>
          <a:xfrm>
            <a:off x="4318000" y="5165121"/>
            <a:ext cx="2168525" cy="299295"/>
          </a:xfrm>
          <a:solidFill>
            <a:schemeClr val="bg1"/>
          </a:solidFill>
        </p:spPr>
        <p:txBody>
          <a:bodyPr lIns="144000" tIns="0" rIns="144000" bIns="144000">
            <a:spAutoFit/>
          </a:bodyPr>
          <a:lstStyle>
            <a:lvl1pPr marL="0" indent="0" rtl="0">
              <a:buNone/>
              <a:defRPr sz="1000"/>
            </a:lvl1pPr>
          </a:lstStyle>
          <a:p>
            <a:pPr lvl="0"/>
            <a:r>
              <a:rPr lang="en-US"/>
              <a:t>Subtitle or Description</a:t>
            </a:r>
          </a:p>
        </p:txBody>
      </p:sp>
      <p:sp>
        <p:nvSpPr>
          <p:cNvPr id="33" name="Text Placeholder 24">
            <a:extLst>
              <a:ext uri="{FF2B5EF4-FFF2-40B4-BE49-F238E27FC236}">
                <a16:creationId xmlns:a16="http://schemas.microsoft.com/office/drawing/2014/main" id="{14298035-249E-C243-B0D5-A3C7C669FF03}"/>
              </a:ext>
            </a:extLst>
          </p:cNvPr>
          <p:cNvSpPr>
            <a:spLocks noGrp="1"/>
          </p:cNvSpPr>
          <p:nvPr>
            <p:ph type="body" sz="quarter" idx="34" hasCustomPrompt="1"/>
          </p:nvPr>
        </p:nvSpPr>
        <p:spPr>
          <a:xfrm>
            <a:off x="8166100" y="5164730"/>
            <a:ext cx="2168525" cy="299295"/>
          </a:xfrm>
          <a:solidFill>
            <a:schemeClr val="bg1"/>
          </a:solidFill>
        </p:spPr>
        <p:txBody>
          <a:bodyPr lIns="144000" tIns="0" rIns="144000" bIns="144000">
            <a:spAutoFit/>
          </a:bodyPr>
          <a:lstStyle>
            <a:lvl1pPr marL="0" indent="0" rtl="0">
              <a:buNone/>
              <a:defRPr sz="1000"/>
            </a:lvl1pPr>
          </a:lstStyle>
          <a:p>
            <a:pPr lvl="0"/>
            <a:r>
              <a:rPr lang="en-US"/>
              <a:t>Subtitle or Description</a:t>
            </a:r>
          </a:p>
        </p:txBody>
      </p:sp>
      <p:sp>
        <p:nvSpPr>
          <p:cNvPr id="16" name="Text Placeholder 8">
            <a:extLst>
              <a:ext uri="{FF2B5EF4-FFF2-40B4-BE49-F238E27FC236}">
                <a16:creationId xmlns:a16="http://schemas.microsoft.com/office/drawing/2014/main" id="{2CF37E91-BF11-4742-B9DD-0F80DD9B2860}"/>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0E1C6BFD-DB87-1344-B6CC-BC6BFDDE7E8F}"/>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Tree>
    <p:extLst>
      <p:ext uri="{BB962C8B-B14F-4D97-AF65-F5344CB8AC3E}">
        <p14:creationId xmlns:p14="http://schemas.microsoft.com/office/powerpoint/2010/main" val="1736717934"/>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Divider - Deloitte Accessible Green">
    <p:bg bwMode="gray">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8471CAD-EC7D-0179-CF16-F820E87B14F9}"/>
              </a:ext>
            </a:extLst>
          </p:cNvPr>
          <p:cNvSpPr>
            <a:spLocks noGrp="1"/>
          </p:cNvSpPr>
          <p:nvPr>
            <p:ph type="title"/>
          </p:nvPr>
        </p:nvSpPr>
        <p:spPr bwMode="gray">
          <a:xfrm>
            <a:off x="501651" y="1670834"/>
            <a:ext cx="10347324" cy="1592403"/>
          </a:xfrm>
          <a:prstGeom prst="rect">
            <a:avLst/>
          </a:prstGeom>
        </p:spPr>
        <p:txBody>
          <a:bodyPr lIns="0" anchor="b"/>
          <a:lstStyle>
            <a:lvl1pPr>
              <a:lnSpc>
                <a:spcPct val="95000"/>
              </a:lnSpc>
              <a:defRPr sz="4000" b="1">
                <a:solidFill>
                  <a:schemeClr val="bg2">
                    <a:lumMod val="25000"/>
                  </a:schemeClr>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32C2B597-942F-E8EA-3652-C71185E83010}"/>
              </a:ext>
            </a:extLst>
          </p:cNvPr>
          <p:cNvSpPr>
            <a:spLocks noGrp="1"/>
          </p:cNvSpPr>
          <p:nvPr>
            <p:ph type="body" idx="1"/>
          </p:nvPr>
        </p:nvSpPr>
        <p:spPr bwMode="gray">
          <a:xfrm>
            <a:off x="501651" y="3429000"/>
            <a:ext cx="10347324" cy="1566532"/>
          </a:xfrm>
          <a:prstGeom prst="rect">
            <a:avLst/>
          </a:prstGeom>
        </p:spPr>
        <p:txBody>
          <a:bodyPr lIns="0" tIns="0" rIns="0" bIns="0">
            <a:noAutofit/>
          </a:bodyPr>
          <a:lstStyle>
            <a:lvl1pPr marL="0" indent="0">
              <a:lnSpc>
                <a:spcPct val="95000"/>
              </a:lnSpc>
              <a:spcAft>
                <a:spcPts val="0"/>
              </a:spcAft>
              <a:buNone/>
              <a:defRPr sz="1800" b="0" i="0">
                <a:solidFill>
                  <a:schemeClr val="bg2">
                    <a:lumMod val="25000"/>
                  </a:schemeClr>
                </a:solidFill>
                <a:latin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70494465"/>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Design Concept Overview">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C5A3240-90DF-DA87-40F3-B9D733E8133A}"/>
              </a:ext>
            </a:extLst>
          </p:cNvPr>
          <p:cNvGraphicFramePr>
            <a:graphicFrameLocks noChangeAspect="1"/>
          </p:cNvGraphicFramePr>
          <p:nvPr userDrawn="1">
            <p:custDataLst>
              <p:tags r:id="rId1"/>
            </p:custDataLst>
            <p:extLst>
              <p:ext uri="{D42A27DB-BD31-4B8C-83A1-F6EECF244321}">
                <p14:modId xmlns:p14="http://schemas.microsoft.com/office/powerpoint/2010/main" val="1413346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3" name="think-cell data - do not delete" hidden="1">
                        <a:extLst>
                          <a:ext uri="{FF2B5EF4-FFF2-40B4-BE49-F238E27FC236}">
                            <a16:creationId xmlns:a16="http://schemas.microsoft.com/office/drawing/2014/main" id="{BC5A3240-90DF-DA87-40F3-B9D733E81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2">
            <a:extLst>
              <a:ext uri="{FF2B5EF4-FFF2-40B4-BE49-F238E27FC236}">
                <a16:creationId xmlns:a16="http://schemas.microsoft.com/office/drawing/2014/main" id="{FA132A4B-9075-F14A-A4F4-4789BF296102}"/>
              </a:ext>
            </a:extLst>
          </p:cNvPr>
          <p:cNvSpPr>
            <a:spLocks noGrp="1"/>
          </p:cNvSpPr>
          <p:nvPr>
            <p:ph type="pic" sz="quarter" idx="37"/>
          </p:nvPr>
        </p:nvSpPr>
        <p:spPr>
          <a:xfrm>
            <a:off x="6248400" y="1714500"/>
            <a:ext cx="5486400" cy="364172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16" name="Picture Placeholder 2">
            <a:extLst>
              <a:ext uri="{FF2B5EF4-FFF2-40B4-BE49-F238E27FC236}">
                <a16:creationId xmlns:a16="http://schemas.microsoft.com/office/drawing/2014/main" id="{9AC54CE7-C36B-A842-BCE9-D86A4C6495EF}"/>
              </a:ext>
            </a:extLst>
          </p:cNvPr>
          <p:cNvSpPr>
            <a:spLocks noGrp="1"/>
          </p:cNvSpPr>
          <p:nvPr>
            <p:ph type="pic" sz="quarter" idx="36"/>
          </p:nvPr>
        </p:nvSpPr>
        <p:spPr>
          <a:xfrm>
            <a:off x="457200" y="1714500"/>
            <a:ext cx="5486400" cy="3641723"/>
          </a:xfrm>
          <a:solidFill>
            <a:schemeClr val="tx1">
              <a:lumMod val="65000"/>
              <a:lumOff val="35000"/>
            </a:schemeClr>
          </a:solidFill>
        </p:spPr>
        <p:txBody>
          <a:bodyPr vert="horz" wrap="square" lIns="0" tIns="0" rIns="0" bIns="720000" rtlCol="0" anchor="ctr" anchorCtr="0">
            <a:noAutofit/>
          </a:bodyPr>
          <a:lstStyle>
            <a:lvl1pPr rtl="0">
              <a:defRPr lang="en-US" sz="1000" b="1">
                <a:solidFill>
                  <a:schemeClr val="bg1"/>
                </a:solidFill>
              </a:defRPr>
            </a:lvl1pPr>
          </a:lstStyle>
          <a:p>
            <a:pPr lvl="0" algn="ctr"/>
            <a:r>
              <a:rPr lang="en-US"/>
              <a:t>Click icon to add picture</a:t>
            </a:r>
          </a:p>
        </p:txBody>
      </p:sp>
      <p:sp>
        <p:nvSpPr>
          <p:cNvPr id="17" name="Text Placeholder 8">
            <a:extLst>
              <a:ext uri="{FF2B5EF4-FFF2-40B4-BE49-F238E27FC236}">
                <a16:creationId xmlns:a16="http://schemas.microsoft.com/office/drawing/2014/main" id="{3D84016F-24F2-ED4D-BB7B-3EDB84AE2492}"/>
              </a:ext>
            </a:extLst>
          </p:cNvPr>
          <p:cNvSpPr>
            <a:spLocks noGrp="1"/>
          </p:cNvSpPr>
          <p:nvPr>
            <p:ph type="body" sz="quarter" idx="27" hasCustomPrompt="1"/>
          </p:nvPr>
        </p:nvSpPr>
        <p:spPr>
          <a:xfrm>
            <a:off x="457200" y="4609808"/>
            <a:ext cx="2168525" cy="747197"/>
          </a:xfrm>
          <a:solidFill>
            <a:schemeClr val="bg1"/>
          </a:solidFill>
        </p:spPr>
        <p:txBody>
          <a:bodyPr lIns="144000" tIns="72000" rIns="144000" bIns="396000" anchor="b">
            <a:spAutoFit/>
          </a:bodyPr>
          <a:lstStyle>
            <a:lvl1pPr marL="0" indent="0" rtl="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18" name="Text Placeholder 8">
            <a:extLst>
              <a:ext uri="{FF2B5EF4-FFF2-40B4-BE49-F238E27FC236}">
                <a16:creationId xmlns:a16="http://schemas.microsoft.com/office/drawing/2014/main" id="{F50BE399-72AA-624C-8C40-942FA9185B2D}"/>
              </a:ext>
            </a:extLst>
          </p:cNvPr>
          <p:cNvSpPr>
            <a:spLocks noGrp="1"/>
          </p:cNvSpPr>
          <p:nvPr>
            <p:ph type="body" sz="quarter" idx="29" hasCustomPrompt="1"/>
          </p:nvPr>
        </p:nvSpPr>
        <p:spPr>
          <a:xfrm>
            <a:off x="6242050" y="4609808"/>
            <a:ext cx="2168525" cy="747197"/>
          </a:xfrm>
          <a:solidFill>
            <a:schemeClr val="bg1"/>
          </a:solidFill>
        </p:spPr>
        <p:txBody>
          <a:bodyPr lIns="144000" tIns="72000" rIns="144000" bIns="396000" anchor="b">
            <a:spAutoFit/>
          </a:bodyPr>
          <a:lstStyle>
            <a:lvl1pPr marL="0" indent="0" rtl="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20" name="Text Placeholder 24">
            <a:extLst>
              <a:ext uri="{FF2B5EF4-FFF2-40B4-BE49-F238E27FC236}">
                <a16:creationId xmlns:a16="http://schemas.microsoft.com/office/drawing/2014/main" id="{3A9D20F9-3459-DA49-A789-F4B6E86D2A1F}"/>
              </a:ext>
            </a:extLst>
          </p:cNvPr>
          <p:cNvSpPr>
            <a:spLocks noGrp="1"/>
          </p:cNvSpPr>
          <p:nvPr>
            <p:ph type="body" sz="quarter" idx="32" hasCustomPrompt="1"/>
          </p:nvPr>
        </p:nvSpPr>
        <p:spPr>
          <a:xfrm>
            <a:off x="457200" y="5155114"/>
            <a:ext cx="2168525" cy="299295"/>
          </a:xfrm>
          <a:solidFill>
            <a:schemeClr val="bg1"/>
          </a:solidFill>
        </p:spPr>
        <p:txBody>
          <a:bodyPr lIns="144000" tIns="0" rIns="144000" bIns="144000">
            <a:spAutoFit/>
          </a:bodyPr>
          <a:lstStyle>
            <a:lvl1pPr marL="0" indent="0" rtl="0">
              <a:buNone/>
              <a:defRPr sz="1000"/>
            </a:lvl1pPr>
          </a:lstStyle>
          <a:p>
            <a:pPr lvl="0"/>
            <a:r>
              <a:rPr lang="en-US"/>
              <a:t>Subtitle or Description</a:t>
            </a:r>
          </a:p>
        </p:txBody>
      </p:sp>
      <p:sp>
        <p:nvSpPr>
          <p:cNvPr id="21" name="Text Placeholder 24">
            <a:extLst>
              <a:ext uri="{FF2B5EF4-FFF2-40B4-BE49-F238E27FC236}">
                <a16:creationId xmlns:a16="http://schemas.microsoft.com/office/drawing/2014/main" id="{E8548207-85D2-F34F-8929-BF6FE50DF182}"/>
              </a:ext>
            </a:extLst>
          </p:cNvPr>
          <p:cNvSpPr>
            <a:spLocks noGrp="1"/>
          </p:cNvSpPr>
          <p:nvPr>
            <p:ph type="body" sz="quarter" idx="33" hasCustomPrompt="1"/>
          </p:nvPr>
        </p:nvSpPr>
        <p:spPr>
          <a:xfrm>
            <a:off x="6242050" y="5155114"/>
            <a:ext cx="2168525" cy="299295"/>
          </a:xfrm>
          <a:solidFill>
            <a:schemeClr val="bg1"/>
          </a:solidFill>
        </p:spPr>
        <p:txBody>
          <a:bodyPr lIns="144000" tIns="0" rIns="144000" bIns="144000">
            <a:spAutoFit/>
          </a:bodyPr>
          <a:lstStyle>
            <a:lvl1pPr marL="0" indent="0" rtl="0">
              <a:buNone/>
              <a:defRPr sz="1000"/>
            </a:lvl1pPr>
          </a:lstStyle>
          <a:p>
            <a:pPr lvl="0"/>
            <a:r>
              <a:rPr lang="en-US"/>
              <a:t>Subtitle or Description</a:t>
            </a:r>
          </a:p>
        </p:txBody>
      </p:sp>
      <p:sp>
        <p:nvSpPr>
          <p:cNvPr id="19" name="Text Placeholder 8">
            <a:extLst>
              <a:ext uri="{FF2B5EF4-FFF2-40B4-BE49-F238E27FC236}">
                <a16:creationId xmlns:a16="http://schemas.microsoft.com/office/drawing/2014/main" id="{ADFB14B8-52AA-704E-9FB4-002559458A04}"/>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rtl="0">
              <a:buNone/>
              <a:defRPr sz="16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BD697027-7E8C-E04B-B97E-8D0A7F9AF8B0}"/>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lvl1pPr rtl="0">
              <a:defRPr/>
            </a:lvl1pPr>
          </a:lstStyle>
          <a:p>
            <a:r>
              <a:rPr lang="en-US" noProof="0"/>
              <a:t>Click to edit Master title style</a:t>
            </a:r>
          </a:p>
        </p:txBody>
      </p:sp>
    </p:spTree>
    <p:extLst>
      <p:ext uri="{BB962C8B-B14F-4D97-AF65-F5344CB8AC3E}">
        <p14:creationId xmlns:p14="http://schemas.microsoft.com/office/powerpoint/2010/main" val="1846920046"/>
      </p:ext>
    </p:extLst>
  </p:cSld>
  <p:clrMapOvr>
    <a:masterClrMapping/>
  </p:clrMapOvr>
  <p:transition>
    <p:fade/>
  </p:transition>
  <p:extLst>
    <p:ext uri="{DCECCB84-F9BA-43D5-87BE-67443E8EF086}">
      <p15:sldGuideLst xmlns:p15="http://schemas.microsoft.com/office/powerpoint/2012/main">
        <p15:guide id="1" pos="3784">
          <p15:clr>
            <a:srgbClr val="5ACBF0"/>
          </p15:clr>
        </p15:guide>
        <p15:guide id="2" pos="38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D03F561-DBA1-8299-01AB-44D57B0FD0BD}"/>
              </a:ext>
            </a:extLst>
          </p:cNvPr>
          <p:cNvGraphicFramePr>
            <a:graphicFrameLocks noChangeAspect="1"/>
          </p:cNvGraphicFramePr>
          <p:nvPr userDrawn="1">
            <p:custDataLst>
              <p:tags r:id="rId1"/>
            </p:custDataLst>
            <p:extLst>
              <p:ext uri="{D42A27DB-BD31-4B8C-83A1-F6EECF244321}">
                <p14:modId xmlns:p14="http://schemas.microsoft.com/office/powerpoint/2010/main" val="2110656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2" name="think-cell data - do not delete" hidden="1">
                        <a:extLst>
                          <a:ext uri="{FF2B5EF4-FFF2-40B4-BE49-F238E27FC236}">
                            <a16:creationId xmlns:a16="http://schemas.microsoft.com/office/drawing/2014/main" id="{5D03F561-DBA1-8299-01AB-44D57B0FD0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9F1E34AF-E26A-B949-B96A-66BD6A4721A5}"/>
              </a:ext>
            </a:extLst>
          </p:cNvPr>
          <p:cNvSpPr>
            <a:spLocks noGrp="1"/>
          </p:cNvSpPr>
          <p:nvPr>
            <p:ph type="pic" sz="quarter" idx="24"/>
          </p:nvPr>
        </p:nvSpPr>
        <p:spPr>
          <a:xfrm>
            <a:off x="0" y="0"/>
            <a:ext cx="12192000" cy="6858000"/>
          </a:xfrm>
          <a:solidFill>
            <a:schemeClr val="tx1">
              <a:lumMod val="65000"/>
              <a:lumOff val="35000"/>
            </a:schemeClr>
          </a:solidFill>
        </p:spPr>
        <p:txBody>
          <a:bodyPr vert="horz" wrap="square" lIns="0" tIns="0" rIns="0" bIns="720000" rtlCol="0" anchor="ctr" anchorCtr="0">
            <a:noAutofit/>
          </a:bodyPr>
          <a:lstStyle>
            <a:lvl1pPr algn="ctr" rtl="0">
              <a:defRPr lang="en-US" sz="1000" b="1">
                <a:solidFill>
                  <a:schemeClr val="bg1"/>
                </a:solidFill>
              </a:defRPr>
            </a:lvl1pPr>
          </a:lstStyle>
          <a:p>
            <a:pPr marL="0" lvl="0" indent="0">
              <a:buNone/>
            </a:pPr>
            <a:r>
              <a:rPr lang="en-US"/>
              <a:t>Click icon to add picture</a:t>
            </a:r>
          </a:p>
        </p:txBody>
      </p:sp>
    </p:spTree>
    <p:extLst>
      <p:ext uri="{BB962C8B-B14F-4D97-AF65-F5344CB8AC3E}">
        <p14:creationId xmlns:p14="http://schemas.microsoft.com/office/powerpoint/2010/main" val="370686823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Breadcrumb,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474151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4E8648E-187C-17BF-9918-C3F881E7F83A}"/>
              </a:ext>
            </a:extLst>
          </p:cNvPr>
          <p:cNvGraphicFramePr>
            <a:graphicFrameLocks noChangeAspect="1"/>
          </p:cNvGraphicFramePr>
          <p:nvPr userDrawn="1">
            <p:custDataLst>
              <p:tags r:id="rId1"/>
            </p:custDataLst>
            <p:extLst>
              <p:ext uri="{D42A27DB-BD31-4B8C-83A1-F6EECF244321}">
                <p14:modId xmlns:p14="http://schemas.microsoft.com/office/powerpoint/2010/main" val="312791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2" name="think-cell data - do not delete" hidden="1">
                        <a:extLst>
                          <a:ext uri="{FF2B5EF4-FFF2-40B4-BE49-F238E27FC236}">
                            <a16:creationId xmlns:a16="http://schemas.microsoft.com/office/drawing/2014/main" id="{84E8648E-187C-17BF-9918-C3F881E7F8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body" sz="quarter" idx="13"/>
          </p:nvPr>
        </p:nvSpPr>
        <p:spPr>
          <a:xfrm>
            <a:off x="464481" y="4189870"/>
            <a:ext cx="8566108" cy="2169796"/>
          </a:xfrm>
        </p:spPr>
        <p:txBody>
          <a:bodyPr anchor="b" anchorCtr="0">
            <a:normAutofit/>
          </a:bodyPr>
          <a:lstStyle>
            <a:lvl1pPr rtl="0">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rtl="0">
              <a:defRPr sz="800"/>
            </a:lvl1pPr>
          </a:lstStyle>
          <a:p>
            <a:r>
              <a:rPr lang="en-US" sz="675"/>
              <a:t>Insert sponsorship mark here</a:t>
            </a:r>
            <a:endParaRPr lang="en-US"/>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rtl="0">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noProof="0">
                <a:solidFill>
                  <a:schemeClr val="bg1"/>
                </a:solidFill>
              </a:endParaRPr>
            </a:p>
          </p:txBody>
        </p:sp>
      </p:grpSp>
    </p:spTree>
    <p:extLst>
      <p:ext uri="{BB962C8B-B14F-4D97-AF65-F5344CB8AC3E}">
        <p14:creationId xmlns:p14="http://schemas.microsoft.com/office/powerpoint/2010/main" val="17138858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EACE8CB-A4E1-B6E1-9173-709D17C05416}"/>
              </a:ext>
            </a:extLst>
          </p:cNvPr>
          <p:cNvGraphicFramePr>
            <a:graphicFrameLocks noChangeAspect="1"/>
          </p:cNvGraphicFramePr>
          <p:nvPr userDrawn="1">
            <p:custDataLst>
              <p:tags r:id="rId1"/>
            </p:custDataLst>
            <p:extLst>
              <p:ext uri="{D42A27DB-BD31-4B8C-83A1-F6EECF244321}">
                <p14:modId xmlns:p14="http://schemas.microsoft.com/office/powerpoint/2010/main" val="3241027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5" imgH="405" progId="TCLayout.ActiveDocument.1">
                  <p:embed/>
                </p:oleObj>
              </mc:Choice>
              <mc:Fallback>
                <p:oleObj name="think-cell Folie" r:id="rId3" imgW="405" imgH="405" progId="TCLayout.ActiveDocument.1">
                  <p:embed/>
                  <p:pic>
                    <p:nvPicPr>
                      <p:cNvPr id="2" name="think-cell data - do not delete" hidden="1">
                        <a:extLst>
                          <a:ext uri="{FF2B5EF4-FFF2-40B4-BE49-F238E27FC236}">
                            <a16:creationId xmlns:a16="http://schemas.microsoft.com/office/drawing/2014/main" id="{7EACE8CB-A4E1-B6E1-9173-709D17C054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body" sz="quarter" idx="13"/>
          </p:nvPr>
        </p:nvSpPr>
        <p:spPr>
          <a:xfrm>
            <a:off x="466316" y="4194287"/>
            <a:ext cx="8528936" cy="2169796"/>
          </a:xfrm>
        </p:spPr>
        <p:txBody>
          <a:bodyPr anchor="b" anchorCtr="0">
            <a:noAutofit/>
          </a:bodyPr>
          <a:lstStyle>
            <a:lvl1pPr rtl="0">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rtl="0">
              <a:defRPr sz="800">
                <a:solidFill>
                  <a:schemeClr val="bg1"/>
                </a:solidFill>
              </a:defRPr>
            </a:lvl1pPr>
          </a:lstStyle>
          <a:p>
            <a:r>
              <a:rPr lang="en-US" sz="675"/>
              <a:t>Insert sponsorship mark here</a:t>
            </a:r>
            <a:endParaRPr lang="en-US"/>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rtl="0">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noProof="0">
                <a:solidFill>
                  <a:schemeClr val="bg1"/>
                </a:solidFill>
              </a:endParaRPr>
            </a:p>
          </p:txBody>
        </p:sp>
      </p:grpSp>
    </p:spTree>
    <p:extLst>
      <p:ext uri="{BB962C8B-B14F-4D97-AF65-F5344CB8AC3E}">
        <p14:creationId xmlns:p14="http://schemas.microsoft.com/office/powerpoint/2010/main" val="359166584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36735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3" imgH="473" progId="TCLayout.ActiveDocument.1">
                  <p:embed/>
                </p:oleObj>
              </mc:Choice>
              <mc:Fallback>
                <p:oleObj name="think-cell Folie" r:id="rId4" imgW="473" imgH="47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rtl="0" eaLnBrk="1">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rtl="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rtl="0">
              <a:defRPr>
                <a:latin typeface="+mj-lt"/>
              </a:defRPr>
            </a:lvl1pPr>
          </a:lstStyle>
          <a:p>
            <a:r>
              <a:rPr lang="en-US"/>
              <a:t>Click to add title</a:t>
            </a:r>
          </a:p>
        </p:txBody>
      </p:sp>
    </p:spTree>
    <p:extLst>
      <p:ext uri="{BB962C8B-B14F-4D97-AF65-F5344CB8AC3E}">
        <p14:creationId xmlns:p14="http://schemas.microsoft.com/office/powerpoint/2010/main" val="237794039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7200" y="684000"/>
            <a:ext cx="11274552" cy="757255"/>
          </a:xfrm>
          <a:prstGeom prst="rect">
            <a:avLst/>
          </a:prstGeom>
        </p:spPr>
        <p:txBody>
          <a:bodyPr lIns="0" tIns="0" rIns="0" bIns="0">
            <a:noAutofit/>
          </a:bodyPr>
          <a:lstStyle>
            <a:lvl1pPr marL="0" indent="0">
              <a:spcBef>
                <a:spcPts val="0"/>
              </a:spcBef>
              <a:spcAft>
                <a:spcPts val="0"/>
              </a:spcAft>
              <a:buNone/>
              <a:defRPr sz="1800" b="0">
                <a:solidFill>
                  <a:schemeClr val="tx2"/>
                </a:solidFill>
                <a:latin typeface="Aptos" panose="020B0004020202020204" pitchFamily="34" charset="0"/>
              </a:defRPr>
            </a:lvl1pPr>
          </a:lstStyle>
          <a:p>
            <a:pPr lvl="0"/>
            <a:r>
              <a:rPr lang="en-US"/>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7200" y="345992"/>
            <a:ext cx="11274552" cy="342000"/>
          </a:xfrm>
          <a:prstGeom prst="rect">
            <a:avLst/>
          </a:prstGeom>
        </p:spPr>
        <p:txBody>
          <a:bodyPr vert="horz" lIns="0" tIns="0" rIns="0" bIns="0" rtlCol="0" anchor="t" anchorCtr="0">
            <a:noAutofit/>
          </a:bodyPr>
          <a:lstStyle>
            <a:lvl1pPr>
              <a:spcBef>
                <a:spcPts val="0"/>
              </a:spcBef>
              <a:spcAft>
                <a:spcPts val="0"/>
              </a:spcAft>
              <a:defRPr sz="2100">
                <a:latin typeface="Aptos" panose="020B0004020202020204" pitchFamily="34" charset="0"/>
              </a:defRPr>
            </a:lvl1pPr>
          </a:lstStyle>
          <a:p>
            <a:r>
              <a:rPr lang="en-US"/>
              <a:t>Click to add title</a:t>
            </a:r>
          </a:p>
        </p:txBody>
      </p:sp>
      <p:sp>
        <p:nvSpPr>
          <p:cNvPr id="6" name="TextBox 5">
            <a:extLst>
              <a:ext uri="{FF2B5EF4-FFF2-40B4-BE49-F238E27FC236}">
                <a16:creationId xmlns:a16="http://schemas.microsoft.com/office/drawing/2014/main" id="{4DC768E0-3DB6-6F39-7B51-A70FAF17F1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8" name="Copyright">
            <a:extLst>
              <a:ext uri="{FF2B5EF4-FFF2-40B4-BE49-F238E27FC236}">
                <a16:creationId xmlns:a16="http://schemas.microsoft.com/office/drawing/2014/main" id="{72921667-C13E-653C-D07E-BB15972D94F9}"/>
              </a:ext>
            </a:extLst>
          </p:cNvPr>
          <p:cNvSpPr txBox="1"/>
          <p:nvPr userDrawn="1"/>
        </p:nvSpPr>
        <p:spPr>
          <a:xfrm>
            <a:off x="457200" y="6519672"/>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Aptos" panose="020B0004020202020204" pitchFamily="34" charset="0"/>
                <a:cs typeface="Calibri" panose="020F0502020204030204" pitchFamily="34" charset="0"/>
              </a:rPr>
              <a:t>Deloitte Consulting: AI@SAP Center of Excellence</a:t>
            </a:r>
          </a:p>
        </p:txBody>
      </p:sp>
    </p:spTree>
    <p:extLst>
      <p:ext uri="{BB962C8B-B14F-4D97-AF65-F5344CB8AC3E}">
        <p14:creationId xmlns:p14="http://schemas.microsoft.com/office/powerpoint/2010/main" val="371621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37A796-A11B-18C9-B6D3-C869C59B3629}"/>
              </a:ext>
            </a:extLst>
          </p:cNvPr>
          <p:cNvGraphicFramePr>
            <a:graphicFrameLocks noChangeAspect="1"/>
          </p:cNvGraphicFramePr>
          <p:nvPr userDrawn="1">
            <p:custDataLst>
              <p:tags r:id="rId1"/>
            </p:custDataLst>
            <p:extLst>
              <p:ext uri="{D42A27DB-BD31-4B8C-83A1-F6EECF244321}">
                <p14:modId xmlns:p14="http://schemas.microsoft.com/office/powerpoint/2010/main" val="2094033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478" imgH="479" progId="TCLayout.ActiveDocument.1">
                  <p:embed/>
                </p:oleObj>
              </mc:Choice>
              <mc:Fallback>
                <p:oleObj name="think-cell Folie" r:id="rId8" imgW="478" imgH="479" progId="TCLayout.ActiveDocument.1">
                  <p:embed/>
                  <p:pic>
                    <p:nvPicPr>
                      <p:cNvPr id="3" name="think-cell data - do not delete" hidden="1">
                        <a:extLst>
                          <a:ext uri="{FF2B5EF4-FFF2-40B4-BE49-F238E27FC236}">
                            <a16:creationId xmlns:a16="http://schemas.microsoft.com/office/drawing/2014/main" id="{7837A796-A11B-18C9-B6D3-C869C59B362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3" name="Text Placeholder" hidden="1">
            <a:extLst>
              <a:ext uri="{FF2B5EF4-FFF2-40B4-BE49-F238E27FC236}">
                <a16:creationId xmlns:a16="http://schemas.microsoft.com/office/drawing/2014/main" id="{470C5F18-5824-4737-AA04-AA61C1FBBF1A}"/>
              </a:ext>
            </a:extLst>
          </p:cNvPr>
          <p:cNvSpPr>
            <a:spLocks noGrp="1"/>
          </p:cNvSpPr>
          <p:nvPr>
            <p:ph type="body" sz="quarter" idx="10" hasCustomPrompt="1"/>
            <p:custDataLst>
              <p:tags r:id="rId2"/>
            </p:custDataLst>
          </p:nvPr>
        </p:nvSpPr>
        <p:spPr>
          <a:xfrm>
            <a:off x="457201" y="6365848"/>
            <a:ext cx="4490721" cy="273050"/>
          </a:xfrm>
          <a:prstGeom prst="rect">
            <a:avLst/>
          </a:prstGeom>
        </p:spPr>
        <p:txBody>
          <a:bodyPr anchor="t">
            <a:noAutofit/>
          </a:bodyPr>
          <a:lstStyle>
            <a:lvl1pPr rtl="0">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a:t>Edit Master text styles</a:t>
            </a:r>
          </a:p>
        </p:txBody>
      </p:sp>
      <p:sp>
        <p:nvSpPr>
          <p:cNvPr id="44" name="Picture Placeholder 8" hidden="1">
            <a:extLst>
              <a:ext uri="{FF2B5EF4-FFF2-40B4-BE49-F238E27FC236}">
                <a16:creationId xmlns:a16="http://schemas.microsoft.com/office/drawing/2014/main" id="{932C736B-20BB-4603-9DD1-FEB85AD9DC39}"/>
              </a:ext>
            </a:extLst>
          </p:cNvPr>
          <p:cNvSpPr>
            <a:spLocks noGrp="1"/>
          </p:cNvSpPr>
          <p:nvPr>
            <p:ph type="pic" sz="quarter" idx="11"/>
            <p:custDataLst>
              <p:tags r:id="rId3"/>
            </p:custDataLst>
          </p:nvPr>
        </p:nvSpPr>
        <p:spPr>
          <a:xfrm>
            <a:off x="3319272" y="688848"/>
            <a:ext cx="5562600" cy="5556504"/>
          </a:xfrm>
          <a:prstGeom prst="rect">
            <a:avLst/>
          </a:prstGeom>
        </p:spPr>
        <p:txBody>
          <a:bodyPr/>
          <a:lstStyle>
            <a:lvl1pPr rtl="0">
              <a:defRPr/>
            </a:lvl1pPr>
          </a:lstStyle>
          <a:p>
            <a:r>
              <a:rPr lang="de-DE" noProof="0"/>
              <a:t>Click icon to add picture</a:t>
            </a:r>
          </a:p>
        </p:txBody>
      </p:sp>
      <p:sp>
        <p:nvSpPr>
          <p:cNvPr id="16" name="MIO_AGENDA_IGNORE_NAVIGATION" hidden="1">
            <a:extLst>
              <a:ext uri="{FF2B5EF4-FFF2-40B4-BE49-F238E27FC236}">
                <a16:creationId xmlns:a16="http://schemas.microsoft.com/office/drawing/2014/main" id="{D35CEE80-9913-49B6-AD2D-CD6015DCEA12}"/>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17" name="MIO_AGENDA_IGNORE_CHAPTER_REFERENCE" hidden="1">
            <a:extLst>
              <a:ext uri="{FF2B5EF4-FFF2-40B4-BE49-F238E27FC236}">
                <a16:creationId xmlns:a16="http://schemas.microsoft.com/office/drawing/2014/main" id="{6BB5887F-93D5-475B-917E-FCC7B89F3723}"/>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pic>
        <p:nvPicPr>
          <p:cNvPr id="18" name="Picture 17" hidden="1">
            <a:extLst>
              <a:ext uri="{FF2B5EF4-FFF2-40B4-BE49-F238E27FC236}">
                <a16:creationId xmlns:a16="http://schemas.microsoft.com/office/drawing/2014/main" id="{6D37D77E-C437-42FD-91ED-699060885533}"/>
              </a:ext>
            </a:extLst>
          </p:cNvPr>
          <p:cNvPicPr>
            <a:picLocks noChangeAspect="1"/>
          </p:cNvPicPr>
          <p:nvPr>
            <p:custDataLst>
              <p:tags r:id="rId4"/>
            </p:custDataLst>
          </p:nvPr>
        </p:nvPicPr>
        <p:blipFill>
          <a:blip r:embed="rId10" cstate="email">
            <a:extLst>
              <a:ext uri="{28A0092B-C50C-407E-A947-70E740481C1C}">
                <a14:useLocalDpi xmlns:a14="http://schemas.microsoft.com/office/drawing/2010/main" val="0"/>
              </a:ext>
            </a:extLst>
          </a:blip>
          <a:srcRect/>
          <a:stretch/>
        </p:blipFill>
        <p:spPr>
          <a:xfrm>
            <a:off x="10694852" y="5659120"/>
            <a:ext cx="1198880" cy="1198880"/>
          </a:xfrm>
          <a:prstGeom prst="rect">
            <a:avLst/>
          </a:prstGeom>
        </p:spPr>
      </p:pic>
      <p:sp>
        <p:nvSpPr>
          <p:cNvPr id="42" name="Title" hidden="1">
            <a:extLst>
              <a:ext uri="{FF2B5EF4-FFF2-40B4-BE49-F238E27FC236}">
                <a16:creationId xmlns:a16="http://schemas.microsoft.com/office/drawing/2014/main" id="{B345DB50-CB94-4421-9E14-33DABF973475}"/>
              </a:ext>
            </a:extLst>
          </p:cNvPr>
          <p:cNvSpPr>
            <a:spLocks noGrp="1"/>
          </p:cNvSpPr>
          <p:nvPr>
            <p:ph type="ctrTitle"/>
            <p:custDataLst>
              <p:tags r:id="rId5"/>
            </p:custDataLst>
          </p:nvPr>
        </p:nvSpPr>
        <p:spPr bwMode="gray">
          <a:xfrm>
            <a:off x="457201" y="5186209"/>
            <a:ext cx="4490721" cy="895983"/>
          </a:xfrm>
          <a:prstGeom prst="rect">
            <a:avLst/>
          </a:prstGeom>
        </p:spPr>
        <p:txBody>
          <a:bodyPr vert="horz" anchor="b" anchorCtr="0">
            <a:noAutofit/>
          </a:bodyPr>
          <a:lstStyle>
            <a:lvl1pPr algn="l" rtl="0">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de-DE" noProof="0"/>
              <a:t>Click to edit Master title style</a:t>
            </a:r>
          </a:p>
        </p:txBody>
      </p:sp>
      <p:pic>
        <p:nvPicPr>
          <p:cNvPr id="19" name="Grafik 18" hidden="1">
            <a:extLst>
              <a:ext uri="{FF2B5EF4-FFF2-40B4-BE49-F238E27FC236}">
                <a16:creationId xmlns:a16="http://schemas.microsoft.com/office/drawing/2014/main" id="{010A447C-065D-4CFB-831F-3E79529AAB3A}"/>
              </a:ext>
            </a:extLst>
          </p:cNvPr>
          <p:cNvPicPr>
            <a:picLocks noChangeAspect="1"/>
          </p:cNvPicPr>
          <p:nvPr userDrawn="1">
            <p:custDataLst>
              <p:tags r:id="rId6"/>
            </p:custDataLst>
          </p:nvPr>
        </p:nvPicPr>
        <p:blipFill>
          <a:blip r:embed="rId11"/>
          <a:stretch>
            <a:fillRect/>
          </a:stretch>
        </p:blipFill>
        <p:spPr>
          <a:xfrm>
            <a:off x="458636" y="342232"/>
            <a:ext cx="1818000" cy="339914"/>
          </a:xfrm>
          <a:prstGeom prst="rect">
            <a:avLst/>
          </a:prstGeom>
        </p:spPr>
      </p:pic>
    </p:spTree>
    <p:extLst>
      <p:ext uri="{BB962C8B-B14F-4D97-AF65-F5344CB8AC3E}">
        <p14:creationId xmlns:p14="http://schemas.microsoft.com/office/powerpoint/2010/main" val="2606807902"/>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DCA5E18-0432-1196-38CE-AFD68685C5AC}"/>
              </a:ext>
            </a:extLst>
          </p:cNvPr>
          <p:cNvGraphicFramePr>
            <a:graphicFrameLocks noChangeAspect="1"/>
          </p:cNvGraphicFramePr>
          <p:nvPr userDrawn="1">
            <p:custDataLst>
              <p:tags r:id="rId1"/>
            </p:custDataLst>
            <p:extLst>
              <p:ext uri="{D42A27DB-BD31-4B8C-83A1-F6EECF244321}">
                <p14:modId xmlns:p14="http://schemas.microsoft.com/office/powerpoint/2010/main" val="7828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3" name="think-cell data - do not delete" hidden="1">
                        <a:extLst>
                          <a:ext uri="{FF2B5EF4-FFF2-40B4-BE49-F238E27FC236}">
                            <a16:creationId xmlns:a16="http://schemas.microsoft.com/office/drawing/2014/main" id="{2DCA5E18-0432-1196-38CE-AFD68685C5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3" name="Text Placeholder" hidden="1">
            <a:extLst>
              <a:ext uri="{FF2B5EF4-FFF2-40B4-BE49-F238E27FC236}">
                <a16:creationId xmlns:a16="http://schemas.microsoft.com/office/drawing/2014/main" id="{470C5F18-5824-4737-AA04-AA61C1FBBF1A}"/>
              </a:ext>
            </a:extLst>
          </p:cNvPr>
          <p:cNvSpPr>
            <a:spLocks noGrp="1"/>
          </p:cNvSpPr>
          <p:nvPr>
            <p:ph type="body" sz="quarter" idx="10" hasCustomPrompt="1"/>
            <p:custDataLst>
              <p:tags r:id="rId2"/>
            </p:custDataLst>
          </p:nvPr>
        </p:nvSpPr>
        <p:spPr>
          <a:xfrm>
            <a:off x="457201" y="6365848"/>
            <a:ext cx="4490721" cy="273050"/>
          </a:xfrm>
          <a:prstGeom prst="rect">
            <a:avLst/>
          </a:prstGeom>
        </p:spPr>
        <p:txBody>
          <a:bodyPr anchor="t">
            <a:noAutofit/>
          </a:bodyPr>
          <a:lstStyle>
            <a:lvl1pPr rtl="0">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a:t>Edit Master text styles</a:t>
            </a:r>
          </a:p>
        </p:txBody>
      </p:sp>
      <p:sp>
        <p:nvSpPr>
          <p:cNvPr id="44" name="Picture Placeholder 8" hidden="1">
            <a:extLst>
              <a:ext uri="{FF2B5EF4-FFF2-40B4-BE49-F238E27FC236}">
                <a16:creationId xmlns:a16="http://schemas.microsoft.com/office/drawing/2014/main" id="{932C736B-20BB-4603-9DD1-FEB85AD9DC39}"/>
              </a:ext>
            </a:extLst>
          </p:cNvPr>
          <p:cNvSpPr>
            <a:spLocks noGrp="1"/>
          </p:cNvSpPr>
          <p:nvPr>
            <p:ph type="pic" sz="quarter" idx="11"/>
            <p:custDataLst>
              <p:tags r:id="rId3"/>
            </p:custDataLst>
          </p:nvPr>
        </p:nvSpPr>
        <p:spPr>
          <a:xfrm>
            <a:off x="3319272" y="688848"/>
            <a:ext cx="5562600" cy="5556504"/>
          </a:xfrm>
          <a:prstGeom prst="rect">
            <a:avLst/>
          </a:prstGeom>
        </p:spPr>
        <p:txBody>
          <a:bodyPr/>
          <a:lstStyle>
            <a:lvl1pPr rtl="0">
              <a:defRPr/>
            </a:lvl1pPr>
          </a:lstStyle>
          <a:p>
            <a:r>
              <a:rPr lang="de-DE" noProof="0"/>
              <a:t>Click icon to add picture</a:t>
            </a:r>
          </a:p>
        </p:txBody>
      </p:sp>
      <p:sp>
        <p:nvSpPr>
          <p:cNvPr id="16" name="MIO_AGENDA_IGNORE_NAVIGATION" hidden="1">
            <a:extLst>
              <a:ext uri="{FF2B5EF4-FFF2-40B4-BE49-F238E27FC236}">
                <a16:creationId xmlns:a16="http://schemas.microsoft.com/office/drawing/2014/main" id="{D35CEE80-9913-49B6-AD2D-CD6015DCEA12}"/>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17" name="MIO_AGENDA_IGNORE_CHAPTER_REFERENCE" hidden="1">
            <a:extLst>
              <a:ext uri="{FF2B5EF4-FFF2-40B4-BE49-F238E27FC236}">
                <a16:creationId xmlns:a16="http://schemas.microsoft.com/office/drawing/2014/main" id="{6BB5887F-93D5-475B-917E-FCC7B89F3723}"/>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42" name="Title" hidden="1">
            <a:extLst>
              <a:ext uri="{FF2B5EF4-FFF2-40B4-BE49-F238E27FC236}">
                <a16:creationId xmlns:a16="http://schemas.microsoft.com/office/drawing/2014/main" id="{B345DB50-CB94-4421-9E14-33DABF973475}"/>
              </a:ext>
            </a:extLst>
          </p:cNvPr>
          <p:cNvSpPr>
            <a:spLocks noGrp="1"/>
          </p:cNvSpPr>
          <p:nvPr>
            <p:ph type="ctrTitle"/>
            <p:custDataLst>
              <p:tags r:id="rId4"/>
            </p:custDataLst>
          </p:nvPr>
        </p:nvSpPr>
        <p:spPr bwMode="gray">
          <a:xfrm>
            <a:off x="457201" y="5186209"/>
            <a:ext cx="4490721" cy="895983"/>
          </a:xfrm>
          <a:prstGeom prst="rect">
            <a:avLst/>
          </a:prstGeom>
        </p:spPr>
        <p:txBody>
          <a:bodyPr vert="horz" anchor="b" anchorCtr="0">
            <a:noAutofit/>
          </a:bodyPr>
          <a:lstStyle>
            <a:lvl1pPr algn="l" rtl="0">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de-DE" noProof="0"/>
              <a:t>Click to edit Master title style</a:t>
            </a:r>
          </a:p>
        </p:txBody>
      </p:sp>
      <p:pic>
        <p:nvPicPr>
          <p:cNvPr id="19" name="Grafik 18" hidden="1">
            <a:extLst>
              <a:ext uri="{FF2B5EF4-FFF2-40B4-BE49-F238E27FC236}">
                <a16:creationId xmlns:a16="http://schemas.microsoft.com/office/drawing/2014/main" id="{010A447C-065D-4CFB-831F-3E79529AAB3A}"/>
              </a:ext>
            </a:extLst>
          </p:cNvPr>
          <p:cNvPicPr>
            <a:picLocks noChangeAspect="1"/>
          </p:cNvPicPr>
          <p:nvPr userDrawn="1">
            <p:custDataLst>
              <p:tags r:id="rId5"/>
            </p:custDataLst>
          </p:nvPr>
        </p:nvPicPr>
        <p:blipFill>
          <a:blip r:embed="rId9"/>
          <a:stretch>
            <a:fillRect/>
          </a:stretch>
        </p:blipFill>
        <p:spPr>
          <a:xfrm>
            <a:off x="458636" y="342232"/>
            <a:ext cx="1818000" cy="339914"/>
          </a:xfrm>
          <a:prstGeom prst="rect">
            <a:avLst/>
          </a:prstGeom>
        </p:spPr>
      </p:pic>
    </p:spTree>
    <p:extLst>
      <p:ext uri="{BB962C8B-B14F-4D97-AF65-F5344CB8AC3E}">
        <p14:creationId xmlns:p14="http://schemas.microsoft.com/office/powerpoint/2010/main" val="3460444427"/>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25FB7E-1C6D-1975-8CAE-D4AF630621B8}"/>
              </a:ext>
            </a:extLst>
          </p:cNvPr>
          <p:cNvGraphicFramePr>
            <a:graphicFrameLocks noChangeAspect="1"/>
          </p:cNvGraphicFramePr>
          <p:nvPr userDrawn="1">
            <p:custDataLst>
              <p:tags r:id="rId1"/>
            </p:custDataLst>
            <p:extLst>
              <p:ext uri="{D42A27DB-BD31-4B8C-83A1-F6EECF244321}">
                <p14:modId xmlns:p14="http://schemas.microsoft.com/office/powerpoint/2010/main" val="3493820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478" imgH="479" progId="TCLayout.ActiveDocument.1">
                  <p:embed/>
                </p:oleObj>
              </mc:Choice>
              <mc:Fallback>
                <p:oleObj name="think-cell Folie" r:id="rId9" imgW="478" imgH="479" progId="TCLayout.ActiveDocument.1">
                  <p:embed/>
                  <p:pic>
                    <p:nvPicPr>
                      <p:cNvPr id="3" name="think-cell data - do not delete" hidden="1">
                        <a:extLst>
                          <a:ext uri="{FF2B5EF4-FFF2-40B4-BE49-F238E27FC236}">
                            <a16:creationId xmlns:a16="http://schemas.microsoft.com/office/drawing/2014/main" id="{0D25FB7E-1C6D-1975-8CAE-D4AF630621B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2" name="Picture 2" descr="Currenta setzt sich durch Innovation Cluster für Klimaneutralität ein" hidden="1">
            <a:extLst>
              <a:ext uri="{FF2B5EF4-FFF2-40B4-BE49-F238E27FC236}">
                <a16:creationId xmlns:a16="http://schemas.microsoft.com/office/drawing/2014/main" id="{09C7DAD6-32E7-EF9C-5E5B-B98421281A7D}"/>
              </a:ext>
            </a:extLst>
          </p:cNvPr>
          <p:cNvPicPr>
            <a:picLocks noChangeAspect="1" noChangeArrowheads="1"/>
          </p:cNvPicPr>
          <p:nvPr userDrawn="1">
            <p:custDataLst>
              <p:tags r:id="rId2"/>
            </p:custDataLst>
          </p:nvPr>
        </p:nvPicPr>
        <p:blipFill rotWithShape="1">
          <a:blip r:embed="rId11" cstate="email">
            <a:extLst>
              <a:ext uri="{28A0092B-C50C-407E-A947-70E740481C1C}">
                <a14:useLocalDpi xmlns:a14="http://schemas.microsoft.com/office/drawing/2010/main" val="0"/>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hidden="1">
            <a:extLst>
              <a:ext uri="{FF2B5EF4-FFF2-40B4-BE49-F238E27FC236}">
                <a16:creationId xmlns:a16="http://schemas.microsoft.com/office/drawing/2014/main" id="{5D59F8D2-31A4-993C-96D8-8B2B3E7E6A45}"/>
              </a:ext>
            </a:extLst>
          </p:cNvPr>
          <p:cNvSpPr>
            <a:spLocks/>
          </p:cNvSpPr>
          <p:nvPr userDrawn="1">
            <p:custDataLst>
              <p:tags r:id="rId3"/>
            </p:custDataLst>
          </p:nvPr>
        </p:nvSpPr>
        <p:spPr bwMode="gray">
          <a:xfrm>
            <a:off x="0" y="5158740"/>
            <a:ext cx="12192000" cy="1699259"/>
          </a:xfrm>
          <a:prstGeom prst="rect">
            <a:avLst/>
          </a:prstGeom>
          <a:solidFill>
            <a:schemeClr val="tx1">
              <a:lumMod val="85000"/>
              <a:lumOff val="15000"/>
              <a:alpha val="80000"/>
            </a:schemeClr>
          </a:solidFill>
          <a:ln w="19050" algn="ctr">
            <a:noFill/>
            <a:miter lim="800000"/>
            <a:headEnd/>
            <a:tailEnd/>
          </a:ln>
        </p:spPr>
        <p:txBody>
          <a:bodyPr wrap="square" lIns="88900" tIns="88900" rIns="88900" bIns="88900" rtlCol="0" anchor="ctr"/>
          <a:lstStyle/>
          <a:p>
            <a:pPr algn="ctr" rtl="0">
              <a:lnSpc>
                <a:spcPct val="106000"/>
              </a:lnSpc>
              <a:buFont typeface="Wingdings 2" pitchFamily="18" charset="2"/>
              <a:buNone/>
            </a:pPr>
            <a:endParaRPr lang="de-DE" sz="1600" b="1">
              <a:solidFill>
                <a:schemeClr val="bg1"/>
              </a:solidFill>
            </a:endParaRPr>
          </a:p>
        </p:txBody>
      </p:sp>
      <p:sp>
        <p:nvSpPr>
          <p:cNvPr id="43" name="Text Placeholder" hidden="1">
            <a:extLst>
              <a:ext uri="{FF2B5EF4-FFF2-40B4-BE49-F238E27FC236}">
                <a16:creationId xmlns:a16="http://schemas.microsoft.com/office/drawing/2014/main" id="{470C5F18-5824-4737-AA04-AA61C1FBBF1A}"/>
              </a:ext>
            </a:extLst>
          </p:cNvPr>
          <p:cNvSpPr>
            <a:spLocks noGrp="1"/>
          </p:cNvSpPr>
          <p:nvPr>
            <p:ph type="body" sz="quarter" idx="10" hasCustomPrompt="1"/>
            <p:custDataLst>
              <p:tags r:id="rId4"/>
            </p:custDataLst>
          </p:nvPr>
        </p:nvSpPr>
        <p:spPr>
          <a:xfrm>
            <a:off x="463296" y="6365848"/>
            <a:ext cx="4446269" cy="273050"/>
          </a:xfrm>
          <a:prstGeom prst="rect">
            <a:avLst/>
          </a:prstGeom>
        </p:spPr>
        <p:txBody>
          <a:bodyPr anchor="t">
            <a:noAutofit/>
          </a:bodyPr>
          <a:lstStyle>
            <a:lvl1pPr rtl="0">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a:t>Edit Master text styles</a:t>
            </a:r>
          </a:p>
        </p:txBody>
      </p:sp>
      <p:sp>
        <p:nvSpPr>
          <p:cNvPr id="16" name="MIO_AGENDA_IGNORE_NAVIGATION" hidden="1">
            <a:extLst>
              <a:ext uri="{FF2B5EF4-FFF2-40B4-BE49-F238E27FC236}">
                <a16:creationId xmlns:a16="http://schemas.microsoft.com/office/drawing/2014/main" id="{E87F14BC-2A89-442C-A2A4-F8C495F64EDE}"/>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18" name="MIO_AGENDA_IGNORE_CHAPTER_REFERENCE" hidden="1">
            <a:extLst>
              <a:ext uri="{FF2B5EF4-FFF2-40B4-BE49-F238E27FC236}">
                <a16:creationId xmlns:a16="http://schemas.microsoft.com/office/drawing/2014/main" id="{47AE036B-D905-4E75-9AA0-BBD4F9B323D9}"/>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pic>
        <p:nvPicPr>
          <p:cNvPr id="19" name="Picture 18" hidden="1">
            <a:extLst>
              <a:ext uri="{FF2B5EF4-FFF2-40B4-BE49-F238E27FC236}">
                <a16:creationId xmlns:a16="http://schemas.microsoft.com/office/drawing/2014/main" id="{462EDD38-A67F-487C-BB7B-5F5DC45273C2}"/>
              </a:ext>
            </a:extLst>
          </p:cNvPr>
          <p:cNvPicPr>
            <a:picLocks noChangeAspect="1"/>
          </p:cNvPicPr>
          <p:nvPr>
            <p:custDataLst>
              <p:tags r:id="rId5"/>
            </p:custDataLst>
          </p:nvPr>
        </p:nvPicPr>
        <p:blipFill>
          <a:blip r:embed="rId12"/>
          <a:srcRect/>
          <a:stretch/>
        </p:blipFill>
        <p:spPr>
          <a:xfrm>
            <a:off x="10694852" y="5659120"/>
            <a:ext cx="1198880" cy="1198880"/>
          </a:xfrm>
          <a:prstGeom prst="rect">
            <a:avLst/>
          </a:prstGeom>
        </p:spPr>
      </p:pic>
      <p:sp>
        <p:nvSpPr>
          <p:cNvPr id="53" name="Title" hidden="1">
            <a:extLst>
              <a:ext uri="{FF2B5EF4-FFF2-40B4-BE49-F238E27FC236}">
                <a16:creationId xmlns:a16="http://schemas.microsoft.com/office/drawing/2014/main" id="{647FBB06-57A1-478F-8BCE-57D05265516A}"/>
              </a:ext>
            </a:extLst>
          </p:cNvPr>
          <p:cNvSpPr>
            <a:spLocks noGrp="1"/>
          </p:cNvSpPr>
          <p:nvPr>
            <p:ph type="ctrTitle"/>
            <p:custDataLst>
              <p:tags r:id="rId6"/>
            </p:custDataLst>
          </p:nvPr>
        </p:nvSpPr>
        <p:spPr bwMode="gray">
          <a:xfrm>
            <a:off x="463296" y="5186209"/>
            <a:ext cx="4446269" cy="895983"/>
          </a:xfrm>
          <a:prstGeom prst="rect">
            <a:avLst/>
          </a:prstGeom>
        </p:spPr>
        <p:txBody>
          <a:bodyPr vert="horz" anchor="b" anchorCtr="0">
            <a:noAutofit/>
          </a:bodyPr>
          <a:lstStyle>
            <a:lvl1pPr algn="l" rtl="0">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de-DE" noProof="0"/>
              <a:t>Click to edit Master title style</a:t>
            </a:r>
          </a:p>
        </p:txBody>
      </p:sp>
      <p:pic>
        <p:nvPicPr>
          <p:cNvPr id="20" name="Grafik 19" hidden="1">
            <a:extLst>
              <a:ext uri="{FF2B5EF4-FFF2-40B4-BE49-F238E27FC236}">
                <a16:creationId xmlns:a16="http://schemas.microsoft.com/office/drawing/2014/main" id="{A3A37F16-E9F9-4981-87DB-84053A39E1F6}"/>
              </a:ext>
            </a:extLst>
          </p:cNvPr>
          <p:cNvPicPr>
            <a:picLocks noChangeAspect="1"/>
          </p:cNvPicPr>
          <p:nvPr userDrawn="1">
            <p:custDataLst>
              <p:tags r:id="rId7"/>
            </p:custDataLst>
          </p:nvPr>
        </p:nvPicPr>
        <p:blipFill>
          <a:blip r:embed="rId13"/>
          <a:stretch>
            <a:fillRect/>
          </a:stretch>
        </p:blipFill>
        <p:spPr>
          <a:xfrm>
            <a:off x="458636" y="342232"/>
            <a:ext cx="1818000" cy="339914"/>
          </a:xfrm>
          <a:prstGeom prst="rect">
            <a:avLst/>
          </a:prstGeom>
        </p:spPr>
      </p:pic>
    </p:spTree>
    <p:extLst>
      <p:ext uri="{BB962C8B-B14F-4D97-AF65-F5344CB8AC3E}">
        <p14:creationId xmlns:p14="http://schemas.microsoft.com/office/powerpoint/2010/main" val="2262796709"/>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95300" y="4209260"/>
            <a:ext cx="8555638" cy="2172489"/>
          </a:xfrm>
          <a:prstGeom prst="rect">
            <a:avLst/>
          </a:prstGeom>
        </p:spPr>
        <p:txBody>
          <a:bodyPr anchor="b" anchorCtr="0">
            <a:noAutofit/>
          </a:bodyPr>
          <a:lstStyle>
            <a:lvl1pPr>
              <a:lnSpc>
                <a:spcPct val="100000"/>
              </a:lnSpc>
              <a:spcAft>
                <a:spcPts val="600"/>
              </a:spcAft>
              <a:defRPr sz="8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a:prstGeom prst="rect">
            <a:avLst/>
          </a:prstGeo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a:prstGeom prst="rect">
            <a:avLst/>
          </a:prstGeom>
        </p:spPr>
        <p:txBody>
          <a:bodyPr anchor="b" anchorCtr="0">
            <a:noAutofit/>
          </a:bodyPr>
          <a:lstStyle>
            <a:lvl1pPr>
              <a:lnSpc>
                <a:spcPct val="100000"/>
              </a:lnSpc>
              <a:defRPr sz="80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501652" y="3048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2410372651"/>
      </p:ext>
    </p:extLst>
  </p:cSld>
  <p:clrMapOvr>
    <a:masterClrMapping/>
  </p:clrMapOvr>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51C7390-58E2-DE29-4453-6D2EE5566BC2}"/>
              </a:ext>
            </a:extLst>
          </p:cNvPr>
          <p:cNvGraphicFramePr>
            <a:graphicFrameLocks noChangeAspect="1"/>
          </p:cNvGraphicFramePr>
          <p:nvPr userDrawn="1">
            <p:custDataLst>
              <p:tags r:id="rId1"/>
            </p:custDataLst>
            <p:extLst>
              <p:ext uri="{D42A27DB-BD31-4B8C-83A1-F6EECF244321}">
                <p14:modId xmlns:p14="http://schemas.microsoft.com/office/powerpoint/2010/main" val="224206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478" imgH="479" progId="TCLayout.ActiveDocument.1">
                  <p:embed/>
                </p:oleObj>
              </mc:Choice>
              <mc:Fallback>
                <p:oleObj name="think-cell Folie" r:id="rId8" imgW="478" imgH="479" progId="TCLayout.ActiveDocument.1">
                  <p:embed/>
                  <p:pic>
                    <p:nvPicPr>
                      <p:cNvPr id="3" name="think-cell data - do not delete" hidden="1">
                        <a:extLst>
                          <a:ext uri="{FF2B5EF4-FFF2-40B4-BE49-F238E27FC236}">
                            <a16:creationId xmlns:a16="http://schemas.microsoft.com/office/drawing/2014/main" id="{251C7390-58E2-DE29-4453-6D2EE5566BC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Picture Placeholder 8" hidden="1">
            <a:extLst>
              <a:ext uri="{FF2B5EF4-FFF2-40B4-BE49-F238E27FC236}">
                <a16:creationId xmlns:a16="http://schemas.microsoft.com/office/drawing/2014/main" id="{DEF77F0F-DE6A-48C9-92BD-013174DD643C}"/>
              </a:ext>
            </a:extLst>
          </p:cNvPr>
          <p:cNvSpPr>
            <a:spLocks noGrp="1"/>
          </p:cNvSpPr>
          <p:nvPr>
            <p:ph type="pic" sz="quarter" idx="11"/>
            <p:custDataLst>
              <p:tags r:id="rId2"/>
            </p:custDataLst>
          </p:nvPr>
        </p:nvSpPr>
        <p:spPr>
          <a:xfrm>
            <a:off x="0" y="0"/>
            <a:ext cx="12192000" cy="6858000"/>
          </a:xfrm>
          <a:prstGeom prst="rect">
            <a:avLst/>
          </a:prstGeom>
        </p:spPr>
        <p:txBody>
          <a:bodyPr/>
          <a:lstStyle>
            <a:lvl1pPr rtl="0">
              <a:defRPr>
                <a:solidFill>
                  <a:schemeClr val="bg1"/>
                </a:solidFill>
              </a:defRPr>
            </a:lvl1pPr>
          </a:lstStyle>
          <a:p>
            <a:r>
              <a:rPr lang="de-DE" noProof="0"/>
              <a:t>Click icon to add picture</a:t>
            </a:r>
          </a:p>
        </p:txBody>
      </p:sp>
      <p:sp>
        <p:nvSpPr>
          <p:cNvPr id="28" name="Text Placeholder" hidden="1">
            <a:extLst>
              <a:ext uri="{FF2B5EF4-FFF2-40B4-BE49-F238E27FC236}">
                <a16:creationId xmlns:a16="http://schemas.microsoft.com/office/drawing/2014/main" id="{7843742C-26CB-411F-8564-50309241988E}"/>
              </a:ext>
            </a:extLst>
          </p:cNvPr>
          <p:cNvSpPr>
            <a:spLocks noGrp="1"/>
          </p:cNvSpPr>
          <p:nvPr>
            <p:ph type="body" sz="quarter" idx="10" hasCustomPrompt="1"/>
            <p:custDataLst>
              <p:tags r:id="rId3"/>
            </p:custDataLst>
          </p:nvPr>
        </p:nvSpPr>
        <p:spPr>
          <a:xfrm>
            <a:off x="463296" y="6364224"/>
            <a:ext cx="4446269" cy="273050"/>
          </a:xfrm>
          <a:prstGeom prst="rect">
            <a:avLst/>
          </a:prstGeom>
        </p:spPr>
        <p:txBody>
          <a:bodyPr anchor="t">
            <a:noAutofit/>
          </a:bodyPr>
          <a:lstStyle>
            <a:lvl1pPr rtl="0">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a:t>Edit Master text styles</a:t>
            </a:r>
          </a:p>
        </p:txBody>
      </p:sp>
      <p:sp>
        <p:nvSpPr>
          <p:cNvPr id="29" name="Title" hidden="1">
            <a:extLst>
              <a:ext uri="{FF2B5EF4-FFF2-40B4-BE49-F238E27FC236}">
                <a16:creationId xmlns:a16="http://schemas.microsoft.com/office/drawing/2014/main" id="{A7C729B7-24CD-4887-BCB2-9B9E69736AAE}"/>
              </a:ext>
            </a:extLst>
          </p:cNvPr>
          <p:cNvSpPr>
            <a:spLocks noGrp="1"/>
          </p:cNvSpPr>
          <p:nvPr>
            <p:ph type="ctrTitle"/>
            <p:custDataLst>
              <p:tags r:id="rId4"/>
            </p:custDataLst>
          </p:nvPr>
        </p:nvSpPr>
        <p:spPr bwMode="gray">
          <a:xfrm>
            <a:off x="463296" y="5186209"/>
            <a:ext cx="4446269" cy="895983"/>
          </a:xfrm>
          <a:prstGeom prst="rect">
            <a:avLst/>
          </a:prstGeom>
        </p:spPr>
        <p:txBody>
          <a:bodyPr vert="horz" anchor="b" anchorCtr="0">
            <a:noAutofit/>
          </a:bodyPr>
          <a:lstStyle>
            <a:lvl1pPr algn="l" rtl="0">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de-DE" noProof="0"/>
              <a:t>Click to edit Master title style</a:t>
            </a:r>
          </a:p>
        </p:txBody>
      </p:sp>
      <p:sp>
        <p:nvSpPr>
          <p:cNvPr id="30" name="MIO_AGENDA_IGNORE_NAVIGATION" hidden="1">
            <a:extLst>
              <a:ext uri="{FF2B5EF4-FFF2-40B4-BE49-F238E27FC236}">
                <a16:creationId xmlns:a16="http://schemas.microsoft.com/office/drawing/2014/main" id="{21E6B44B-2911-4D90-ADF1-345D287BEC40}"/>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31" name="MIO_AGENDA_IGNORE_CHAPTER_REFERENCE" hidden="1">
            <a:extLst>
              <a:ext uri="{FF2B5EF4-FFF2-40B4-BE49-F238E27FC236}">
                <a16:creationId xmlns:a16="http://schemas.microsoft.com/office/drawing/2014/main" id="{D22541A4-6CCB-49E3-87E5-CEF66BC7C1D8}"/>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pic>
        <p:nvPicPr>
          <p:cNvPr id="32" name="Picture 31" hidden="1">
            <a:extLst>
              <a:ext uri="{FF2B5EF4-FFF2-40B4-BE49-F238E27FC236}">
                <a16:creationId xmlns:a16="http://schemas.microsoft.com/office/drawing/2014/main" id="{81AB6879-BEBD-4350-977F-6C88566174B5}"/>
              </a:ext>
            </a:extLst>
          </p:cNvPr>
          <p:cNvPicPr>
            <a:picLocks noChangeAspect="1"/>
          </p:cNvPicPr>
          <p:nvPr>
            <p:custDataLst>
              <p:tags r:id="rId5"/>
            </p:custDataLst>
          </p:nvPr>
        </p:nvPicPr>
        <p:blipFill>
          <a:blip r:embed="rId10"/>
          <a:srcRect/>
          <a:stretch/>
        </p:blipFill>
        <p:spPr>
          <a:xfrm>
            <a:off x="10694852" y="5659120"/>
            <a:ext cx="1198880" cy="1198880"/>
          </a:xfrm>
          <a:prstGeom prst="rect">
            <a:avLst/>
          </a:prstGeom>
        </p:spPr>
      </p:pic>
      <p:pic>
        <p:nvPicPr>
          <p:cNvPr id="33" name="Grafik 32" hidden="1">
            <a:extLst>
              <a:ext uri="{FF2B5EF4-FFF2-40B4-BE49-F238E27FC236}">
                <a16:creationId xmlns:a16="http://schemas.microsoft.com/office/drawing/2014/main" id="{DC26E252-8524-4FD4-84CF-57D6F6206EBC}"/>
              </a:ext>
            </a:extLst>
          </p:cNvPr>
          <p:cNvPicPr>
            <a:picLocks noChangeAspect="1"/>
          </p:cNvPicPr>
          <p:nvPr userDrawn="1">
            <p:custDataLst>
              <p:tags r:id="rId6"/>
            </p:custDataLst>
          </p:nvPr>
        </p:nvPicPr>
        <p:blipFill>
          <a:blip r:embed="rId11"/>
          <a:stretch>
            <a:fillRect/>
          </a:stretch>
        </p:blipFill>
        <p:spPr>
          <a:xfrm>
            <a:off x="458636" y="342232"/>
            <a:ext cx="1818000" cy="339914"/>
          </a:xfrm>
          <a:prstGeom prst="rect">
            <a:avLst/>
          </a:prstGeom>
        </p:spPr>
      </p:pic>
      <p:grpSp>
        <p:nvGrpSpPr>
          <p:cNvPr id="2" name="Group 1">
            <a:extLst>
              <a:ext uri="{FF2B5EF4-FFF2-40B4-BE49-F238E27FC236}">
                <a16:creationId xmlns:a16="http://schemas.microsoft.com/office/drawing/2014/main" id="{149956E9-1CD5-828E-C278-4BC86FA79C27}"/>
              </a:ext>
            </a:extLst>
          </p:cNvPr>
          <p:cNvGrpSpPr>
            <a:grpSpLocks noChangeAspect="1"/>
          </p:cNvGrpSpPr>
          <p:nvPr userDrawn="1"/>
        </p:nvGrpSpPr>
        <p:grpSpPr>
          <a:xfrm>
            <a:off x="493613" y="457200"/>
            <a:ext cx="1998000" cy="374400"/>
            <a:chOff x="398463" y="404813"/>
            <a:chExt cx="1627187" cy="307976"/>
          </a:xfrm>
          <a:solidFill>
            <a:schemeClr val="bg1"/>
          </a:solidFill>
        </p:grpSpPr>
        <p:sp>
          <p:nvSpPr>
            <p:cNvPr id="4" name="Oval 5">
              <a:extLst>
                <a:ext uri="{FF2B5EF4-FFF2-40B4-BE49-F238E27FC236}">
                  <a16:creationId xmlns:a16="http://schemas.microsoft.com/office/drawing/2014/main" id="{2979D082-F7B3-A583-AE7F-A95AD49A7AC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5" name="Freeform 6">
              <a:extLst>
                <a:ext uri="{FF2B5EF4-FFF2-40B4-BE49-F238E27FC236}">
                  <a16:creationId xmlns:a16="http://schemas.microsoft.com/office/drawing/2014/main" id="{485659E4-9E6C-5B4C-0E58-9741AC53B38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6" name="Rectangle 7">
              <a:extLst>
                <a:ext uri="{FF2B5EF4-FFF2-40B4-BE49-F238E27FC236}">
                  <a16:creationId xmlns:a16="http://schemas.microsoft.com/office/drawing/2014/main" id="{43593E97-3214-B0F8-FE43-819DF85C33EF}"/>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7" name="Freeform 8">
              <a:extLst>
                <a:ext uri="{FF2B5EF4-FFF2-40B4-BE49-F238E27FC236}">
                  <a16:creationId xmlns:a16="http://schemas.microsoft.com/office/drawing/2014/main" id="{EF3F7252-8AEE-7297-4FEC-B1A2CE571E5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 name="Rectangle 9">
              <a:extLst>
                <a:ext uri="{FF2B5EF4-FFF2-40B4-BE49-F238E27FC236}">
                  <a16:creationId xmlns:a16="http://schemas.microsoft.com/office/drawing/2014/main" id="{E34A9288-6855-3B84-5495-E0CD6BF54FA3}"/>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 name="Rectangle 10">
              <a:extLst>
                <a:ext uri="{FF2B5EF4-FFF2-40B4-BE49-F238E27FC236}">
                  <a16:creationId xmlns:a16="http://schemas.microsoft.com/office/drawing/2014/main" id="{36911597-2041-78F6-C271-FDB6C75474BF}"/>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CE973FBE-5EA2-8BFE-8B91-37F4F870D54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 name="Freeform 12">
              <a:extLst>
                <a:ext uri="{FF2B5EF4-FFF2-40B4-BE49-F238E27FC236}">
                  <a16:creationId xmlns:a16="http://schemas.microsoft.com/office/drawing/2014/main" id="{2EA1FAD9-CDF6-4A70-703C-A40183BEFDA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2" name="Freeform 13">
              <a:extLst>
                <a:ext uri="{FF2B5EF4-FFF2-40B4-BE49-F238E27FC236}">
                  <a16:creationId xmlns:a16="http://schemas.microsoft.com/office/drawing/2014/main" id="{BD75A28E-1595-B848-D7FB-A58392EAB59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14">
              <a:extLst>
                <a:ext uri="{FF2B5EF4-FFF2-40B4-BE49-F238E27FC236}">
                  <a16:creationId xmlns:a16="http://schemas.microsoft.com/office/drawing/2014/main" id="{7C777859-2F25-6FE8-8D2A-78D97720D36C}"/>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0852037"/>
      </p:ext>
    </p:extLst>
  </p:cSld>
  <p:clrMapOvr>
    <a:masterClrMapping/>
  </p:clrMapOvr>
  <p:transition>
    <p:fade/>
  </p:transition>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223B20F-19BB-24DD-BF53-3AAD08F51D20}"/>
              </a:ext>
            </a:extLst>
          </p:cNvPr>
          <p:cNvGraphicFramePr>
            <a:graphicFrameLocks noChangeAspect="1"/>
          </p:cNvGraphicFramePr>
          <p:nvPr userDrawn="1">
            <p:custDataLst>
              <p:tags r:id="rId1"/>
            </p:custDataLst>
            <p:extLst>
              <p:ext uri="{D42A27DB-BD31-4B8C-83A1-F6EECF244321}">
                <p14:modId xmlns:p14="http://schemas.microsoft.com/office/powerpoint/2010/main" val="2811815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478" imgH="479" progId="TCLayout.ActiveDocument.1">
                  <p:embed/>
                </p:oleObj>
              </mc:Choice>
              <mc:Fallback>
                <p:oleObj name="think-cell Folie" r:id="rId8" imgW="478" imgH="479" progId="TCLayout.ActiveDocument.1">
                  <p:embed/>
                  <p:pic>
                    <p:nvPicPr>
                      <p:cNvPr id="3" name="think-cell data - do not delete" hidden="1">
                        <a:extLst>
                          <a:ext uri="{FF2B5EF4-FFF2-40B4-BE49-F238E27FC236}">
                            <a16:creationId xmlns:a16="http://schemas.microsoft.com/office/drawing/2014/main" id="{1223B20F-19BB-24DD-BF53-3AAD08F51D2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Picture Placeholder 8" hidden="1">
            <a:extLst>
              <a:ext uri="{FF2B5EF4-FFF2-40B4-BE49-F238E27FC236}">
                <a16:creationId xmlns:a16="http://schemas.microsoft.com/office/drawing/2014/main" id="{E64166F7-D454-4359-BABB-8D7E3E8B270C}"/>
              </a:ext>
            </a:extLst>
          </p:cNvPr>
          <p:cNvSpPr>
            <a:spLocks noGrp="1"/>
          </p:cNvSpPr>
          <p:nvPr>
            <p:ph type="pic" sz="quarter" idx="11"/>
            <p:custDataLst>
              <p:tags r:id="rId2"/>
            </p:custDataLst>
          </p:nvPr>
        </p:nvSpPr>
        <p:spPr>
          <a:xfrm>
            <a:off x="0" y="0"/>
            <a:ext cx="12192000" cy="6858000"/>
          </a:xfrm>
          <a:prstGeom prst="rect">
            <a:avLst/>
          </a:prstGeom>
        </p:spPr>
        <p:txBody>
          <a:bodyPr/>
          <a:lstStyle>
            <a:lvl1pPr rtl="0">
              <a:defRPr>
                <a:solidFill>
                  <a:schemeClr val="tx1"/>
                </a:solidFill>
              </a:defRPr>
            </a:lvl1pPr>
          </a:lstStyle>
          <a:p>
            <a:r>
              <a:rPr lang="de-DE" noProof="0"/>
              <a:t>Click icon to add picture</a:t>
            </a:r>
          </a:p>
        </p:txBody>
      </p:sp>
      <p:sp>
        <p:nvSpPr>
          <p:cNvPr id="44" name="Text Placeholder" hidden="1">
            <a:extLst>
              <a:ext uri="{FF2B5EF4-FFF2-40B4-BE49-F238E27FC236}">
                <a16:creationId xmlns:a16="http://schemas.microsoft.com/office/drawing/2014/main" id="{E65ED79E-D6FD-4D90-9073-C8776CB6AD10}"/>
              </a:ext>
            </a:extLst>
          </p:cNvPr>
          <p:cNvSpPr>
            <a:spLocks noGrp="1"/>
          </p:cNvSpPr>
          <p:nvPr>
            <p:ph type="body" sz="quarter" idx="10" hasCustomPrompt="1"/>
            <p:custDataLst>
              <p:tags r:id="rId3"/>
            </p:custDataLst>
          </p:nvPr>
        </p:nvSpPr>
        <p:spPr>
          <a:xfrm>
            <a:off x="457201" y="6365848"/>
            <a:ext cx="4490721" cy="273050"/>
          </a:xfrm>
          <a:prstGeom prst="rect">
            <a:avLst/>
          </a:prstGeom>
        </p:spPr>
        <p:txBody>
          <a:bodyPr anchor="t">
            <a:noAutofit/>
          </a:bodyPr>
          <a:lstStyle>
            <a:lvl1pPr rtl="0">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a:t>Edit Master text styles</a:t>
            </a:r>
          </a:p>
        </p:txBody>
      </p:sp>
      <p:sp>
        <p:nvSpPr>
          <p:cNvPr id="16" name="MIO_AGENDA_IGNORE_NAVIGATION" hidden="1">
            <a:extLst>
              <a:ext uri="{FF2B5EF4-FFF2-40B4-BE49-F238E27FC236}">
                <a16:creationId xmlns:a16="http://schemas.microsoft.com/office/drawing/2014/main" id="{9970BE9A-08D6-4159-A7B6-88479C7815D6}"/>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27" name="MIO_AGENDA_IGNORE_CHAPTER_REFERENCE" hidden="1">
            <a:extLst>
              <a:ext uri="{FF2B5EF4-FFF2-40B4-BE49-F238E27FC236}">
                <a16:creationId xmlns:a16="http://schemas.microsoft.com/office/drawing/2014/main" id="{470398AC-9E3C-4202-BC74-310D36FEDC82}"/>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pic>
        <p:nvPicPr>
          <p:cNvPr id="28" name="Picture 27" hidden="1">
            <a:extLst>
              <a:ext uri="{FF2B5EF4-FFF2-40B4-BE49-F238E27FC236}">
                <a16:creationId xmlns:a16="http://schemas.microsoft.com/office/drawing/2014/main" id="{91CFDFEF-967E-43B5-BC07-2E7BB4B58757}"/>
              </a:ext>
            </a:extLst>
          </p:cNvPr>
          <p:cNvPicPr>
            <a:picLocks noChangeAspect="1"/>
          </p:cNvPicPr>
          <p:nvPr>
            <p:custDataLst>
              <p:tags r:id="rId4"/>
            </p:custDataLst>
          </p:nvPr>
        </p:nvPicPr>
        <p:blipFill>
          <a:blip r:embed="rId10" cstate="email">
            <a:extLst>
              <a:ext uri="{28A0092B-C50C-407E-A947-70E740481C1C}">
                <a14:useLocalDpi xmlns:a14="http://schemas.microsoft.com/office/drawing/2010/main" val="0"/>
              </a:ext>
            </a:extLst>
          </a:blip>
          <a:srcRect/>
          <a:stretch/>
        </p:blipFill>
        <p:spPr>
          <a:xfrm>
            <a:off x="10694852" y="5659120"/>
            <a:ext cx="1198880" cy="1198880"/>
          </a:xfrm>
          <a:prstGeom prst="rect">
            <a:avLst/>
          </a:prstGeom>
        </p:spPr>
      </p:pic>
      <p:sp>
        <p:nvSpPr>
          <p:cNvPr id="41" name="Title" hidden="1">
            <a:extLst>
              <a:ext uri="{FF2B5EF4-FFF2-40B4-BE49-F238E27FC236}">
                <a16:creationId xmlns:a16="http://schemas.microsoft.com/office/drawing/2014/main" id="{70F15D73-40F4-4F95-9E2A-7A67F615DB4A}"/>
              </a:ext>
            </a:extLst>
          </p:cNvPr>
          <p:cNvSpPr>
            <a:spLocks noGrp="1"/>
          </p:cNvSpPr>
          <p:nvPr>
            <p:ph type="ctrTitle"/>
            <p:custDataLst>
              <p:tags r:id="rId5"/>
            </p:custDataLst>
          </p:nvPr>
        </p:nvSpPr>
        <p:spPr bwMode="gray">
          <a:xfrm>
            <a:off x="457201" y="5186209"/>
            <a:ext cx="4490721" cy="895983"/>
          </a:xfrm>
          <a:prstGeom prst="rect">
            <a:avLst/>
          </a:prstGeom>
        </p:spPr>
        <p:txBody>
          <a:bodyPr vert="horz" anchor="b" anchorCtr="0">
            <a:noAutofit/>
          </a:bodyPr>
          <a:lstStyle>
            <a:lvl1pPr algn="l" rtl="0">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de-DE" noProof="0"/>
              <a:t>Click to edit Master title style</a:t>
            </a:r>
          </a:p>
        </p:txBody>
      </p:sp>
      <p:pic>
        <p:nvPicPr>
          <p:cNvPr id="30" name="Grafik 29" hidden="1">
            <a:extLst>
              <a:ext uri="{FF2B5EF4-FFF2-40B4-BE49-F238E27FC236}">
                <a16:creationId xmlns:a16="http://schemas.microsoft.com/office/drawing/2014/main" id="{C3057856-4F58-419D-8F40-60AF631D1F39}"/>
              </a:ext>
            </a:extLst>
          </p:cNvPr>
          <p:cNvPicPr>
            <a:picLocks noChangeAspect="1"/>
          </p:cNvPicPr>
          <p:nvPr userDrawn="1">
            <p:custDataLst>
              <p:tags r:id="rId6"/>
            </p:custDataLst>
          </p:nvPr>
        </p:nvPicPr>
        <p:blipFill>
          <a:blip r:embed="rId11"/>
          <a:stretch>
            <a:fillRect/>
          </a:stretch>
        </p:blipFill>
        <p:spPr>
          <a:xfrm>
            <a:off x="458636" y="342232"/>
            <a:ext cx="1818000" cy="339914"/>
          </a:xfrm>
          <a:prstGeom prst="rect">
            <a:avLst/>
          </a:prstGeom>
        </p:spPr>
      </p:pic>
    </p:spTree>
    <p:extLst>
      <p:ext uri="{BB962C8B-B14F-4D97-AF65-F5344CB8AC3E}">
        <p14:creationId xmlns:p14="http://schemas.microsoft.com/office/powerpoint/2010/main" val="1567558093"/>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CD53729-2B0C-CA90-94F7-0434CE32ABEA}"/>
              </a:ext>
            </a:extLst>
          </p:cNvPr>
          <p:cNvGraphicFramePr>
            <a:graphicFrameLocks noChangeAspect="1"/>
          </p:cNvGraphicFramePr>
          <p:nvPr userDrawn="1">
            <p:custDataLst>
              <p:tags r:id="rId1"/>
            </p:custDataLst>
            <p:extLst>
              <p:ext uri="{D42A27DB-BD31-4B8C-83A1-F6EECF244321}">
                <p14:modId xmlns:p14="http://schemas.microsoft.com/office/powerpoint/2010/main" val="323909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8" imgH="479" progId="TCLayout.ActiveDocument.1">
                  <p:embed/>
                </p:oleObj>
              </mc:Choice>
              <mc:Fallback>
                <p:oleObj name="think-cell Folie" r:id="rId5" imgW="478" imgH="479" progId="TCLayout.ActiveDocument.1">
                  <p:embed/>
                  <p:pic>
                    <p:nvPicPr>
                      <p:cNvPr id="7" name="think-cell data - do not delete" hidden="1">
                        <a:extLst>
                          <a:ext uri="{FF2B5EF4-FFF2-40B4-BE49-F238E27FC236}">
                            <a16:creationId xmlns:a16="http://schemas.microsoft.com/office/drawing/2014/main" id="{3CD53729-2B0C-CA90-94F7-0434CE32AB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hidden="1"/>
          <p:cNvSpPr>
            <a:spLocks noGrp="1"/>
          </p:cNvSpPr>
          <p:nvPr>
            <p:ph type="title"/>
            <p:custDataLst>
              <p:tags r:id="rId2"/>
            </p:custDataLst>
          </p:nvPr>
        </p:nvSpPr>
        <p:spPr bwMode="gray">
          <a:xfrm>
            <a:off x="463296" y="1724001"/>
            <a:ext cx="11271504" cy="1592403"/>
          </a:xfrm>
          <a:prstGeom prst="rect">
            <a:avLst/>
          </a:prstGeom>
        </p:spPr>
        <p:txBody>
          <a:bodyPr vert="horz" anchor="b"/>
          <a:lstStyle>
            <a:lvl1pPr rtl="0">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de-DE" noProof="0"/>
              <a:t>Click to edit Master title style</a:t>
            </a:r>
          </a:p>
        </p:txBody>
      </p:sp>
      <p:sp>
        <p:nvSpPr>
          <p:cNvPr id="3" name="Text Placeholder" hidden="1"/>
          <p:cNvSpPr>
            <a:spLocks noGrp="1"/>
          </p:cNvSpPr>
          <p:nvPr>
            <p:ph type="body" idx="1" hasCustomPrompt="1"/>
            <p:custDataLst>
              <p:tags r:id="rId3"/>
            </p:custDataLst>
          </p:nvPr>
        </p:nvSpPr>
        <p:spPr bwMode="gray">
          <a:xfrm>
            <a:off x="463296" y="3471532"/>
            <a:ext cx="11271504" cy="1566532"/>
          </a:xfrm>
        </p:spPr>
        <p:txBody>
          <a:bodyPr lIns="0" tIns="0" rIns="0" bIns="0">
            <a:noAutofit/>
          </a:bodyPr>
          <a:lstStyle>
            <a:lvl1pPr marL="0" indent="0" rtl="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noProof="0"/>
              <a:t>Edit Master text styles</a:t>
            </a:r>
          </a:p>
        </p:txBody>
      </p:sp>
      <p:sp>
        <p:nvSpPr>
          <p:cNvPr id="4" name="MIO_AGENDA_IGNORE_NAVIGATION" hidden="1">
            <a:extLst>
              <a:ext uri="{FF2B5EF4-FFF2-40B4-BE49-F238E27FC236}">
                <a16:creationId xmlns:a16="http://schemas.microsoft.com/office/drawing/2014/main" id="{A2163211-8843-4B3A-A173-4CC8DE6FF39B}"/>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5" name="MIO_AGENDA_IGNORE_CHAPTER_REFERENCE" hidden="1">
            <a:extLst>
              <a:ext uri="{FF2B5EF4-FFF2-40B4-BE49-F238E27FC236}">
                <a16:creationId xmlns:a16="http://schemas.microsoft.com/office/drawing/2014/main" id="{8F02921B-CECB-4A04-AB2B-50AE546A3B6D}"/>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Tree>
    <p:extLst>
      <p:ext uri="{BB962C8B-B14F-4D97-AF65-F5344CB8AC3E}">
        <p14:creationId xmlns:p14="http://schemas.microsoft.com/office/powerpoint/2010/main" val="2097328572"/>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6D38342-9B34-5EFC-AFC9-2E6EF3FFCD70}"/>
              </a:ext>
            </a:extLst>
          </p:cNvPr>
          <p:cNvGraphicFramePr>
            <a:graphicFrameLocks noChangeAspect="1"/>
          </p:cNvGraphicFramePr>
          <p:nvPr userDrawn="1">
            <p:custDataLst>
              <p:tags r:id="rId1"/>
            </p:custDataLst>
            <p:extLst>
              <p:ext uri="{D42A27DB-BD31-4B8C-83A1-F6EECF244321}">
                <p14:modId xmlns:p14="http://schemas.microsoft.com/office/powerpoint/2010/main" val="1837099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3" name="think-cell data - do not delete" hidden="1">
                        <a:extLst>
                          <a:ext uri="{FF2B5EF4-FFF2-40B4-BE49-F238E27FC236}">
                            <a16:creationId xmlns:a16="http://schemas.microsoft.com/office/drawing/2014/main" id="{26D38342-9B34-5EFC-AFC9-2E6EF3FFCD7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Title" hidden="1"/>
          <p:cNvSpPr>
            <a:spLocks noGrp="1"/>
          </p:cNvSpPr>
          <p:nvPr>
            <p:ph type="title"/>
            <p:custDataLst>
              <p:tags r:id="rId2"/>
            </p:custDataLst>
          </p:nvPr>
        </p:nvSpPr>
        <p:spPr bwMode="gray">
          <a:xfrm>
            <a:off x="469901" y="1726936"/>
            <a:ext cx="11264900" cy="1592403"/>
          </a:xfrm>
          <a:prstGeom prst="rect">
            <a:avLst/>
          </a:prstGeom>
        </p:spPr>
        <p:txBody>
          <a:bodyPr vert="horz" anchor="b"/>
          <a:lstStyle>
            <a:lvl1pPr rtl="0">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de-DE" noProof="0"/>
              <a:t>Click to edit Master title style</a:t>
            </a:r>
          </a:p>
        </p:txBody>
      </p:sp>
      <p:sp>
        <p:nvSpPr>
          <p:cNvPr id="19" name="Text Placeholder" hidden="1"/>
          <p:cNvSpPr>
            <a:spLocks noGrp="1"/>
          </p:cNvSpPr>
          <p:nvPr>
            <p:ph type="body" idx="1" hasCustomPrompt="1"/>
            <p:custDataLst>
              <p:tags r:id="rId3"/>
            </p:custDataLst>
          </p:nvPr>
        </p:nvSpPr>
        <p:spPr bwMode="gray">
          <a:xfrm>
            <a:off x="469901" y="3474720"/>
            <a:ext cx="11264900" cy="1566532"/>
          </a:xfrm>
        </p:spPr>
        <p:txBody>
          <a:bodyPr lIns="0" tIns="0" rIns="0" bIns="0">
            <a:noAutofit/>
          </a:bodyPr>
          <a:lstStyle>
            <a:lvl1pPr marL="0" indent="0" rtl="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de-DE" noProof="0"/>
              <a:t>Edit Master text styles</a:t>
            </a:r>
          </a:p>
        </p:txBody>
      </p:sp>
      <p:sp>
        <p:nvSpPr>
          <p:cNvPr id="7" name="MIO_AGENDA_IGNORE_NAVIGATION" hidden="1">
            <a:extLst>
              <a:ext uri="{FF2B5EF4-FFF2-40B4-BE49-F238E27FC236}">
                <a16:creationId xmlns:a16="http://schemas.microsoft.com/office/drawing/2014/main" id="{B33AFD28-F06F-4496-B660-E40557BF44B7}"/>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9" name="MIO_AGENDA_IGNORE_CHAPTER_REFERENCE" hidden="1">
            <a:extLst>
              <a:ext uri="{FF2B5EF4-FFF2-40B4-BE49-F238E27FC236}">
                <a16:creationId xmlns:a16="http://schemas.microsoft.com/office/drawing/2014/main" id="{9233F6B7-3A6D-4D1B-A7FB-196EDC508EEF}"/>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10" name="CaseCode" hidden="1">
            <a:extLst>
              <a:ext uri="{FF2B5EF4-FFF2-40B4-BE49-F238E27FC236}">
                <a16:creationId xmlns:a16="http://schemas.microsoft.com/office/drawing/2014/main" id="{882A5C28-0BF5-4D8F-94C9-8EE9CE72457D}"/>
              </a:ext>
            </a:extLst>
          </p:cNvPr>
          <p:cNvSpPr txBox="1"/>
          <p:nvPr>
            <p:custDataLst>
              <p:tags r:id="rId4"/>
            </p:custDataLst>
          </p:nvPr>
        </p:nvSpPr>
        <p:spPr>
          <a:xfrm>
            <a:off x="6335184" y="6519673"/>
            <a:ext cx="4896560" cy="276999"/>
          </a:xfrm>
          <a:prstGeom prst="rect">
            <a:avLst/>
          </a:prstGeom>
          <a:noFill/>
        </p:spPr>
        <p:txBody>
          <a:bodyPr wrap="square" lIns="0" tIns="0" rIns="0" bIns="0" rtlCol="0">
            <a:spAutoFit/>
          </a:bodyPr>
          <a:lstStyle/>
          <a:p>
            <a:pPr marL="0" indent="0" algn="r" rtl="0">
              <a:spcBef>
                <a:spcPts val="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Presentation title</a:t>
            </a:r>
            <a:br>
              <a:rPr lang="de-DE" sz="900" baseline="0" noProof="0">
                <a:solidFill>
                  <a:schemeClr val="bg1"/>
                </a:solidFill>
                <a:latin typeface="Calibri" panose="020F0502020204030204" pitchFamily="34" charset="0"/>
                <a:cs typeface="Calibri" panose="020F0502020204030204" pitchFamily="34" charset="0"/>
              </a:rPr>
            </a:br>
            <a:r>
              <a:rPr lang="de-DE"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opyright" hidden="1">
            <a:extLst>
              <a:ext uri="{FF2B5EF4-FFF2-40B4-BE49-F238E27FC236}">
                <a16:creationId xmlns:a16="http://schemas.microsoft.com/office/drawing/2014/main" id="{8F3C3DFA-9FB3-46AB-BDF5-39E1DC272933}"/>
              </a:ext>
            </a:extLst>
          </p:cNvPr>
          <p:cNvSpPr txBox="1"/>
          <p:nvPr>
            <p:custDataLst>
              <p:tags r:id="rId5"/>
            </p:custDataLst>
          </p:nvPr>
        </p:nvSpPr>
        <p:spPr>
          <a:xfrm>
            <a:off x="457200" y="6515063"/>
            <a:ext cx="5355168" cy="138499"/>
          </a:xfrm>
          <a:prstGeom prst="rect">
            <a:avLst/>
          </a:prstGeom>
          <a:noFill/>
        </p:spPr>
        <p:txBody>
          <a:bodyPr wrap="square" lIns="0" tIns="0" rIns="0" bIns="0" rtlCol="0">
            <a:spAutoFit/>
          </a:bodyPr>
          <a:lstStyle/>
          <a:p>
            <a:pPr marL="0" indent="0" rtl="0">
              <a:spcBef>
                <a:spcPts val="45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Deloitte 2025</a:t>
            </a:r>
          </a:p>
        </p:txBody>
      </p:sp>
      <p:sp>
        <p:nvSpPr>
          <p:cNvPr id="12" name="TextBox 11">
            <a:extLst>
              <a:ext uri="{FF2B5EF4-FFF2-40B4-BE49-F238E27FC236}">
                <a16:creationId xmlns:a16="http://schemas.microsoft.com/office/drawing/2014/main" id="{DF6FC1D4-487D-4C1C-A92F-A0C6E30EA16B}"/>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de-DE" sz="900" baseline="0" noProof="0" smtClean="0">
                <a:solidFill>
                  <a:schemeClr val="bg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de-DE"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97244412"/>
      </p:ext>
    </p:extLst>
  </p:cSld>
  <p:clrMapOvr>
    <a:masterClrMapping/>
  </p:clrMapOvr>
  <p:transition>
    <p:fade/>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8ABDD82-0726-50A5-1381-113029A076F9}"/>
              </a:ext>
            </a:extLst>
          </p:cNvPr>
          <p:cNvGraphicFramePr>
            <a:graphicFrameLocks noChangeAspect="1"/>
          </p:cNvGraphicFramePr>
          <p:nvPr userDrawn="1">
            <p:custDataLst>
              <p:tags r:id="rId1"/>
            </p:custDataLst>
            <p:extLst>
              <p:ext uri="{D42A27DB-BD31-4B8C-83A1-F6EECF244321}">
                <p14:modId xmlns:p14="http://schemas.microsoft.com/office/powerpoint/2010/main" val="1473575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3" name="think-cell data - do not delete" hidden="1">
                        <a:extLst>
                          <a:ext uri="{FF2B5EF4-FFF2-40B4-BE49-F238E27FC236}">
                            <a16:creationId xmlns:a16="http://schemas.microsoft.com/office/drawing/2014/main" id="{E8ABDD82-0726-50A5-1381-113029A076F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Title" hidden="1"/>
          <p:cNvSpPr>
            <a:spLocks noGrp="1"/>
          </p:cNvSpPr>
          <p:nvPr>
            <p:ph type="title"/>
            <p:custDataLst>
              <p:tags r:id="rId2"/>
            </p:custDataLst>
          </p:nvPr>
        </p:nvSpPr>
        <p:spPr bwMode="gray">
          <a:xfrm>
            <a:off x="469901" y="1728217"/>
            <a:ext cx="11264900" cy="1592403"/>
          </a:xfrm>
          <a:prstGeom prst="rect">
            <a:avLst/>
          </a:prstGeom>
        </p:spPr>
        <p:txBody>
          <a:bodyPr vert="horz" anchor="b"/>
          <a:lstStyle>
            <a:lvl1pPr rtl="0">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de-DE" noProof="0"/>
              <a:t>Click to edit Master title style</a:t>
            </a:r>
          </a:p>
        </p:txBody>
      </p:sp>
      <p:sp>
        <p:nvSpPr>
          <p:cNvPr id="19" name="Text Placeholder" hidden="1"/>
          <p:cNvSpPr>
            <a:spLocks noGrp="1"/>
          </p:cNvSpPr>
          <p:nvPr>
            <p:ph type="body" idx="1" hasCustomPrompt="1"/>
            <p:custDataLst>
              <p:tags r:id="rId3"/>
            </p:custDataLst>
          </p:nvPr>
        </p:nvSpPr>
        <p:spPr bwMode="gray">
          <a:xfrm>
            <a:off x="469901" y="3474720"/>
            <a:ext cx="11264900" cy="1566532"/>
          </a:xfrm>
        </p:spPr>
        <p:txBody>
          <a:bodyPr lIns="0" tIns="0" rIns="0" bIns="0">
            <a:noAutofit/>
          </a:bodyPr>
          <a:lstStyle>
            <a:lvl1pPr marL="0" indent="0" rtl="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de-DE" noProof="0"/>
              <a:t>Edit Master text styles</a:t>
            </a:r>
          </a:p>
        </p:txBody>
      </p:sp>
      <p:sp>
        <p:nvSpPr>
          <p:cNvPr id="7" name="MIO_AGENDA_IGNORE_NAVIGATION" hidden="1">
            <a:extLst>
              <a:ext uri="{FF2B5EF4-FFF2-40B4-BE49-F238E27FC236}">
                <a16:creationId xmlns:a16="http://schemas.microsoft.com/office/drawing/2014/main" id="{8361DA31-7C99-49AA-A40D-CC798429750C}"/>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8" name="MIO_AGENDA_IGNORE_CHAPTER_REFERENCE" hidden="1">
            <a:extLst>
              <a:ext uri="{FF2B5EF4-FFF2-40B4-BE49-F238E27FC236}">
                <a16:creationId xmlns:a16="http://schemas.microsoft.com/office/drawing/2014/main" id="{D1BC51F7-D24C-4262-85CD-7EFD0E8E4885}"/>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9" name="CaseCode" hidden="1">
            <a:extLst>
              <a:ext uri="{FF2B5EF4-FFF2-40B4-BE49-F238E27FC236}">
                <a16:creationId xmlns:a16="http://schemas.microsoft.com/office/drawing/2014/main" id="{7D770CEC-7A1C-4675-B9F6-4684B6BC5EEF}"/>
              </a:ext>
            </a:extLst>
          </p:cNvPr>
          <p:cNvSpPr txBox="1"/>
          <p:nvPr>
            <p:custDataLst>
              <p:tags r:id="rId4"/>
            </p:custDataLst>
          </p:nvPr>
        </p:nvSpPr>
        <p:spPr>
          <a:xfrm>
            <a:off x="6335184" y="6519673"/>
            <a:ext cx="4896560" cy="276999"/>
          </a:xfrm>
          <a:prstGeom prst="rect">
            <a:avLst/>
          </a:prstGeom>
          <a:noFill/>
        </p:spPr>
        <p:txBody>
          <a:bodyPr wrap="square" lIns="0" tIns="0" rIns="0" bIns="0" rtlCol="0">
            <a:spAutoFit/>
          </a:bodyPr>
          <a:lstStyle/>
          <a:p>
            <a:pPr marL="0" indent="0" algn="r" rtl="0">
              <a:spcBef>
                <a:spcPts val="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Presentation title</a:t>
            </a:r>
            <a:br>
              <a:rPr lang="de-DE" sz="900" baseline="0" noProof="0">
                <a:solidFill>
                  <a:schemeClr val="bg1"/>
                </a:solidFill>
                <a:latin typeface="Calibri" panose="020F0502020204030204" pitchFamily="34" charset="0"/>
                <a:cs typeface="Calibri" panose="020F0502020204030204" pitchFamily="34" charset="0"/>
              </a:rPr>
            </a:br>
            <a:r>
              <a:rPr lang="de-DE"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opyright" hidden="1">
            <a:extLst>
              <a:ext uri="{FF2B5EF4-FFF2-40B4-BE49-F238E27FC236}">
                <a16:creationId xmlns:a16="http://schemas.microsoft.com/office/drawing/2014/main" id="{32612B95-CBCE-43BD-ACD5-F7E8E28AD6C4}"/>
              </a:ext>
            </a:extLst>
          </p:cNvPr>
          <p:cNvSpPr txBox="1"/>
          <p:nvPr>
            <p:custDataLst>
              <p:tags r:id="rId5"/>
            </p:custDataLst>
          </p:nvPr>
        </p:nvSpPr>
        <p:spPr>
          <a:xfrm>
            <a:off x="457200" y="6515063"/>
            <a:ext cx="5355168" cy="138499"/>
          </a:xfrm>
          <a:prstGeom prst="rect">
            <a:avLst/>
          </a:prstGeom>
          <a:noFill/>
        </p:spPr>
        <p:txBody>
          <a:bodyPr wrap="square" lIns="0" tIns="0" rIns="0" bIns="0" rtlCol="0">
            <a:spAutoFit/>
          </a:bodyPr>
          <a:lstStyle/>
          <a:p>
            <a:pPr marL="0" indent="0" rtl="0">
              <a:spcBef>
                <a:spcPts val="45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Deloitte 2025</a:t>
            </a:r>
          </a:p>
        </p:txBody>
      </p:sp>
      <p:sp>
        <p:nvSpPr>
          <p:cNvPr id="11" name="TextBox 10">
            <a:extLst>
              <a:ext uri="{FF2B5EF4-FFF2-40B4-BE49-F238E27FC236}">
                <a16:creationId xmlns:a16="http://schemas.microsoft.com/office/drawing/2014/main" id="{20997DD9-C2E6-4412-906F-CEA396FE065F}"/>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de-DE" sz="900" baseline="0" noProof="0" smtClean="0">
                <a:solidFill>
                  <a:schemeClr val="bg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de-DE"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878338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1">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6A2476-6DFC-884D-C891-AECB033F26A8}"/>
              </a:ext>
            </a:extLst>
          </p:cNvPr>
          <p:cNvGraphicFramePr>
            <a:graphicFrameLocks noChangeAspect="1"/>
          </p:cNvGraphicFramePr>
          <p:nvPr userDrawn="1">
            <p:custDataLst>
              <p:tags r:id="rId1"/>
            </p:custDataLst>
            <p:extLst>
              <p:ext uri="{D42A27DB-BD31-4B8C-83A1-F6EECF244321}">
                <p14:modId xmlns:p14="http://schemas.microsoft.com/office/powerpoint/2010/main" val="3396481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5" name="think-cell data - do not delete" hidden="1">
                        <a:extLst>
                          <a:ext uri="{FF2B5EF4-FFF2-40B4-BE49-F238E27FC236}">
                            <a16:creationId xmlns:a16="http://schemas.microsoft.com/office/drawing/2014/main" id="{B66A2476-6DFC-884D-C891-AECB033F26A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hidden="1"/>
          <p:cNvSpPr>
            <a:spLocks noGrp="1"/>
          </p:cNvSpPr>
          <p:nvPr>
            <p:ph type="title"/>
            <p:custDataLst>
              <p:tags r:id="rId2"/>
            </p:custDataLst>
          </p:nvPr>
        </p:nvSpPr>
        <p:spPr bwMode="gray">
          <a:xfrm>
            <a:off x="463296" y="1728217"/>
            <a:ext cx="11271504" cy="1592403"/>
          </a:xfrm>
          <a:prstGeom prst="rect">
            <a:avLst/>
          </a:prstGeom>
        </p:spPr>
        <p:txBody>
          <a:bodyPr vert="horz" anchor="b"/>
          <a:lstStyle>
            <a:lvl1pPr rtl="0">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de-DE" noProof="0"/>
              <a:t>Click to edit Master title style</a:t>
            </a:r>
          </a:p>
        </p:txBody>
      </p:sp>
      <p:sp>
        <p:nvSpPr>
          <p:cNvPr id="3" name="Text Placeholder" hidden="1"/>
          <p:cNvSpPr>
            <a:spLocks noGrp="1"/>
          </p:cNvSpPr>
          <p:nvPr>
            <p:ph type="body" idx="1" hasCustomPrompt="1"/>
            <p:custDataLst>
              <p:tags r:id="rId3"/>
            </p:custDataLst>
          </p:nvPr>
        </p:nvSpPr>
        <p:spPr bwMode="gray">
          <a:xfrm>
            <a:off x="463296" y="3474720"/>
            <a:ext cx="11271504" cy="1566532"/>
          </a:xfrm>
        </p:spPr>
        <p:txBody>
          <a:bodyPr lIns="0" tIns="0" rIns="0" bIns="0">
            <a:noAutofit/>
          </a:bodyPr>
          <a:lstStyle>
            <a:lvl1pPr marL="0" indent="0" rtl="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de-DE" noProof="0"/>
              <a:t>Edit Master text styles</a:t>
            </a:r>
          </a:p>
        </p:txBody>
      </p:sp>
      <p:sp>
        <p:nvSpPr>
          <p:cNvPr id="7" name="MIO_AGENDA_IGNORE_NAVIGATION" hidden="1">
            <a:extLst>
              <a:ext uri="{FF2B5EF4-FFF2-40B4-BE49-F238E27FC236}">
                <a16:creationId xmlns:a16="http://schemas.microsoft.com/office/drawing/2014/main" id="{0837ED46-4108-4499-BE40-E17599CFD675}"/>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8" name="MIO_AGENDA_IGNORE_CHAPTER_REFERENCE" hidden="1">
            <a:extLst>
              <a:ext uri="{FF2B5EF4-FFF2-40B4-BE49-F238E27FC236}">
                <a16:creationId xmlns:a16="http://schemas.microsoft.com/office/drawing/2014/main" id="{BD69D7E4-8FB7-4417-A428-3FC842962DF0}"/>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9" name="CaseCode" hidden="1">
            <a:extLst>
              <a:ext uri="{FF2B5EF4-FFF2-40B4-BE49-F238E27FC236}">
                <a16:creationId xmlns:a16="http://schemas.microsoft.com/office/drawing/2014/main" id="{EE7151CE-534A-4DA8-B077-606246FFE4AA}"/>
              </a:ext>
            </a:extLst>
          </p:cNvPr>
          <p:cNvSpPr txBox="1"/>
          <p:nvPr>
            <p:custDataLst>
              <p:tags r:id="rId4"/>
            </p:custDataLst>
          </p:nvPr>
        </p:nvSpPr>
        <p:spPr>
          <a:xfrm>
            <a:off x="6335184" y="6519673"/>
            <a:ext cx="4896560" cy="276999"/>
          </a:xfrm>
          <a:prstGeom prst="rect">
            <a:avLst/>
          </a:prstGeom>
          <a:noFill/>
        </p:spPr>
        <p:txBody>
          <a:bodyPr wrap="square" lIns="0" tIns="0" rIns="0" bIns="0" rtlCol="0">
            <a:spAutoFit/>
          </a:bodyPr>
          <a:lstStyle/>
          <a:p>
            <a:pPr marL="0" indent="0" algn="r" rtl="0">
              <a:spcBef>
                <a:spcPts val="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Presentation title</a:t>
            </a:r>
            <a:br>
              <a:rPr lang="de-DE" sz="900" baseline="0" noProof="0">
                <a:solidFill>
                  <a:schemeClr val="bg1"/>
                </a:solidFill>
                <a:latin typeface="Calibri" panose="020F0502020204030204" pitchFamily="34" charset="0"/>
                <a:cs typeface="Calibri" panose="020F0502020204030204" pitchFamily="34" charset="0"/>
              </a:rPr>
            </a:br>
            <a:r>
              <a:rPr lang="de-DE"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opyright" hidden="1">
            <a:extLst>
              <a:ext uri="{FF2B5EF4-FFF2-40B4-BE49-F238E27FC236}">
                <a16:creationId xmlns:a16="http://schemas.microsoft.com/office/drawing/2014/main" id="{9F6D2D6D-4A12-45B7-A359-4B35E6BD19C6}"/>
              </a:ext>
            </a:extLst>
          </p:cNvPr>
          <p:cNvSpPr txBox="1"/>
          <p:nvPr>
            <p:custDataLst>
              <p:tags r:id="rId5"/>
            </p:custDataLst>
          </p:nvPr>
        </p:nvSpPr>
        <p:spPr>
          <a:xfrm>
            <a:off x="457200" y="6515063"/>
            <a:ext cx="5355168" cy="138499"/>
          </a:xfrm>
          <a:prstGeom prst="rect">
            <a:avLst/>
          </a:prstGeom>
          <a:noFill/>
        </p:spPr>
        <p:txBody>
          <a:bodyPr wrap="square" lIns="0" tIns="0" rIns="0" bIns="0" rtlCol="0">
            <a:spAutoFit/>
          </a:bodyPr>
          <a:lstStyle/>
          <a:p>
            <a:pPr marL="0" indent="0" rtl="0">
              <a:spcBef>
                <a:spcPts val="45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Deloitte 2023</a:t>
            </a:r>
          </a:p>
        </p:txBody>
      </p:sp>
      <p:sp>
        <p:nvSpPr>
          <p:cNvPr id="14" name="TextBox 13">
            <a:extLst>
              <a:ext uri="{FF2B5EF4-FFF2-40B4-BE49-F238E27FC236}">
                <a16:creationId xmlns:a16="http://schemas.microsoft.com/office/drawing/2014/main" id="{9F5B17B4-6589-41B3-A983-093BB26C9BCC}"/>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de-DE" sz="900" baseline="0" noProof="0" smtClean="0">
                <a:solidFill>
                  <a:schemeClr val="bg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de-DE"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61096746"/>
      </p:ext>
    </p:extLst>
  </p:cSld>
  <p:clrMapOvr>
    <a:masterClrMapping/>
  </p:clrMapOvr>
  <p:transition>
    <p:fade/>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2">
    <p:bg bwMode="gray">
      <p:bgPr>
        <a:solidFill>
          <a:schemeClr val="accent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D65E8E-6B49-F6B9-C6F9-6708176B7363}"/>
              </a:ext>
            </a:extLst>
          </p:cNvPr>
          <p:cNvGraphicFramePr>
            <a:graphicFrameLocks noChangeAspect="1"/>
          </p:cNvGraphicFramePr>
          <p:nvPr userDrawn="1">
            <p:custDataLst>
              <p:tags r:id="rId1"/>
            </p:custDataLst>
            <p:extLst>
              <p:ext uri="{D42A27DB-BD31-4B8C-83A1-F6EECF244321}">
                <p14:modId xmlns:p14="http://schemas.microsoft.com/office/powerpoint/2010/main" val="1209626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3" name="think-cell data - do not delete" hidden="1">
                        <a:extLst>
                          <a:ext uri="{FF2B5EF4-FFF2-40B4-BE49-F238E27FC236}">
                            <a16:creationId xmlns:a16="http://schemas.microsoft.com/office/drawing/2014/main" id="{F6D65E8E-6B49-F6B9-C6F9-6708176B736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Title" hidden="1"/>
          <p:cNvSpPr>
            <a:spLocks noGrp="1"/>
          </p:cNvSpPr>
          <p:nvPr>
            <p:ph type="title"/>
            <p:custDataLst>
              <p:tags r:id="rId2"/>
            </p:custDataLst>
          </p:nvPr>
        </p:nvSpPr>
        <p:spPr bwMode="gray">
          <a:xfrm>
            <a:off x="463296" y="1728217"/>
            <a:ext cx="11227056" cy="1592403"/>
          </a:xfrm>
          <a:prstGeom prst="rect">
            <a:avLst/>
          </a:prstGeom>
        </p:spPr>
        <p:txBody>
          <a:bodyPr vert="horz" anchor="b"/>
          <a:lstStyle>
            <a:lvl1pPr rtl="0">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de-DE" noProof="0"/>
              <a:t>Click to edit Master title style</a:t>
            </a:r>
          </a:p>
        </p:txBody>
      </p:sp>
      <p:sp>
        <p:nvSpPr>
          <p:cNvPr id="19" name="Text Placeholder" hidden="1"/>
          <p:cNvSpPr>
            <a:spLocks noGrp="1"/>
          </p:cNvSpPr>
          <p:nvPr>
            <p:ph type="body" idx="1" hasCustomPrompt="1"/>
            <p:custDataLst>
              <p:tags r:id="rId3"/>
            </p:custDataLst>
          </p:nvPr>
        </p:nvSpPr>
        <p:spPr bwMode="gray">
          <a:xfrm>
            <a:off x="463296" y="3474720"/>
            <a:ext cx="11227056" cy="1566532"/>
          </a:xfrm>
        </p:spPr>
        <p:txBody>
          <a:bodyPr lIns="0" tIns="0" rIns="0" bIns="0">
            <a:noAutofit/>
          </a:bodyPr>
          <a:lstStyle>
            <a:lvl1pPr marL="0" indent="0" rtl="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de-DE" noProof="0"/>
              <a:t>Edit Master text styles</a:t>
            </a:r>
          </a:p>
        </p:txBody>
      </p:sp>
      <p:sp>
        <p:nvSpPr>
          <p:cNvPr id="7" name="MIO_AGENDA_IGNORE_NAVIGATION" hidden="1">
            <a:extLst>
              <a:ext uri="{FF2B5EF4-FFF2-40B4-BE49-F238E27FC236}">
                <a16:creationId xmlns:a16="http://schemas.microsoft.com/office/drawing/2014/main" id="{9FC4547F-C195-4067-8008-B68776595B5D}"/>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8" name="MIO_AGENDA_IGNORE_CHAPTER_REFERENCE" hidden="1">
            <a:extLst>
              <a:ext uri="{FF2B5EF4-FFF2-40B4-BE49-F238E27FC236}">
                <a16:creationId xmlns:a16="http://schemas.microsoft.com/office/drawing/2014/main" id="{12EACD47-41DE-4CD2-A21A-14DBE7C985AF}"/>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9" name="CaseCode" hidden="1">
            <a:extLst>
              <a:ext uri="{FF2B5EF4-FFF2-40B4-BE49-F238E27FC236}">
                <a16:creationId xmlns:a16="http://schemas.microsoft.com/office/drawing/2014/main" id="{6354E020-0B8B-4490-8FBE-69D3AA2C5D8E}"/>
              </a:ext>
            </a:extLst>
          </p:cNvPr>
          <p:cNvSpPr txBox="1"/>
          <p:nvPr>
            <p:custDataLst>
              <p:tags r:id="rId4"/>
            </p:custDataLst>
          </p:nvPr>
        </p:nvSpPr>
        <p:spPr>
          <a:xfrm>
            <a:off x="6335184" y="6519673"/>
            <a:ext cx="4896560" cy="276999"/>
          </a:xfrm>
          <a:prstGeom prst="rect">
            <a:avLst/>
          </a:prstGeom>
          <a:noFill/>
        </p:spPr>
        <p:txBody>
          <a:bodyPr wrap="square" lIns="0" tIns="0" rIns="0" bIns="0" rtlCol="0">
            <a:spAutoFit/>
          </a:bodyPr>
          <a:lstStyle/>
          <a:p>
            <a:pPr marL="0" indent="0" algn="r" rtl="0">
              <a:spcBef>
                <a:spcPts val="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Presentation title</a:t>
            </a:r>
            <a:br>
              <a:rPr lang="de-DE" sz="900" baseline="0" noProof="0">
                <a:solidFill>
                  <a:schemeClr val="bg1"/>
                </a:solidFill>
                <a:latin typeface="Calibri" panose="020F0502020204030204" pitchFamily="34" charset="0"/>
                <a:cs typeface="Calibri" panose="020F0502020204030204" pitchFamily="34" charset="0"/>
              </a:rPr>
            </a:br>
            <a:r>
              <a:rPr lang="de-DE"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opyright" hidden="1">
            <a:extLst>
              <a:ext uri="{FF2B5EF4-FFF2-40B4-BE49-F238E27FC236}">
                <a16:creationId xmlns:a16="http://schemas.microsoft.com/office/drawing/2014/main" id="{1775EE3B-1424-455C-B471-9011952BEC3A}"/>
              </a:ext>
            </a:extLst>
          </p:cNvPr>
          <p:cNvSpPr txBox="1"/>
          <p:nvPr>
            <p:custDataLst>
              <p:tags r:id="rId5"/>
            </p:custDataLst>
          </p:nvPr>
        </p:nvSpPr>
        <p:spPr>
          <a:xfrm>
            <a:off x="457200" y="6515063"/>
            <a:ext cx="5355168" cy="138499"/>
          </a:xfrm>
          <a:prstGeom prst="rect">
            <a:avLst/>
          </a:prstGeom>
          <a:noFill/>
        </p:spPr>
        <p:txBody>
          <a:bodyPr wrap="square" lIns="0" tIns="0" rIns="0" bIns="0" rtlCol="0">
            <a:spAutoFit/>
          </a:bodyPr>
          <a:lstStyle/>
          <a:p>
            <a:pPr marL="0" indent="0" rtl="0">
              <a:spcBef>
                <a:spcPts val="45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Deloitte 2025</a:t>
            </a:r>
          </a:p>
        </p:txBody>
      </p:sp>
      <p:sp>
        <p:nvSpPr>
          <p:cNvPr id="14" name="TextBox 13">
            <a:extLst>
              <a:ext uri="{FF2B5EF4-FFF2-40B4-BE49-F238E27FC236}">
                <a16:creationId xmlns:a16="http://schemas.microsoft.com/office/drawing/2014/main" id="{18004DD8-5CCD-47AF-881E-102D039801F2}"/>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de-DE" sz="900" baseline="0" noProof="0" smtClean="0">
                <a:solidFill>
                  <a:schemeClr val="bg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de-DE"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5009334"/>
      </p:ext>
    </p:extLst>
  </p:cSld>
  <p:clrMapOvr>
    <a:masterClrMapping/>
  </p:clrMapOvr>
  <p:transition>
    <p:fade/>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3">
    <p:bg bwMode="gray">
      <p:bgPr>
        <a:solidFill>
          <a:schemeClr val="accent3"/>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A1A7AC1-6B98-6266-7679-4E1005536621}"/>
              </a:ext>
            </a:extLst>
          </p:cNvPr>
          <p:cNvGraphicFramePr>
            <a:graphicFrameLocks noChangeAspect="1"/>
          </p:cNvGraphicFramePr>
          <p:nvPr userDrawn="1">
            <p:custDataLst>
              <p:tags r:id="rId1"/>
            </p:custDataLst>
            <p:extLst>
              <p:ext uri="{D42A27DB-BD31-4B8C-83A1-F6EECF244321}">
                <p14:modId xmlns:p14="http://schemas.microsoft.com/office/powerpoint/2010/main" val="34101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5" name="think-cell data - do not delete" hidden="1">
                        <a:extLst>
                          <a:ext uri="{FF2B5EF4-FFF2-40B4-BE49-F238E27FC236}">
                            <a16:creationId xmlns:a16="http://schemas.microsoft.com/office/drawing/2014/main" id="{7A1A7AC1-6B98-6266-7679-4E100553662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hidden="1"/>
          <p:cNvSpPr>
            <a:spLocks noGrp="1"/>
          </p:cNvSpPr>
          <p:nvPr>
            <p:ph type="title"/>
            <p:custDataLst>
              <p:tags r:id="rId2"/>
            </p:custDataLst>
          </p:nvPr>
        </p:nvSpPr>
        <p:spPr bwMode="gray">
          <a:xfrm>
            <a:off x="463296" y="1728217"/>
            <a:ext cx="11227056" cy="1592403"/>
          </a:xfrm>
          <a:prstGeom prst="rect">
            <a:avLst/>
          </a:prstGeom>
        </p:spPr>
        <p:txBody>
          <a:bodyPr vert="horz" anchor="b"/>
          <a:lstStyle>
            <a:lvl1pPr rtl="0">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de-DE" noProof="0"/>
              <a:t>Click to edit Master title style</a:t>
            </a:r>
          </a:p>
        </p:txBody>
      </p:sp>
      <p:sp>
        <p:nvSpPr>
          <p:cNvPr id="3" name="Text Placeholder" hidden="1"/>
          <p:cNvSpPr>
            <a:spLocks noGrp="1"/>
          </p:cNvSpPr>
          <p:nvPr>
            <p:ph type="body" idx="1" hasCustomPrompt="1"/>
            <p:custDataLst>
              <p:tags r:id="rId3"/>
            </p:custDataLst>
          </p:nvPr>
        </p:nvSpPr>
        <p:spPr bwMode="gray">
          <a:xfrm>
            <a:off x="463296" y="3474720"/>
            <a:ext cx="11227056" cy="1566532"/>
          </a:xfrm>
        </p:spPr>
        <p:txBody>
          <a:bodyPr lIns="0" tIns="0" rIns="0" bIns="0">
            <a:noAutofit/>
          </a:bodyPr>
          <a:lstStyle>
            <a:lvl1pPr marL="0" indent="0" rtl="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de-DE" noProof="0"/>
              <a:t>Edit Master text styles</a:t>
            </a:r>
          </a:p>
        </p:txBody>
      </p:sp>
      <p:sp>
        <p:nvSpPr>
          <p:cNvPr id="10" name="MIO_AGENDA_IGNORE_NAVIGATION" hidden="1">
            <a:extLst>
              <a:ext uri="{FF2B5EF4-FFF2-40B4-BE49-F238E27FC236}">
                <a16:creationId xmlns:a16="http://schemas.microsoft.com/office/drawing/2014/main" id="{27CF3F4C-5874-4930-8527-36305B15F574}"/>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11" name="MIO_AGENDA_IGNORE_CHAPTER_REFERENCE" hidden="1">
            <a:extLst>
              <a:ext uri="{FF2B5EF4-FFF2-40B4-BE49-F238E27FC236}">
                <a16:creationId xmlns:a16="http://schemas.microsoft.com/office/drawing/2014/main" id="{BBDF0290-19AC-4946-8A62-805CF2CCDC9C}"/>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12" name="CaseCode" hidden="1">
            <a:extLst>
              <a:ext uri="{FF2B5EF4-FFF2-40B4-BE49-F238E27FC236}">
                <a16:creationId xmlns:a16="http://schemas.microsoft.com/office/drawing/2014/main" id="{A5F15993-9A11-497E-9B56-FBC6CFC14D87}"/>
              </a:ext>
            </a:extLst>
          </p:cNvPr>
          <p:cNvSpPr txBox="1"/>
          <p:nvPr>
            <p:custDataLst>
              <p:tags r:id="rId4"/>
            </p:custDataLst>
          </p:nvPr>
        </p:nvSpPr>
        <p:spPr>
          <a:xfrm>
            <a:off x="6335184" y="6519673"/>
            <a:ext cx="4896560" cy="276999"/>
          </a:xfrm>
          <a:prstGeom prst="rect">
            <a:avLst/>
          </a:prstGeom>
          <a:noFill/>
        </p:spPr>
        <p:txBody>
          <a:bodyPr wrap="square" lIns="0" tIns="0" rIns="0" bIns="0" rtlCol="0">
            <a:spAutoFit/>
          </a:bodyPr>
          <a:lstStyle/>
          <a:p>
            <a:pPr marL="0" indent="0" algn="r" rtl="0">
              <a:spcBef>
                <a:spcPts val="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Presentation title</a:t>
            </a:r>
            <a:br>
              <a:rPr lang="de-DE" sz="900" baseline="0" noProof="0">
                <a:solidFill>
                  <a:schemeClr val="bg1"/>
                </a:solidFill>
                <a:latin typeface="Calibri" panose="020F0502020204030204" pitchFamily="34" charset="0"/>
                <a:cs typeface="Calibri" panose="020F0502020204030204" pitchFamily="34" charset="0"/>
              </a:rPr>
            </a:br>
            <a:r>
              <a:rPr lang="de-DE"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opyright" hidden="1">
            <a:extLst>
              <a:ext uri="{FF2B5EF4-FFF2-40B4-BE49-F238E27FC236}">
                <a16:creationId xmlns:a16="http://schemas.microsoft.com/office/drawing/2014/main" id="{9688FFC8-7352-479D-AA3C-FD6DC60CED1B}"/>
              </a:ext>
            </a:extLst>
          </p:cNvPr>
          <p:cNvSpPr txBox="1"/>
          <p:nvPr>
            <p:custDataLst>
              <p:tags r:id="rId5"/>
            </p:custDataLst>
          </p:nvPr>
        </p:nvSpPr>
        <p:spPr>
          <a:xfrm>
            <a:off x="457200" y="6515063"/>
            <a:ext cx="5355168" cy="138499"/>
          </a:xfrm>
          <a:prstGeom prst="rect">
            <a:avLst/>
          </a:prstGeom>
          <a:noFill/>
        </p:spPr>
        <p:txBody>
          <a:bodyPr wrap="square" lIns="0" tIns="0" rIns="0" bIns="0" rtlCol="0">
            <a:spAutoFit/>
          </a:bodyPr>
          <a:lstStyle/>
          <a:p>
            <a:pPr marL="0" indent="0" rtl="0">
              <a:spcBef>
                <a:spcPts val="45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Deloitte 2025</a:t>
            </a:r>
          </a:p>
        </p:txBody>
      </p:sp>
      <p:sp>
        <p:nvSpPr>
          <p:cNvPr id="14" name="TextBox 13">
            <a:extLst>
              <a:ext uri="{FF2B5EF4-FFF2-40B4-BE49-F238E27FC236}">
                <a16:creationId xmlns:a16="http://schemas.microsoft.com/office/drawing/2014/main" id="{46829B2D-FBA8-486E-BA8A-D44EBE6D7A73}"/>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de-DE" sz="900" baseline="0" noProof="0" smtClean="0">
                <a:solidFill>
                  <a:schemeClr val="bg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de-DE"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7401979"/>
      </p:ext>
    </p:extLst>
  </p:cSld>
  <p:clrMapOvr>
    <a:masterClrMapping/>
  </p:clrMapOvr>
  <p:transition>
    <p:fade/>
  </p:transition>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Key statement green accent 2">
    <p:bg>
      <p:bgPr>
        <a:solidFill>
          <a:schemeClr val="accent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203F148-D658-FAC0-EB02-42224B4911EE}"/>
              </a:ext>
            </a:extLst>
          </p:cNvPr>
          <p:cNvGraphicFramePr>
            <a:graphicFrameLocks noChangeAspect="1"/>
          </p:cNvGraphicFramePr>
          <p:nvPr userDrawn="1">
            <p:custDataLst>
              <p:tags r:id="rId1"/>
            </p:custDataLst>
            <p:extLst>
              <p:ext uri="{D42A27DB-BD31-4B8C-83A1-F6EECF244321}">
                <p14:modId xmlns:p14="http://schemas.microsoft.com/office/powerpoint/2010/main" val="548049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78" imgH="479" progId="TCLayout.ActiveDocument.1">
                  <p:embed/>
                </p:oleObj>
              </mc:Choice>
              <mc:Fallback>
                <p:oleObj name="think-cell Folie" r:id="rId6" imgW="478" imgH="479" progId="TCLayout.ActiveDocument.1">
                  <p:embed/>
                  <p:pic>
                    <p:nvPicPr>
                      <p:cNvPr id="2" name="think-cell data - do not delete" hidden="1">
                        <a:extLst>
                          <a:ext uri="{FF2B5EF4-FFF2-40B4-BE49-F238E27FC236}">
                            <a16:creationId xmlns:a16="http://schemas.microsoft.com/office/drawing/2014/main" id="{C203F148-D658-FAC0-EB02-42224B4911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hidden="1"/>
          <p:cNvSpPr>
            <a:spLocks noGrp="1"/>
          </p:cNvSpPr>
          <p:nvPr>
            <p:ph type="body" sz="quarter" idx="10" hasCustomPrompt="1"/>
            <p:custDataLst>
              <p:tags r:id="rId2"/>
            </p:custDataLst>
          </p:nvPr>
        </p:nvSpPr>
        <p:spPr>
          <a:xfrm>
            <a:off x="463297" y="1714500"/>
            <a:ext cx="9323916" cy="4648200"/>
          </a:xfrm>
          <a:prstGeom prst="rect">
            <a:avLst/>
          </a:prstGeom>
        </p:spPr>
        <p:txBody>
          <a:bodyPr>
            <a:noAutofit/>
          </a:bodyPr>
          <a:lstStyle>
            <a:lvl1pPr rtl="0">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de-DE" noProof="0"/>
              <a:t>Edit Master text styles</a:t>
            </a:r>
          </a:p>
        </p:txBody>
      </p:sp>
      <p:sp>
        <p:nvSpPr>
          <p:cNvPr id="6" name="MIO_AGENDA_IGNORE_NAVIGATION" hidden="1">
            <a:extLst>
              <a:ext uri="{FF2B5EF4-FFF2-40B4-BE49-F238E27FC236}">
                <a16:creationId xmlns:a16="http://schemas.microsoft.com/office/drawing/2014/main" id="{CAC30FC8-4769-493E-8A50-EE686BE7D3B5}"/>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7" name="MIO_AGENDA_IGNORE_CHAPTER_REFERENCE" hidden="1">
            <a:extLst>
              <a:ext uri="{FF2B5EF4-FFF2-40B4-BE49-F238E27FC236}">
                <a16:creationId xmlns:a16="http://schemas.microsoft.com/office/drawing/2014/main" id="{A86122FE-538F-4A32-A4D5-095A77004C94}"/>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8" name="CaseCode" hidden="1">
            <a:extLst>
              <a:ext uri="{FF2B5EF4-FFF2-40B4-BE49-F238E27FC236}">
                <a16:creationId xmlns:a16="http://schemas.microsoft.com/office/drawing/2014/main" id="{8543C88E-E176-4291-8A87-994374277F5E}"/>
              </a:ext>
            </a:extLst>
          </p:cNvPr>
          <p:cNvSpPr txBox="1"/>
          <p:nvPr>
            <p:custDataLst>
              <p:tags r:id="rId3"/>
            </p:custDataLst>
          </p:nvPr>
        </p:nvSpPr>
        <p:spPr>
          <a:xfrm>
            <a:off x="6335184" y="6519673"/>
            <a:ext cx="4896560" cy="276999"/>
          </a:xfrm>
          <a:prstGeom prst="rect">
            <a:avLst/>
          </a:prstGeom>
          <a:noFill/>
        </p:spPr>
        <p:txBody>
          <a:bodyPr wrap="square" lIns="0" tIns="0" rIns="0" bIns="0" rtlCol="0">
            <a:spAutoFit/>
          </a:bodyPr>
          <a:lstStyle/>
          <a:p>
            <a:pPr marL="0" indent="0" algn="r" rtl="0">
              <a:spcBef>
                <a:spcPts val="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Presentation title</a:t>
            </a:r>
            <a:br>
              <a:rPr lang="de-DE" sz="900" baseline="0" noProof="0">
                <a:solidFill>
                  <a:schemeClr val="bg1"/>
                </a:solidFill>
                <a:latin typeface="Calibri" panose="020F0502020204030204" pitchFamily="34" charset="0"/>
                <a:cs typeface="Calibri" panose="020F0502020204030204" pitchFamily="34" charset="0"/>
              </a:rPr>
            </a:br>
            <a:r>
              <a:rPr lang="de-DE"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hidden="1">
            <a:extLst>
              <a:ext uri="{FF2B5EF4-FFF2-40B4-BE49-F238E27FC236}">
                <a16:creationId xmlns:a16="http://schemas.microsoft.com/office/drawing/2014/main" id="{2A178BA9-7781-4CBD-AA26-059841B96E10}"/>
              </a:ext>
            </a:extLst>
          </p:cNvPr>
          <p:cNvSpPr txBox="1"/>
          <p:nvPr>
            <p:custDataLst>
              <p:tags r:id="rId4"/>
            </p:custDataLst>
          </p:nvPr>
        </p:nvSpPr>
        <p:spPr>
          <a:xfrm>
            <a:off x="457200" y="6515063"/>
            <a:ext cx="5355168" cy="138499"/>
          </a:xfrm>
          <a:prstGeom prst="rect">
            <a:avLst/>
          </a:prstGeom>
          <a:noFill/>
        </p:spPr>
        <p:txBody>
          <a:bodyPr wrap="square" lIns="0" tIns="0" rIns="0" bIns="0" rtlCol="0">
            <a:spAutoFit/>
          </a:bodyPr>
          <a:lstStyle/>
          <a:p>
            <a:pPr marL="0" indent="0" rtl="0">
              <a:spcBef>
                <a:spcPts val="45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Deloitte 2025</a:t>
            </a:r>
          </a:p>
        </p:txBody>
      </p:sp>
      <p:sp>
        <p:nvSpPr>
          <p:cNvPr id="13" name="TextBox 12">
            <a:extLst>
              <a:ext uri="{FF2B5EF4-FFF2-40B4-BE49-F238E27FC236}">
                <a16:creationId xmlns:a16="http://schemas.microsoft.com/office/drawing/2014/main" id="{17DB4A35-A981-4070-976E-FF0B78FCCF1C}"/>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de-DE" sz="900" baseline="0" noProof="0" smtClean="0">
                <a:solidFill>
                  <a:schemeClr val="bg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de-DE"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3683674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Key statement Green Accent 4">
    <p:bg>
      <p:bgPr>
        <a:solidFill>
          <a:schemeClr val="accent4"/>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80B567B-794E-DAF4-38E0-39E6611A2461}"/>
              </a:ext>
            </a:extLst>
          </p:cNvPr>
          <p:cNvGraphicFramePr>
            <a:graphicFrameLocks noChangeAspect="1"/>
          </p:cNvGraphicFramePr>
          <p:nvPr userDrawn="1">
            <p:custDataLst>
              <p:tags r:id="rId1"/>
            </p:custDataLst>
            <p:extLst>
              <p:ext uri="{D42A27DB-BD31-4B8C-83A1-F6EECF244321}">
                <p14:modId xmlns:p14="http://schemas.microsoft.com/office/powerpoint/2010/main" val="306057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78" imgH="479" progId="TCLayout.ActiveDocument.1">
                  <p:embed/>
                </p:oleObj>
              </mc:Choice>
              <mc:Fallback>
                <p:oleObj name="think-cell Folie" r:id="rId6" imgW="478" imgH="479" progId="TCLayout.ActiveDocument.1">
                  <p:embed/>
                  <p:pic>
                    <p:nvPicPr>
                      <p:cNvPr id="2" name="think-cell data - do not delete" hidden="1">
                        <a:extLst>
                          <a:ext uri="{FF2B5EF4-FFF2-40B4-BE49-F238E27FC236}">
                            <a16:creationId xmlns:a16="http://schemas.microsoft.com/office/drawing/2014/main" id="{180B567B-794E-DAF4-38E0-39E6611A246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Text Placeholder" hidden="1"/>
          <p:cNvSpPr>
            <a:spLocks noGrp="1"/>
          </p:cNvSpPr>
          <p:nvPr>
            <p:ph type="body" sz="quarter" idx="10" hasCustomPrompt="1"/>
            <p:custDataLst>
              <p:tags r:id="rId2"/>
            </p:custDataLst>
          </p:nvPr>
        </p:nvSpPr>
        <p:spPr>
          <a:xfrm>
            <a:off x="463296" y="1714500"/>
            <a:ext cx="9341104" cy="4648200"/>
          </a:xfrm>
          <a:prstGeom prst="rect">
            <a:avLst/>
          </a:prstGeom>
        </p:spPr>
        <p:txBody>
          <a:bodyPr>
            <a:noAutofit/>
          </a:bodyPr>
          <a:lstStyle>
            <a:lvl1pPr rtl="0">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de-DE" noProof="0"/>
              <a:t>Edit Master text styles</a:t>
            </a:r>
          </a:p>
        </p:txBody>
      </p:sp>
      <p:sp>
        <p:nvSpPr>
          <p:cNvPr id="6" name="MIO_AGENDA_IGNORE_NAVIGATION" hidden="1">
            <a:extLst>
              <a:ext uri="{FF2B5EF4-FFF2-40B4-BE49-F238E27FC236}">
                <a16:creationId xmlns:a16="http://schemas.microsoft.com/office/drawing/2014/main" id="{8AC01345-8637-49F7-B27A-1F3623D0EA44}"/>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7" name="MIO_AGENDA_IGNORE_CHAPTER_REFERENCE" hidden="1">
            <a:extLst>
              <a:ext uri="{FF2B5EF4-FFF2-40B4-BE49-F238E27FC236}">
                <a16:creationId xmlns:a16="http://schemas.microsoft.com/office/drawing/2014/main" id="{1537F287-C3D9-41AB-A895-877ED68E01DE}"/>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8" name="CaseCode" hidden="1">
            <a:extLst>
              <a:ext uri="{FF2B5EF4-FFF2-40B4-BE49-F238E27FC236}">
                <a16:creationId xmlns:a16="http://schemas.microsoft.com/office/drawing/2014/main" id="{3937E4FF-E016-44F3-AD4A-BD40518CEBF5}"/>
              </a:ext>
            </a:extLst>
          </p:cNvPr>
          <p:cNvSpPr txBox="1"/>
          <p:nvPr>
            <p:custDataLst>
              <p:tags r:id="rId3"/>
            </p:custDataLst>
          </p:nvPr>
        </p:nvSpPr>
        <p:spPr>
          <a:xfrm>
            <a:off x="6335184" y="6519673"/>
            <a:ext cx="4896560" cy="276999"/>
          </a:xfrm>
          <a:prstGeom prst="rect">
            <a:avLst/>
          </a:prstGeom>
          <a:noFill/>
        </p:spPr>
        <p:txBody>
          <a:bodyPr wrap="square" lIns="0" tIns="0" rIns="0" bIns="0" rtlCol="0">
            <a:spAutoFit/>
          </a:bodyPr>
          <a:lstStyle/>
          <a:p>
            <a:pPr marL="0" indent="0" algn="r" rtl="0">
              <a:spcBef>
                <a:spcPts val="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Presentation title</a:t>
            </a:r>
            <a:br>
              <a:rPr lang="de-DE" sz="900" baseline="0" noProof="0">
                <a:solidFill>
                  <a:schemeClr val="bg1"/>
                </a:solidFill>
                <a:latin typeface="Calibri" panose="020F0502020204030204" pitchFamily="34" charset="0"/>
                <a:cs typeface="Calibri" panose="020F0502020204030204" pitchFamily="34" charset="0"/>
              </a:rPr>
            </a:br>
            <a:r>
              <a:rPr lang="de-DE"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hidden="1">
            <a:extLst>
              <a:ext uri="{FF2B5EF4-FFF2-40B4-BE49-F238E27FC236}">
                <a16:creationId xmlns:a16="http://schemas.microsoft.com/office/drawing/2014/main" id="{70F3F35D-F2C2-4AB4-B366-EEC863736AF6}"/>
              </a:ext>
            </a:extLst>
          </p:cNvPr>
          <p:cNvSpPr txBox="1"/>
          <p:nvPr>
            <p:custDataLst>
              <p:tags r:id="rId4"/>
            </p:custDataLst>
          </p:nvPr>
        </p:nvSpPr>
        <p:spPr>
          <a:xfrm>
            <a:off x="457200" y="6515063"/>
            <a:ext cx="5355168" cy="138499"/>
          </a:xfrm>
          <a:prstGeom prst="rect">
            <a:avLst/>
          </a:prstGeom>
          <a:noFill/>
        </p:spPr>
        <p:txBody>
          <a:bodyPr wrap="square" lIns="0" tIns="0" rIns="0" bIns="0" rtlCol="0">
            <a:spAutoFit/>
          </a:bodyPr>
          <a:lstStyle/>
          <a:p>
            <a:pPr marL="0" indent="0" rtl="0">
              <a:spcBef>
                <a:spcPts val="45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Deloitte 2025</a:t>
            </a:r>
          </a:p>
        </p:txBody>
      </p:sp>
      <p:sp>
        <p:nvSpPr>
          <p:cNvPr id="14" name="TextBox 13">
            <a:extLst>
              <a:ext uri="{FF2B5EF4-FFF2-40B4-BE49-F238E27FC236}">
                <a16:creationId xmlns:a16="http://schemas.microsoft.com/office/drawing/2014/main" id="{34DB589F-A6FF-45A0-9279-59580FC81C96}"/>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de-DE" sz="900" baseline="0" noProof="0" smtClean="0">
                <a:solidFill>
                  <a:schemeClr val="bg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de-DE" sz="900" baseline="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538113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765449-E60E-17BA-59AD-0970E8CBBAFA}"/>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C2584C84-9B1F-08FB-9CA1-BD33B1CC43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99533" y="343663"/>
            <a:ext cx="8302676" cy="6177585"/>
          </a:xfrm>
          <a:prstGeom prst="rect">
            <a:avLst/>
          </a:prstGeom>
        </p:spPr>
      </p:pic>
      <p:sp>
        <p:nvSpPr>
          <p:cNvPr id="15" name="Text Placeholder 2">
            <a:extLst>
              <a:ext uri="{FF2B5EF4-FFF2-40B4-BE49-F238E27FC236}">
                <a16:creationId xmlns:a16="http://schemas.microsoft.com/office/drawing/2014/main" id="{6CB78E86-DBFE-1B4E-DA7E-4E7E984A7E76}"/>
              </a:ext>
            </a:extLst>
          </p:cNvPr>
          <p:cNvSpPr>
            <a:spLocks noGrp="1"/>
          </p:cNvSpPr>
          <p:nvPr>
            <p:ph type="body" idx="10" hasCustomPrompt="1"/>
          </p:nvPr>
        </p:nvSpPr>
        <p:spPr>
          <a:xfrm>
            <a:off x="619561" y="6085947"/>
            <a:ext cx="5256803" cy="378694"/>
          </a:xfrm>
        </p:spPr>
        <p:txBody>
          <a:bodyPr>
            <a:normAutofit/>
          </a:bodyPr>
          <a:lstStyle>
            <a:lvl1pPr marL="0" indent="0">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6" name="Picture 5">
            <a:extLst>
              <a:ext uri="{FF2B5EF4-FFF2-40B4-BE49-F238E27FC236}">
                <a16:creationId xmlns:a16="http://schemas.microsoft.com/office/drawing/2014/main" id="{BA567C97-2E3C-BE90-E4DE-4A91CD8C76F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8795" y="183286"/>
            <a:ext cx="3257550" cy="1321538"/>
          </a:xfrm>
          <a:prstGeom prst="rect">
            <a:avLst/>
          </a:prstGeom>
        </p:spPr>
      </p:pic>
      <p:pic>
        <p:nvPicPr>
          <p:cNvPr id="11" name="Picture 10">
            <a:extLst>
              <a:ext uri="{FF2B5EF4-FFF2-40B4-BE49-F238E27FC236}">
                <a16:creationId xmlns:a16="http://schemas.microsoft.com/office/drawing/2014/main" id="{28AF6AFB-3552-BFFF-3B36-E8404DD6CAA0}"/>
              </a:ext>
            </a:extLst>
          </p:cNvPr>
          <p:cNvPicPr>
            <a:picLocks noChangeAspect="1"/>
          </p:cNvPicPr>
          <p:nvPr userDrawn="1"/>
        </p:nvPicPr>
        <p:blipFill>
          <a:blip r:embed="rId5"/>
          <a:stretch>
            <a:fillRect/>
          </a:stretch>
        </p:blipFill>
        <p:spPr>
          <a:xfrm>
            <a:off x="6269769" y="2574362"/>
            <a:ext cx="904134" cy="1277089"/>
          </a:xfrm>
          <a:prstGeom prst="rect">
            <a:avLst/>
          </a:prstGeom>
        </p:spPr>
      </p:pic>
      <p:pic>
        <p:nvPicPr>
          <p:cNvPr id="12" name="Picture 11">
            <a:extLst>
              <a:ext uri="{FF2B5EF4-FFF2-40B4-BE49-F238E27FC236}">
                <a16:creationId xmlns:a16="http://schemas.microsoft.com/office/drawing/2014/main" id="{AB75CF15-1E5E-E6E6-622E-BA254AD0760F}"/>
              </a:ext>
            </a:extLst>
          </p:cNvPr>
          <p:cNvPicPr>
            <a:picLocks noChangeAspect="1"/>
          </p:cNvPicPr>
          <p:nvPr userDrawn="1"/>
        </p:nvPicPr>
        <p:blipFill>
          <a:blip r:embed="rId6"/>
          <a:stretch>
            <a:fillRect/>
          </a:stretch>
        </p:blipFill>
        <p:spPr>
          <a:xfrm>
            <a:off x="7568308" y="953425"/>
            <a:ext cx="262540" cy="262540"/>
          </a:xfrm>
          <a:prstGeom prst="rect">
            <a:avLst/>
          </a:prstGeom>
        </p:spPr>
      </p:pic>
      <p:sp>
        <p:nvSpPr>
          <p:cNvPr id="13" name="Title 1">
            <a:extLst>
              <a:ext uri="{FF2B5EF4-FFF2-40B4-BE49-F238E27FC236}">
                <a16:creationId xmlns:a16="http://schemas.microsoft.com/office/drawing/2014/main" id="{58AA8579-E1D4-84AD-8BFF-9D00CF77D0F6}"/>
              </a:ext>
            </a:extLst>
          </p:cNvPr>
          <p:cNvSpPr>
            <a:spLocks noGrp="1"/>
          </p:cNvSpPr>
          <p:nvPr>
            <p:ph type="title" hasCustomPrompt="1"/>
          </p:nvPr>
        </p:nvSpPr>
        <p:spPr>
          <a:xfrm>
            <a:off x="596891" y="3489262"/>
            <a:ext cx="5079079" cy="1186041"/>
          </a:xfrm>
        </p:spPr>
        <p:txBody>
          <a:bodyPr anchor="b">
            <a:normAutofit/>
          </a:bodyPr>
          <a:lstStyle>
            <a:lvl1pPr>
              <a:defRPr sz="32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E4B4F40C-DA98-3CC3-01C4-34C620FF32DF}"/>
              </a:ext>
            </a:extLst>
          </p:cNvPr>
          <p:cNvSpPr>
            <a:spLocks noGrp="1"/>
          </p:cNvSpPr>
          <p:nvPr>
            <p:ph type="body" idx="1"/>
          </p:nvPr>
        </p:nvSpPr>
        <p:spPr>
          <a:xfrm>
            <a:off x="611874" y="4795478"/>
            <a:ext cx="5256803" cy="897110"/>
          </a:xfrm>
        </p:spPr>
        <p:txBody>
          <a:bodyPr>
            <a:normAutofit/>
          </a:bodyPr>
          <a:lstStyle>
            <a:lvl1pPr marL="0" indent="0">
              <a:buNone/>
              <a:defRPr sz="28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2" name="Picture 1">
            <a:extLst>
              <a:ext uri="{FF2B5EF4-FFF2-40B4-BE49-F238E27FC236}">
                <a16:creationId xmlns:a16="http://schemas.microsoft.com/office/drawing/2014/main" id="{736127D4-DE7C-7F02-1D3E-19CCF4F4BCA7}"/>
              </a:ext>
            </a:extLst>
          </p:cNvPr>
          <p:cNvPicPr>
            <a:picLocks noChangeAspect="1"/>
          </p:cNvPicPr>
          <p:nvPr userDrawn="1"/>
        </p:nvPicPr>
        <p:blipFill>
          <a:blip r:embed="rId6"/>
          <a:stretch>
            <a:fillRect/>
          </a:stretch>
        </p:blipFill>
        <p:spPr>
          <a:xfrm>
            <a:off x="9448978" y="4768308"/>
            <a:ext cx="554960" cy="554960"/>
          </a:xfrm>
          <a:prstGeom prst="rect">
            <a:avLst/>
          </a:prstGeom>
        </p:spPr>
      </p:pic>
    </p:spTree>
    <p:extLst>
      <p:ext uri="{BB962C8B-B14F-4D97-AF65-F5344CB8AC3E}">
        <p14:creationId xmlns:p14="http://schemas.microsoft.com/office/powerpoint/2010/main" val="28895668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3788AF0-5139-DFE0-2C6B-3C7D4278D868}"/>
              </a:ext>
            </a:extLst>
          </p:cNvPr>
          <p:cNvGraphicFramePr>
            <a:graphicFrameLocks noChangeAspect="1"/>
          </p:cNvGraphicFramePr>
          <p:nvPr userDrawn="1">
            <p:custDataLst>
              <p:tags r:id="rId1"/>
            </p:custDataLst>
            <p:extLst>
              <p:ext uri="{D42A27DB-BD31-4B8C-83A1-F6EECF244321}">
                <p14:modId xmlns:p14="http://schemas.microsoft.com/office/powerpoint/2010/main" val="420891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78" imgH="479" progId="TCLayout.ActiveDocument.1">
                  <p:embed/>
                </p:oleObj>
              </mc:Choice>
              <mc:Fallback>
                <p:oleObj name="think-cell Folie" r:id="rId6" imgW="478" imgH="479" progId="TCLayout.ActiveDocument.1">
                  <p:embed/>
                  <p:pic>
                    <p:nvPicPr>
                      <p:cNvPr id="2" name="think-cell data - do not delete" hidden="1">
                        <a:extLst>
                          <a:ext uri="{FF2B5EF4-FFF2-40B4-BE49-F238E27FC236}">
                            <a16:creationId xmlns:a16="http://schemas.microsoft.com/office/drawing/2014/main" id="{83788AF0-5139-DFE0-2C6B-3C7D4278D8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MIO_AGENDA_IGNORE_NAVIGATION" hidden="1">
            <a:extLst>
              <a:ext uri="{FF2B5EF4-FFF2-40B4-BE49-F238E27FC236}">
                <a16:creationId xmlns:a16="http://schemas.microsoft.com/office/drawing/2014/main" id="{8A2ACF0E-68DE-4019-9B26-9765BBDE1FC4}"/>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7" name="MIO_AGENDA_IGNORE_CHAPTER_REFERENCE" hidden="1">
            <a:extLst>
              <a:ext uri="{FF2B5EF4-FFF2-40B4-BE49-F238E27FC236}">
                <a16:creationId xmlns:a16="http://schemas.microsoft.com/office/drawing/2014/main" id="{8170BC7A-230F-4CFF-B510-7C11B6B6B394}"/>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8" name="CaseCode" hidden="1">
            <a:extLst>
              <a:ext uri="{FF2B5EF4-FFF2-40B4-BE49-F238E27FC236}">
                <a16:creationId xmlns:a16="http://schemas.microsoft.com/office/drawing/2014/main" id="{11B7F5CA-811D-4AE2-962B-BF8A99E307A8}"/>
              </a:ext>
            </a:extLst>
          </p:cNvPr>
          <p:cNvSpPr txBox="1"/>
          <p:nvPr>
            <p:custDataLst>
              <p:tags r:id="rId2"/>
            </p:custDataLst>
          </p:nvPr>
        </p:nvSpPr>
        <p:spPr>
          <a:xfrm>
            <a:off x="6335184" y="6519673"/>
            <a:ext cx="4896560" cy="276999"/>
          </a:xfrm>
          <a:prstGeom prst="rect">
            <a:avLst/>
          </a:prstGeom>
          <a:noFill/>
        </p:spPr>
        <p:txBody>
          <a:bodyPr wrap="square" lIns="0" tIns="0" rIns="0" bIns="0" rtlCol="0">
            <a:spAutoFit/>
          </a:bodyPr>
          <a:lstStyle/>
          <a:p>
            <a:pPr marL="0" indent="0" algn="r" rtl="0">
              <a:spcBef>
                <a:spcPts val="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Presentation title</a:t>
            </a:r>
            <a:br>
              <a:rPr lang="de-DE" sz="900" baseline="0" noProof="0">
                <a:solidFill>
                  <a:schemeClr val="bg1"/>
                </a:solidFill>
                <a:latin typeface="Calibri" panose="020F0502020204030204" pitchFamily="34" charset="0"/>
                <a:cs typeface="Calibri" panose="020F0502020204030204" pitchFamily="34" charset="0"/>
              </a:rPr>
            </a:br>
            <a:r>
              <a:rPr lang="de-DE" sz="900" baseline="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hidden="1">
            <a:extLst>
              <a:ext uri="{FF2B5EF4-FFF2-40B4-BE49-F238E27FC236}">
                <a16:creationId xmlns:a16="http://schemas.microsoft.com/office/drawing/2014/main" id="{7EB031C3-69E1-4133-9550-E7CB21DD10E3}"/>
              </a:ext>
            </a:extLst>
          </p:cNvPr>
          <p:cNvSpPr txBox="1"/>
          <p:nvPr>
            <p:custDataLst>
              <p:tags r:id="rId3"/>
            </p:custDataLst>
          </p:nvPr>
        </p:nvSpPr>
        <p:spPr>
          <a:xfrm>
            <a:off x="457200" y="6515063"/>
            <a:ext cx="5355168" cy="138499"/>
          </a:xfrm>
          <a:prstGeom prst="rect">
            <a:avLst/>
          </a:prstGeom>
          <a:noFill/>
        </p:spPr>
        <p:txBody>
          <a:bodyPr wrap="square" lIns="0" tIns="0" rIns="0" bIns="0" rtlCol="0">
            <a:spAutoFit/>
          </a:bodyPr>
          <a:lstStyle/>
          <a:p>
            <a:pPr marL="0" indent="0" rtl="0">
              <a:spcBef>
                <a:spcPts val="45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Deloitte 2025</a:t>
            </a:r>
          </a:p>
        </p:txBody>
      </p:sp>
      <p:sp>
        <p:nvSpPr>
          <p:cNvPr id="13" name="TextBox 12">
            <a:extLst>
              <a:ext uri="{FF2B5EF4-FFF2-40B4-BE49-F238E27FC236}">
                <a16:creationId xmlns:a16="http://schemas.microsoft.com/office/drawing/2014/main" id="{8E089A2F-E1F6-41D3-964D-CBD86C232A5E}"/>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de-DE" sz="900" baseline="0" noProof="0" smtClean="0">
                <a:solidFill>
                  <a:schemeClr val="bg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de-DE" sz="900" baseline="0" noProof="0">
              <a:solidFill>
                <a:schemeClr val="bg1"/>
              </a:solidFill>
              <a:latin typeface="Calibri" panose="020F0502020204030204" pitchFamily="34" charset="0"/>
              <a:cs typeface="Calibri" panose="020F0502020204030204" pitchFamily="34" charset="0"/>
            </a:endParaRPr>
          </a:p>
        </p:txBody>
      </p:sp>
      <p:sp>
        <p:nvSpPr>
          <p:cNvPr id="9" name="Text Placeholder" hidden="1">
            <a:extLst>
              <a:ext uri="{FF2B5EF4-FFF2-40B4-BE49-F238E27FC236}">
                <a16:creationId xmlns:a16="http://schemas.microsoft.com/office/drawing/2014/main" id="{DA162907-83B7-41B9-AA11-C100A775B8D2}"/>
              </a:ext>
            </a:extLst>
          </p:cNvPr>
          <p:cNvSpPr>
            <a:spLocks noGrp="1"/>
          </p:cNvSpPr>
          <p:nvPr>
            <p:ph type="body" sz="quarter" idx="10" hasCustomPrompt="1"/>
            <p:custDataLst>
              <p:tags r:id="rId4"/>
            </p:custDataLst>
          </p:nvPr>
        </p:nvSpPr>
        <p:spPr>
          <a:xfrm>
            <a:off x="463296" y="1714500"/>
            <a:ext cx="9341104" cy="4648200"/>
          </a:xfrm>
          <a:prstGeom prst="rect">
            <a:avLst/>
          </a:prstGeom>
        </p:spPr>
        <p:txBody>
          <a:bodyPr>
            <a:noAutofit/>
          </a:bodyPr>
          <a:lstStyle>
            <a:lvl1pPr rtl="0">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de-DE" noProof="0"/>
              <a:t>Edit Master text styles</a:t>
            </a:r>
          </a:p>
        </p:txBody>
      </p:sp>
    </p:spTree>
    <p:extLst>
      <p:ext uri="{BB962C8B-B14F-4D97-AF65-F5344CB8AC3E}">
        <p14:creationId xmlns:p14="http://schemas.microsoft.com/office/powerpoint/2010/main" val="179738482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4293057-19A4-2433-A2DF-936BCF8EEA18}"/>
              </a:ext>
            </a:extLst>
          </p:cNvPr>
          <p:cNvGraphicFramePr>
            <a:graphicFrameLocks noChangeAspect="1"/>
          </p:cNvGraphicFramePr>
          <p:nvPr userDrawn="1">
            <p:custDataLst>
              <p:tags r:id="rId1"/>
            </p:custDataLst>
            <p:extLst>
              <p:ext uri="{D42A27DB-BD31-4B8C-83A1-F6EECF244321}">
                <p14:modId xmlns:p14="http://schemas.microsoft.com/office/powerpoint/2010/main" val="367413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8" imgH="479" progId="TCLayout.ActiveDocument.1">
                  <p:embed/>
                </p:oleObj>
              </mc:Choice>
              <mc:Fallback>
                <p:oleObj name="think-cell Folie" r:id="rId5" imgW="478" imgH="479" progId="TCLayout.ActiveDocument.1">
                  <p:embed/>
                  <p:pic>
                    <p:nvPicPr>
                      <p:cNvPr id="2" name="think-cell data - do not delete" hidden="1">
                        <a:extLst>
                          <a:ext uri="{FF2B5EF4-FFF2-40B4-BE49-F238E27FC236}">
                            <a16:creationId xmlns:a16="http://schemas.microsoft.com/office/drawing/2014/main" id="{64293057-19A4-2433-A2DF-936BCF8EEA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MIO_AGENDA_IGNORE_NAVIGATION" hidden="1">
            <a:extLst>
              <a:ext uri="{FF2B5EF4-FFF2-40B4-BE49-F238E27FC236}">
                <a16:creationId xmlns:a16="http://schemas.microsoft.com/office/drawing/2014/main" id="{BE26B797-9949-48A3-976D-A898E3C18E42}"/>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7" name="MIO_AGENDA_IGNORE_CHAPTER_REFERENCE" hidden="1">
            <a:extLst>
              <a:ext uri="{FF2B5EF4-FFF2-40B4-BE49-F238E27FC236}">
                <a16:creationId xmlns:a16="http://schemas.microsoft.com/office/drawing/2014/main" id="{14E60C47-69F3-4ABA-80FD-E5DF82E7BA19}"/>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12" name="Copyright" hidden="1">
            <a:extLst>
              <a:ext uri="{FF2B5EF4-FFF2-40B4-BE49-F238E27FC236}">
                <a16:creationId xmlns:a16="http://schemas.microsoft.com/office/drawing/2014/main" id="{A22A7399-BED7-4421-B384-268352145493}"/>
              </a:ext>
            </a:extLst>
          </p:cNvPr>
          <p:cNvSpPr txBox="1"/>
          <p:nvPr>
            <p:custDataLst>
              <p:tags r:id="rId2"/>
            </p:custDataLst>
          </p:nvPr>
        </p:nvSpPr>
        <p:spPr>
          <a:xfrm>
            <a:off x="457200" y="6515063"/>
            <a:ext cx="5355168" cy="138499"/>
          </a:xfrm>
          <a:prstGeom prst="rect">
            <a:avLst/>
          </a:prstGeom>
          <a:noFill/>
        </p:spPr>
        <p:txBody>
          <a:bodyPr wrap="square" lIns="0" tIns="0" rIns="0" bIns="0" rtlCol="0">
            <a:spAutoFit/>
          </a:bodyPr>
          <a:lstStyle/>
          <a:p>
            <a:pPr marL="0" indent="0" rtl="0">
              <a:spcBef>
                <a:spcPts val="450"/>
              </a:spcBef>
              <a:buSzPct val="100000"/>
              <a:buFont typeface="Arial"/>
              <a:buNone/>
            </a:pPr>
            <a:r>
              <a:rPr lang="de-DE" sz="900" baseline="0" noProof="0">
                <a:solidFill>
                  <a:schemeClr val="bg1"/>
                </a:solidFill>
                <a:latin typeface="Calibri" panose="020F0502020204030204" pitchFamily="34" charset="0"/>
                <a:cs typeface="Calibri" panose="020F0502020204030204" pitchFamily="34" charset="0"/>
              </a:rPr>
              <a:t>Deloitte 2025</a:t>
            </a:r>
          </a:p>
        </p:txBody>
      </p:sp>
      <p:sp>
        <p:nvSpPr>
          <p:cNvPr id="14" name="TextBox 13">
            <a:extLst>
              <a:ext uri="{FF2B5EF4-FFF2-40B4-BE49-F238E27FC236}">
                <a16:creationId xmlns:a16="http://schemas.microsoft.com/office/drawing/2014/main" id="{9FBAD39A-8E4D-4CED-BFA6-6A113684235A}"/>
              </a:ext>
            </a:extLst>
          </p:cNvPr>
          <p:cNvSpPr txBox="1"/>
          <p:nvPr/>
        </p:nvSpPr>
        <p:spPr>
          <a:xfrm>
            <a:off x="11426826" y="6519673"/>
            <a:ext cx="307975" cy="138499"/>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de-DE" sz="900" baseline="0" noProof="0" smtClean="0">
                <a:solidFill>
                  <a:schemeClr val="bg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de-DE" sz="900" baseline="0" noProof="0">
              <a:solidFill>
                <a:schemeClr val="bg1"/>
              </a:solidFill>
              <a:latin typeface="Calibri" panose="020F0502020204030204" pitchFamily="34" charset="0"/>
              <a:cs typeface="Calibri" panose="020F0502020204030204" pitchFamily="34" charset="0"/>
            </a:endParaRPr>
          </a:p>
        </p:txBody>
      </p:sp>
      <p:sp>
        <p:nvSpPr>
          <p:cNvPr id="9" name="Text Placeholder" hidden="1">
            <a:extLst>
              <a:ext uri="{FF2B5EF4-FFF2-40B4-BE49-F238E27FC236}">
                <a16:creationId xmlns:a16="http://schemas.microsoft.com/office/drawing/2014/main" id="{5AE356BE-E053-439C-AB9C-35F94CE819C1}"/>
              </a:ext>
            </a:extLst>
          </p:cNvPr>
          <p:cNvSpPr>
            <a:spLocks noGrp="1"/>
          </p:cNvSpPr>
          <p:nvPr>
            <p:ph type="body" sz="quarter" idx="10" hasCustomPrompt="1"/>
            <p:custDataLst>
              <p:tags r:id="rId3"/>
            </p:custDataLst>
          </p:nvPr>
        </p:nvSpPr>
        <p:spPr>
          <a:xfrm>
            <a:off x="463296" y="1714500"/>
            <a:ext cx="9341104" cy="4648200"/>
          </a:xfrm>
          <a:prstGeom prst="rect">
            <a:avLst/>
          </a:prstGeom>
        </p:spPr>
        <p:txBody>
          <a:bodyPr>
            <a:noAutofit/>
          </a:bodyPr>
          <a:lstStyle>
            <a:lvl1pPr rtl="0">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de-DE" noProof="0"/>
              <a:t>Edit Master text styles</a:t>
            </a:r>
          </a:p>
        </p:txBody>
      </p:sp>
    </p:spTree>
    <p:extLst>
      <p:ext uri="{BB962C8B-B14F-4D97-AF65-F5344CB8AC3E}">
        <p14:creationId xmlns:p14="http://schemas.microsoft.com/office/powerpoint/2010/main" val="71845827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AB929C9-B824-A503-BF9B-03B0F9984508}"/>
              </a:ext>
            </a:extLst>
          </p:cNvPr>
          <p:cNvGraphicFramePr>
            <a:graphicFrameLocks noChangeAspect="1"/>
          </p:cNvGraphicFramePr>
          <p:nvPr userDrawn="1">
            <p:custDataLst>
              <p:tags r:id="rId1"/>
            </p:custDataLst>
            <p:extLst>
              <p:ext uri="{D42A27DB-BD31-4B8C-83A1-F6EECF244321}">
                <p14:modId xmlns:p14="http://schemas.microsoft.com/office/powerpoint/2010/main" val="370825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8" imgH="479" progId="TCLayout.ActiveDocument.1">
                  <p:embed/>
                </p:oleObj>
              </mc:Choice>
              <mc:Fallback>
                <p:oleObj name="think-cell Folie" r:id="rId4" imgW="478" imgH="479" progId="TCLayout.ActiveDocument.1">
                  <p:embed/>
                  <p:pic>
                    <p:nvPicPr>
                      <p:cNvPr id="2" name="think-cell data - do not delete" hidden="1">
                        <a:extLst>
                          <a:ext uri="{FF2B5EF4-FFF2-40B4-BE49-F238E27FC236}">
                            <a16:creationId xmlns:a16="http://schemas.microsoft.com/office/drawing/2014/main" id="{FAB929C9-B824-A503-BF9B-03B0F99845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hidden="1"/>
          <p:cNvSpPr>
            <a:spLocks noGrp="1"/>
          </p:cNvSpPr>
          <p:nvPr>
            <p:ph type="body" sz="quarter" idx="10" hasCustomPrompt="1"/>
            <p:custDataLst>
              <p:tags r:id="rId2"/>
            </p:custDataLst>
          </p:nvPr>
        </p:nvSpPr>
        <p:spPr>
          <a:xfrm>
            <a:off x="475488" y="1719072"/>
            <a:ext cx="9328912" cy="4643628"/>
          </a:xfrm>
          <a:prstGeom prst="rect">
            <a:avLst/>
          </a:prstGeom>
        </p:spPr>
        <p:txBody>
          <a:bodyPr>
            <a:noAutofit/>
          </a:bodyPr>
          <a:lstStyle>
            <a:lvl1pPr marL="0" indent="0" algn="l" rtl="0">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de-DE" noProof="0"/>
              <a:t>Edit Master text styles</a:t>
            </a:r>
          </a:p>
        </p:txBody>
      </p:sp>
      <p:sp>
        <p:nvSpPr>
          <p:cNvPr id="3" name="MIO_AGENDA_IGNORE_NAVIGATION" hidden="1">
            <a:extLst>
              <a:ext uri="{FF2B5EF4-FFF2-40B4-BE49-F238E27FC236}">
                <a16:creationId xmlns:a16="http://schemas.microsoft.com/office/drawing/2014/main" id="{7583F471-57B6-4DAA-89A7-6E0D0C078BFC}"/>
              </a:ext>
            </a:extLst>
          </p:cNvPr>
          <p:cNvSpPr/>
          <p:nvPr/>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
        <p:nvSpPr>
          <p:cNvPr id="5" name="MIO_AGENDA_IGNORE_CHAPTER_REFERENCE" hidden="1">
            <a:extLst>
              <a:ext uri="{FF2B5EF4-FFF2-40B4-BE49-F238E27FC236}">
                <a16:creationId xmlns:a16="http://schemas.microsoft.com/office/drawing/2014/main" id="{D1E299B4-0A88-451E-904B-278ECCE2D8C1}"/>
              </a:ext>
            </a:extLst>
          </p:cNvPr>
          <p:cNvSpPr/>
          <p:nvPr/>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rtl="0"/>
            <a:endParaRPr lang="de-DE">
              <a:solidFill>
                <a:schemeClr val="tx1"/>
              </a:solidFill>
            </a:endParaRPr>
          </a:p>
        </p:txBody>
      </p:sp>
    </p:spTree>
    <p:extLst>
      <p:ext uri="{BB962C8B-B14F-4D97-AF65-F5344CB8AC3E}">
        <p14:creationId xmlns:p14="http://schemas.microsoft.com/office/powerpoint/2010/main" val="65344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E72E406-F7EE-1E90-5DDE-442DDD13C15E}"/>
              </a:ext>
            </a:extLst>
          </p:cNvPr>
          <p:cNvGraphicFramePr>
            <a:graphicFrameLocks noChangeAspect="1"/>
          </p:cNvGraphicFramePr>
          <p:nvPr userDrawn="1">
            <p:custDataLst>
              <p:tags r:id="rId1"/>
            </p:custDataLst>
            <p:extLst>
              <p:ext uri="{D42A27DB-BD31-4B8C-83A1-F6EECF244321}">
                <p14:modId xmlns:p14="http://schemas.microsoft.com/office/powerpoint/2010/main" val="2020138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8" imgH="479" progId="TCLayout.ActiveDocument.1">
                  <p:embed/>
                </p:oleObj>
              </mc:Choice>
              <mc:Fallback>
                <p:oleObj name="think-cell Folie" r:id="rId5" imgW="478" imgH="479" progId="TCLayout.ActiveDocument.1">
                  <p:embed/>
                  <p:pic>
                    <p:nvPicPr>
                      <p:cNvPr id="3" name="think-cell data - do not delete" hidden="1">
                        <a:extLst>
                          <a:ext uri="{FF2B5EF4-FFF2-40B4-BE49-F238E27FC236}">
                            <a16:creationId xmlns:a16="http://schemas.microsoft.com/office/drawing/2014/main" id="{5E72E406-F7EE-1E90-5DDE-442DDD13C1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Content Placeholder" hidden="1"/>
          <p:cNvSpPr>
            <a:spLocks noGrp="1"/>
          </p:cNvSpPr>
          <p:nvPr>
            <p:ph idx="1" hasCustomPrompt="1"/>
            <p:custDataLst>
              <p:tags r:id="rId2"/>
            </p:custDataLst>
          </p:nvPr>
        </p:nvSpPr>
        <p:spPr>
          <a:xfrm>
            <a:off x="463296" y="1714500"/>
            <a:ext cx="11277600" cy="4648200"/>
          </a:xfrm>
          <a:prstGeom prst="rect">
            <a:avLst/>
          </a:prstGeom>
        </p:spPr>
        <p:txBody>
          <a:bodyPr vert="horz" lIns="0" tIns="0" rIns="0" bIns="0" rtlCol="0">
            <a:noAutofit/>
          </a:bodyPr>
          <a:lstStyle>
            <a:lvl1pPr marL="0" indent="0" algn="l" rtl="0">
              <a:buFontTx/>
              <a:buNone/>
              <a:defRPr sz="1200">
                <a:latin typeface="+mn-lt"/>
              </a:defRPr>
            </a:lvl1pPr>
            <a:lvl2pPr marL="104775" indent="-104775" algn="l" rtl="0">
              <a:buClrTx/>
              <a:buSzPct val="100000"/>
              <a:buFont typeface="Arial" panose="020B0604020202020204" pitchFamily="34" charset="0"/>
              <a:buChar char="•"/>
              <a:defRPr sz="1200">
                <a:latin typeface="+mj-lt"/>
              </a:defRPr>
            </a:lvl2pPr>
            <a:lvl3pPr marL="228600" indent="-104775" algn="l" rtl="0">
              <a:buClrTx/>
              <a:buSzPct val="100000"/>
              <a:buFont typeface="Arial" panose="020B0604020202020204" pitchFamily="34" charset="0"/>
              <a:buChar char="−"/>
              <a:defRPr sz="1200">
                <a:latin typeface="+mn-lt"/>
              </a:defRPr>
            </a:lvl3pPr>
            <a:lvl4pPr marL="352425" indent="-104775" algn="l" rtl="0">
              <a:buClrTx/>
              <a:buSzPct val="100000"/>
              <a:buFont typeface="Arial" panose="020B0604020202020204" pitchFamily="34" charset="0"/>
              <a:buChar char="◦"/>
              <a:defRPr sz="1200">
                <a:latin typeface="+mn-lt"/>
              </a:defRPr>
            </a:lvl4pPr>
            <a:lvl5pPr marL="476250" indent="-104775" algn="l" rtl="0">
              <a:buClrTx/>
              <a:buSzPct val="100000"/>
              <a:buFont typeface="Arial" panose="020B0604020202020204" pitchFamily="34" charset="0"/>
              <a:buChar char="−"/>
              <a:defRPr sz="1200">
                <a:latin typeface="+mn-lt"/>
              </a:defRPr>
            </a:lvl5pPr>
          </a:lstStyle>
          <a:p>
            <a:pPr lvl="0"/>
            <a:r>
              <a:rPr lang="de-DE"/>
              <a:t>Edit Master text styles</a:t>
            </a:r>
          </a:p>
          <a:p>
            <a:pPr lvl="1"/>
            <a:r>
              <a:rPr lang="de-DE"/>
              <a:t>Second level</a:t>
            </a:r>
          </a:p>
          <a:p>
            <a:pPr lvl="2"/>
            <a:r>
              <a:rPr lang="de-DE"/>
              <a:t>Third level</a:t>
            </a:r>
          </a:p>
          <a:p>
            <a:pPr lvl="3"/>
            <a:r>
              <a:rPr lang="de-DE"/>
              <a:t>Fourth level</a:t>
            </a:r>
          </a:p>
          <a:p>
            <a:pPr lvl="4"/>
            <a:r>
              <a:rPr lang="de-DE"/>
              <a:t>Fifth level</a:t>
            </a:r>
            <a:endParaRPr lang="de-DE" noProof="0"/>
          </a:p>
        </p:txBody>
      </p:sp>
      <p:sp>
        <p:nvSpPr>
          <p:cNvPr id="4" name="Title" hidden="1">
            <a:extLst>
              <a:ext uri="{FF2B5EF4-FFF2-40B4-BE49-F238E27FC236}">
                <a16:creationId xmlns:a16="http://schemas.microsoft.com/office/drawing/2014/main" id="{A1AF4B88-9BDB-4994-AE11-3A74CC55FE51}"/>
              </a:ext>
            </a:extLst>
          </p:cNvPr>
          <p:cNvSpPr>
            <a:spLocks noGrp="1"/>
          </p:cNvSpPr>
          <p:nvPr>
            <p:ph type="title" hasCustomPrompt="1"/>
            <p:custDataLst>
              <p:tags r:id="rId3"/>
            </p:custDataLst>
          </p:nvPr>
        </p:nvSpPr>
        <p:spPr>
          <a:xfrm>
            <a:off x="463296" y="347473"/>
            <a:ext cx="11277600" cy="698501"/>
          </a:xfrm>
          <a:prstGeom prst="rect">
            <a:avLst/>
          </a:prstGeom>
        </p:spPr>
        <p:txBody>
          <a:bodyPr vert="horz" lIns="0" tIns="0" rIns="0" bIns="0" rtlCol="0" anchor="t" anchorCtr="0">
            <a:noAutofit/>
          </a:bodyPr>
          <a:lstStyle>
            <a:lvl1pPr rtl="0">
              <a:defRPr sz="2100"/>
            </a:lvl1pPr>
          </a:lstStyle>
          <a:p>
            <a:r>
              <a:rPr lang="de-DE"/>
              <a:t>Click to add title</a:t>
            </a:r>
          </a:p>
        </p:txBody>
      </p:sp>
    </p:spTree>
    <p:extLst>
      <p:ext uri="{BB962C8B-B14F-4D97-AF65-F5344CB8AC3E}">
        <p14:creationId xmlns:p14="http://schemas.microsoft.com/office/powerpoint/2010/main" val="144908003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7A1578-895E-232F-124C-F5F19360DA82}"/>
              </a:ext>
            </a:extLst>
          </p:cNvPr>
          <p:cNvGraphicFramePr>
            <a:graphicFrameLocks noChangeAspect="1"/>
          </p:cNvGraphicFramePr>
          <p:nvPr userDrawn="1">
            <p:custDataLst>
              <p:tags r:id="rId1"/>
            </p:custDataLst>
            <p:extLst>
              <p:ext uri="{D42A27DB-BD31-4B8C-83A1-F6EECF244321}">
                <p14:modId xmlns:p14="http://schemas.microsoft.com/office/powerpoint/2010/main" val="228199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8" imgH="479" progId="TCLayout.ActiveDocument.1">
                  <p:embed/>
                </p:oleObj>
              </mc:Choice>
              <mc:Fallback>
                <p:oleObj name="think-cell Folie" r:id="rId5" imgW="478" imgH="479" progId="TCLayout.ActiveDocument.1">
                  <p:embed/>
                  <p:pic>
                    <p:nvPicPr>
                      <p:cNvPr id="3" name="think-cell data - do not delete" hidden="1">
                        <a:extLst>
                          <a:ext uri="{FF2B5EF4-FFF2-40B4-BE49-F238E27FC236}">
                            <a16:creationId xmlns:a16="http://schemas.microsoft.com/office/drawing/2014/main" id="{B67A1578-895E-232F-124C-F5F19360DA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Content Placeholder" hidden="1"/>
          <p:cNvSpPr>
            <a:spLocks noGrp="1"/>
          </p:cNvSpPr>
          <p:nvPr>
            <p:ph sz="quarter" idx="10" hasCustomPrompt="1"/>
            <p:custDataLst>
              <p:tags r:id="rId2"/>
            </p:custDataLst>
          </p:nvPr>
        </p:nvSpPr>
        <p:spPr>
          <a:xfrm>
            <a:off x="463296" y="1714500"/>
            <a:ext cx="9341104" cy="4648200"/>
          </a:xfrm>
          <a:prstGeom prst="rect">
            <a:avLst/>
          </a:prstGeom>
        </p:spPr>
        <p:txBody>
          <a:bodyPr>
            <a:noAutofit/>
          </a:bodyPr>
          <a:lstStyle>
            <a:lvl1pPr marL="0" indent="0" algn="l" rtl="0">
              <a:buFontTx/>
              <a:buNone/>
              <a:tabLst>
                <a:tab pos="5047060" algn="r"/>
              </a:tabLst>
              <a:defRPr sz="1200">
                <a:latin typeface="+mn-lt"/>
              </a:defRPr>
            </a:lvl1pPr>
            <a:lvl2pPr marL="104775" indent="-104775" algn="l" rtl="0">
              <a:buClrTx/>
              <a:buSzPct val="100000"/>
              <a:buFont typeface="Arial" panose="020B0604020202020204" pitchFamily="34" charset="0"/>
              <a:buChar char="•"/>
              <a:tabLst>
                <a:tab pos="5047060" algn="r"/>
              </a:tabLst>
              <a:defRPr sz="1200">
                <a:latin typeface="+mj-lt"/>
              </a:defRPr>
            </a:lvl2pPr>
            <a:lvl3pPr marL="228600" indent="-104775" algn="l" rtl="0">
              <a:buClrTx/>
              <a:buSzPct val="100000"/>
              <a:buFont typeface="Arial" panose="020B0604020202020204" pitchFamily="34" charset="0"/>
              <a:buChar char="−"/>
              <a:tabLst>
                <a:tab pos="5047060" algn="r"/>
              </a:tabLst>
              <a:defRPr sz="1200">
                <a:latin typeface="+mn-lt"/>
              </a:defRPr>
            </a:lvl3pPr>
            <a:lvl4pPr marL="352425" indent="-104775" algn="l" rtl="0">
              <a:buClrTx/>
              <a:buSzPct val="100000"/>
              <a:buFont typeface="Arial" panose="020B0604020202020204" pitchFamily="34" charset="0"/>
              <a:buChar char="◦"/>
              <a:tabLst>
                <a:tab pos="5047060" algn="r"/>
              </a:tabLst>
              <a:defRPr sz="1200">
                <a:latin typeface="+mn-lt"/>
              </a:defRPr>
            </a:lvl4pPr>
            <a:lvl5pPr marL="476250" indent="-104775" algn="l" rtl="0">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de-DE"/>
              <a:t>Edit Master text styles</a:t>
            </a:r>
          </a:p>
          <a:p>
            <a:pPr lvl="1"/>
            <a:r>
              <a:rPr lang="de-DE"/>
              <a:t>Second level</a:t>
            </a:r>
          </a:p>
          <a:p>
            <a:pPr lvl="2"/>
            <a:r>
              <a:rPr lang="de-DE"/>
              <a:t>Third level</a:t>
            </a:r>
          </a:p>
          <a:p>
            <a:pPr lvl="3"/>
            <a:r>
              <a:rPr lang="de-DE"/>
              <a:t>Fourth level</a:t>
            </a:r>
          </a:p>
          <a:p>
            <a:pPr lvl="4"/>
            <a:r>
              <a:rPr lang="de-DE"/>
              <a:t>Fifth level</a:t>
            </a:r>
          </a:p>
        </p:txBody>
      </p:sp>
      <p:sp>
        <p:nvSpPr>
          <p:cNvPr id="7" name="Title" hidden="1"/>
          <p:cNvSpPr>
            <a:spLocks noGrp="1"/>
          </p:cNvSpPr>
          <p:nvPr>
            <p:ph type="title" hasCustomPrompt="1"/>
            <p:custDataLst>
              <p:tags r:id="rId3"/>
            </p:custDataLst>
          </p:nvPr>
        </p:nvSpPr>
        <p:spPr>
          <a:xfrm>
            <a:off x="463296" y="347473"/>
            <a:ext cx="11180232" cy="698501"/>
          </a:xfrm>
          <a:prstGeom prst="rect">
            <a:avLst/>
          </a:prstGeom>
        </p:spPr>
        <p:txBody>
          <a:bodyPr vert="horz" lIns="0" tIns="0" rIns="0" bIns="0" rtlCol="0" anchor="t" anchorCtr="0">
            <a:noAutofit/>
          </a:bodyPr>
          <a:lstStyle>
            <a:lvl1pPr rtl="0">
              <a:defRPr sz="2100"/>
            </a:lvl1pPr>
          </a:lstStyle>
          <a:p>
            <a:r>
              <a:rPr lang="de-DE"/>
              <a:t>Click to add title</a:t>
            </a:r>
          </a:p>
        </p:txBody>
      </p:sp>
    </p:spTree>
    <p:extLst>
      <p:ext uri="{BB962C8B-B14F-4D97-AF65-F5344CB8AC3E}">
        <p14:creationId xmlns:p14="http://schemas.microsoft.com/office/powerpoint/2010/main" val="237053595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Letter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4FD4306-0F4D-1403-8DE1-480D003B32F7}"/>
              </a:ext>
            </a:extLst>
          </p:cNvPr>
          <p:cNvGraphicFramePr>
            <a:graphicFrameLocks noChangeAspect="1"/>
          </p:cNvGraphicFramePr>
          <p:nvPr userDrawn="1">
            <p:custDataLst>
              <p:tags r:id="rId1"/>
            </p:custDataLst>
            <p:extLst>
              <p:ext uri="{D42A27DB-BD31-4B8C-83A1-F6EECF244321}">
                <p14:modId xmlns:p14="http://schemas.microsoft.com/office/powerpoint/2010/main" val="1145910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2" name="think-cell data - do not delete" hidden="1">
                        <a:extLst>
                          <a:ext uri="{FF2B5EF4-FFF2-40B4-BE49-F238E27FC236}">
                            <a16:creationId xmlns:a16="http://schemas.microsoft.com/office/drawing/2014/main" id="{04FD4306-0F4D-1403-8DE1-480D003B32F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Text upper right" hidden="1"/>
          <p:cNvSpPr>
            <a:spLocks noGrp="1"/>
          </p:cNvSpPr>
          <p:nvPr>
            <p:ph type="body" sz="quarter" idx="10" hasCustomPrompt="1"/>
            <p:custDataLst>
              <p:tags r:id="rId2"/>
            </p:custDataLst>
          </p:nvPr>
        </p:nvSpPr>
        <p:spPr>
          <a:xfrm>
            <a:off x="8933144" y="345584"/>
            <a:ext cx="2804160" cy="1027760"/>
          </a:xfrm>
        </p:spPr>
        <p:txBody>
          <a:bodyPr>
            <a:noAutofit/>
          </a:bodyPr>
          <a:lstStyle>
            <a:lvl1pPr rtl="0">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de-DE"/>
              <a:t>Edit Master text styles</a:t>
            </a:r>
          </a:p>
        </p:txBody>
      </p:sp>
      <p:sp>
        <p:nvSpPr>
          <p:cNvPr id="7" name="Text left" hidden="1"/>
          <p:cNvSpPr>
            <a:spLocks noGrp="1"/>
          </p:cNvSpPr>
          <p:nvPr>
            <p:ph type="body" sz="quarter" idx="11" hasCustomPrompt="1"/>
            <p:custDataLst>
              <p:tags r:id="rId3"/>
            </p:custDataLst>
          </p:nvPr>
        </p:nvSpPr>
        <p:spPr>
          <a:xfrm>
            <a:off x="463296" y="1714500"/>
            <a:ext cx="3549904" cy="4648200"/>
          </a:xfrm>
        </p:spPr>
        <p:txBody>
          <a:bodyPr>
            <a:noAutofit/>
          </a:bodyPr>
          <a:lstStyle>
            <a:lvl1pPr rtl="0">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de-DE"/>
              <a:t>Edit Master text styles</a:t>
            </a:r>
          </a:p>
        </p:txBody>
      </p:sp>
      <p:sp>
        <p:nvSpPr>
          <p:cNvPr id="9" name="Text right" hidden="1"/>
          <p:cNvSpPr>
            <a:spLocks noGrp="1"/>
          </p:cNvSpPr>
          <p:nvPr>
            <p:ph type="body" sz="quarter" idx="12" hasCustomPrompt="1"/>
            <p:custDataLst>
              <p:tags r:id="rId4"/>
            </p:custDataLst>
          </p:nvPr>
        </p:nvSpPr>
        <p:spPr>
          <a:xfrm>
            <a:off x="4318000" y="1719073"/>
            <a:ext cx="7416801" cy="4643628"/>
          </a:xfrm>
        </p:spPr>
        <p:txBody>
          <a:bodyPr>
            <a:noAutofit/>
          </a:bodyPr>
          <a:lstStyle>
            <a:lvl1pPr marL="0" indent="0" algn="l" rtl="0">
              <a:spcBef>
                <a:spcPts val="1247"/>
              </a:spcBef>
              <a:buFontTx/>
              <a:buNone/>
              <a:defRPr sz="1200"/>
            </a:lvl1pPr>
            <a:lvl2pPr marL="104775" indent="-104775" algn="l" rtl="0">
              <a:buClrTx/>
              <a:buSzPct val="100000"/>
              <a:buFont typeface="Arial" panose="020B0604020202020204" pitchFamily="34" charset="0"/>
              <a:buChar char="•"/>
              <a:defRPr sz="1200"/>
            </a:lvl2pPr>
            <a:lvl3pPr marL="228600" indent="-104775" algn="l" rtl="0">
              <a:buClrTx/>
              <a:buSzPct val="100000"/>
              <a:buFont typeface="Arial" panose="020B0604020202020204" pitchFamily="34" charset="0"/>
              <a:buChar char="−"/>
              <a:defRPr sz="1200"/>
            </a:lvl3pPr>
            <a:lvl4pPr marL="352425" indent="-104775" algn="l" rtl="0">
              <a:buClrTx/>
              <a:buSzPct val="100000"/>
              <a:buFont typeface="Arial" panose="020B0604020202020204" pitchFamily="34" charset="0"/>
              <a:buChar char="◦"/>
              <a:defRPr sz="1200"/>
            </a:lvl4pPr>
            <a:lvl5pPr marL="476250" indent="-104775" algn="l" rtl="0">
              <a:buClrTx/>
              <a:buSzPct val="100000"/>
              <a:buFont typeface="Arial" panose="020B0604020202020204" pitchFamily="34" charset="0"/>
              <a:buChar char="−"/>
              <a:defRPr sz="1200"/>
            </a:lvl5pPr>
          </a:lstStyle>
          <a:p>
            <a:pPr lvl="0"/>
            <a:r>
              <a:rPr lang="de-DE"/>
              <a:t>Edit Master text styles</a:t>
            </a:r>
          </a:p>
          <a:p>
            <a:pPr lvl="1"/>
            <a:r>
              <a:rPr lang="de-DE"/>
              <a:t>Second level</a:t>
            </a:r>
          </a:p>
          <a:p>
            <a:pPr lvl="2"/>
            <a:r>
              <a:rPr lang="de-DE"/>
              <a:t>Third level</a:t>
            </a:r>
          </a:p>
          <a:p>
            <a:pPr lvl="3"/>
            <a:r>
              <a:rPr lang="de-DE"/>
              <a:t>Fourth level</a:t>
            </a:r>
          </a:p>
          <a:p>
            <a:pPr lvl="4"/>
            <a:r>
              <a:rPr lang="de-DE"/>
              <a:t>Fifth level</a:t>
            </a:r>
            <a:endParaRPr lang="de-DE" noProof="0"/>
          </a:p>
        </p:txBody>
      </p:sp>
      <p:pic>
        <p:nvPicPr>
          <p:cNvPr id="27" name="Grafik 26" hidden="1">
            <a:extLst>
              <a:ext uri="{FF2B5EF4-FFF2-40B4-BE49-F238E27FC236}">
                <a16:creationId xmlns:a16="http://schemas.microsoft.com/office/drawing/2014/main" id="{C7D1E866-CA49-4EA3-8027-580E53B9B65A}"/>
              </a:ext>
            </a:extLst>
          </p:cNvPr>
          <p:cNvPicPr>
            <a:picLocks noChangeAspect="1"/>
          </p:cNvPicPr>
          <p:nvPr userDrawn="1">
            <p:custDataLst>
              <p:tags r:id="rId5"/>
            </p:custDataLst>
          </p:nvPr>
        </p:nvPicPr>
        <p:blipFill>
          <a:blip r:embed="rId9"/>
          <a:stretch>
            <a:fillRect/>
          </a:stretch>
        </p:blipFill>
        <p:spPr>
          <a:xfrm>
            <a:off x="458636" y="342232"/>
            <a:ext cx="1818000" cy="339914"/>
          </a:xfrm>
          <a:prstGeom prst="rect">
            <a:avLst/>
          </a:prstGeom>
        </p:spPr>
      </p:pic>
    </p:spTree>
    <p:extLst>
      <p:ext uri="{BB962C8B-B14F-4D97-AF65-F5344CB8AC3E}">
        <p14:creationId xmlns:p14="http://schemas.microsoft.com/office/powerpoint/2010/main" val="322870981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8BFB2E7-FAA0-F027-993C-FBF4B6B3D8C3}"/>
              </a:ext>
            </a:extLst>
          </p:cNvPr>
          <p:cNvGraphicFramePr>
            <a:graphicFrameLocks noChangeAspect="1"/>
          </p:cNvGraphicFramePr>
          <p:nvPr userDrawn="1">
            <p:custDataLst>
              <p:tags r:id="rId1"/>
            </p:custDataLst>
            <p:extLst>
              <p:ext uri="{D42A27DB-BD31-4B8C-83A1-F6EECF244321}">
                <p14:modId xmlns:p14="http://schemas.microsoft.com/office/powerpoint/2010/main" val="3414502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78" imgH="479" progId="TCLayout.ActiveDocument.1">
                  <p:embed/>
                </p:oleObj>
              </mc:Choice>
              <mc:Fallback>
                <p:oleObj name="think-cell Folie" r:id="rId6" imgW="478" imgH="479" progId="TCLayout.ActiveDocument.1">
                  <p:embed/>
                  <p:pic>
                    <p:nvPicPr>
                      <p:cNvPr id="3" name="think-cell data - do not delete" hidden="1">
                        <a:extLst>
                          <a:ext uri="{FF2B5EF4-FFF2-40B4-BE49-F238E27FC236}">
                            <a16:creationId xmlns:a16="http://schemas.microsoft.com/office/drawing/2014/main" id="{F8BFB2E7-FAA0-F027-993C-FBF4B6B3D8C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itle" hidden="1"/>
          <p:cNvSpPr>
            <a:spLocks noGrp="1"/>
          </p:cNvSpPr>
          <p:nvPr>
            <p:ph type="title" hasCustomPrompt="1"/>
            <p:custDataLst>
              <p:tags r:id="rId2"/>
            </p:custDataLst>
          </p:nvPr>
        </p:nvSpPr>
        <p:spPr>
          <a:xfrm>
            <a:off x="463295" y="347472"/>
            <a:ext cx="11228832" cy="698500"/>
          </a:xfrm>
          <a:prstGeom prst="rect">
            <a:avLst/>
          </a:prstGeom>
        </p:spPr>
        <p:txBody>
          <a:bodyPr vert="horz" lIns="0" tIns="0" rIns="0" bIns="0" rtlCol="0" anchor="t" anchorCtr="0">
            <a:noAutofit/>
          </a:bodyPr>
          <a:lstStyle>
            <a:lvl1pPr rtl="0">
              <a:defRPr sz="2100"/>
            </a:lvl1pPr>
          </a:lstStyle>
          <a:p>
            <a:r>
              <a:rPr lang="de-DE" noProof="0"/>
              <a:t>Click to add title</a:t>
            </a:r>
          </a:p>
        </p:txBody>
      </p:sp>
      <p:sp>
        <p:nvSpPr>
          <p:cNvPr id="5" name="Picture Placeholder" hidden="1"/>
          <p:cNvSpPr>
            <a:spLocks noGrp="1"/>
          </p:cNvSpPr>
          <p:nvPr>
            <p:ph type="pic" sz="quarter" idx="15"/>
            <p:custDataLst>
              <p:tags r:id="rId3"/>
            </p:custDataLst>
          </p:nvPr>
        </p:nvSpPr>
        <p:spPr>
          <a:xfrm>
            <a:off x="5450351" y="1714500"/>
            <a:ext cx="6240000" cy="4648200"/>
          </a:xfrm>
        </p:spPr>
        <p:txBody>
          <a:bodyPr>
            <a:noAutofit/>
          </a:bodyPr>
          <a:lstStyle>
            <a:lvl1pPr rtl="0">
              <a:defRPr sz="1200"/>
            </a:lvl1pPr>
          </a:lstStyle>
          <a:p>
            <a:r>
              <a:rPr lang="de-DE" noProof="0"/>
              <a:t>Click icon to add picture</a:t>
            </a:r>
          </a:p>
        </p:txBody>
      </p:sp>
      <p:sp>
        <p:nvSpPr>
          <p:cNvPr id="6" name="Content" hidden="1"/>
          <p:cNvSpPr>
            <a:spLocks noGrp="1"/>
          </p:cNvSpPr>
          <p:nvPr>
            <p:ph sz="quarter" idx="10" hasCustomPrompt="1"/>
            <p:custDataLst>
              <p:tags r:id="rId4"/>
            </p:custDataLst>
          </p:nvPr>
        </p:nvSpPr>
        <p:spPr>
          <a:xfrm>
            <a:off x="463296" y="1714500"/>
            <a:ext cx="4413504" cy="4648200"/>
          </a:xfrm>
          <a:prstGeom prst="rect">
            <a:avLst/>
          </a:prstGeom>
        </p:spPr>
        <p:txBody>
          <a:bodyPr>
            <a:noAutofit/>
          </a:bodyPr>
          <a:lstStyle>
            <a:lvl1pPr marL="0" indent="0" algn="l" rtl="0">
              <a:buFontTx/>
              <a:buNone/>
              <a:tabLst>
                <a:tab pos="3771900" algn="r"/>
              </a:tabLst>
              <a:defRPr sz="1200">
                <a:latin typeface="+mn-lt"/>
              </a:defRPr>
            </a:lvl1pPr>
            <a:lvl2pPr marL="104775" indent="-104775" algn="l" rtl="0">
              <a:buClrTx/>
              <a:buSzPct val="100000"/>
              <a:buFont typeface="Arial" panose="020B0604020202020204" pitchFamily="34" charset="0"/>
              <a:buChar char="•"/>
              <a:tabLst>
                <a:tab pos="3771900" algn="r"/>
              </a:tabLst>
              <a:defRPr sz="1200">
                <a:latin typeface="+mj-lt"/>
              </a:defRPr>
            </a:lvl2pPr>
            <a:lvl3pPr marL="228600" indent="-104775" algn="l" rtl="0">
              <a:buClrTx/>
              <a:buSzPct val="100000"/>
              <a:buFont typeface="Arial" panose="020B0604020202020204" pitchFamily="34" charset="0"/>
              <a:buChar char="−"/>
              <a:tabLst>
                <a:tab pos="3771900" algn="r"/>
              </a:tabLst>
              <a:defRPr sz="1200">
                <a:latin typeface="+mn-lt"/>
              </a:defRPr>
            </a:lvl3pPr>
            <a:lvl4pPr marL="352425" indent="-104775" algn="l" rtl="0">
              <a:buClrTx/>
              <a:buSzPct val="100000"/>
              <a:buFont typeface="Arial" panose="020B0604020202020204" pitchFamily="34" charset="0"/>
              <a:buChar char="◦"/>
              <a:tabLst>
                <a:tab pos="3771900" algn="r"/>
              </a:tabLst>
              <a:defRPr sz="1200">
                <a:latin typeface="+mn-lt"/>
              </a:defRPr>
            </a:lvl4pPr>
            <a:lvl5pPr marL="476250" indent="-104775" algn="l" rtl="0">
              <a:buClrTx/>
              <a:buSzPct val="100000"/>
              <a:buFont typeface="Arial" panose="020B0604020202020204" pitchFamily="34" charset="0"/>
              <a:buChar char="−"/>
              <a:tabLst>
                <a:tab pos="3771900" algn="r"/>
              </a:tabLst>
              <a:defRPr sz="1200" baseline="0">
                <a:latin typeface="+mn-lt"/>
              </a:defRPr>
            </a:lvl5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Tree>
    <p:extLst>
      <p:ext uri="{BB962C8B-B14F-4D97-AF65-F5344CB8AC3E}">
        <p14:creationId xmlns:p14="http://schemas.microsoft.com/office/powerpoint/2010/main" val="35376188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80C4A34-E857-0252-B60D-F049EF30294B}"/>
              </a:ext>
            </a:extLst>
          </p:cNvPr>
          <p:cNvGraphicFramePr>
            <a:graphicFrameLocks noChangeAspect="1"/>
          </p:cNvGraphicFramePr>
          <p:nvPr userDrawn="1">
            <p:custDataLst>
              <p:tags r:id="rId1"/>
            </p:custDataLst>
            <p:extLst>
              <p:ext uri="{D42A27DB-BD31-4B8C-83A1-F6EECF244321}">
                <p14:modId xmlns:p14="http://schemas.microsoft.com/office/powerpoint/2010/main" val="1294960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3" name="think-cell data - do not delete" hidden="1">
                        <a:extLst>
                          <a:ext uri="{FF2B5EF4-FFF2-40B4-BE49-F238E27FC236}">
                            <a16:creationId xmlns:a16="http://schemas.microsoft.com/office/drawing/2014/main" id="{C80C4A34-E857-0252-B60D-F049EF30294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1" name="Text Placeholder 8" hidden="1">
            <a:extLst>
              <a:ext uri="{FF2B5EF4-FFF2-40B4-BE49-F238E27FC236}">
                <a16:creationId xmlns:a16="http://schemas.microsoft.com/office/drawing/2014/main" id="{59A021DD-F549-41C3-B366-CFCBDD85997E}"/>
              </a:ext>
            </a:extLst>
          </p:cNvPr>
          <p:cNvSpPr>
            <a:spLocks noGrp="1"/>
          </p:cNvSpPr>
          <p:nvPr>
            <p:ph type="body" sz="quarter" idx="13" hasCustomPrompt="1"/>
            <p:custDataLst>
              <p:tags r:id="rId2"/>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22" name="Title Placeholder 1" hidden="1">
            <a:extLst>
              <a:ext uri="{FF2B5EF4-FFF2-40B4-BE49-F238E27FC236}">
                <a16:creationId xmlns:a16="http://schemas.microsoft.com/office/drawing/2014/main" id="{ECC1F342-3C5A-4884-B063-1F96DE727F31}"/>
              </a:ext>
            </a:extLst>
          </p:cNvPr>
          <p:cNvSpPr>
            <a:spLocks noGrp="1"/>
          </p:cNvSpPr>
          <p:nvPr>
            <p:ph type="title" hasCustomPrompt="1"/>
            <p:custDataLst>
              <p:tags r:id="rId3"/>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
        <p:nvSpPr>
          <p:cNvPr id="23" name="Content Placeholder 3" hidden="1">
            <a:extLst>
              <a:ext uri="{FF2B5EF4-FFF2-40B4-BE49-F238E27FC236}">
                <a16:creationId xmlns:a16="http://schemas.microsoft.com/office/drawing/2014/main" id="{BFED540D-3BF1-4047-9D69-9C3EB9B94551}"/>
              </a:ext>
            </a:extLst>
          </p:cNvPr>
          <p:cNvSpPr>
            <a:spLocks noGrp="1"/>
          </p:cNvSpPr>
          <p:nvPr>
            <p:ph sz="quarter" idx="10" hasCustomPrompt="1"/>
            <p:custDataLst>
              <p:tags r:id="rId4"/>
            </p:custDataLst>
          </p:nvPr>
        </p:nvSpPr>
        <p:spPr>
          <a:xfrm>
            <a:off x="463296" y="1719072"/>
            <a:ext cx="5480304" cy="4643628"/>
          </a:xfrm>
          <a:prstGeom prst="rect">
            <a:avLst/>
          </a:prstGeom>
        </p:spPr>
        <p:txBody>
          <a:bodyPr>
            <a:noAutofit/>
          </a:bodyPr>
          <a:lstStyle>
            <a:lvl1pPr marL="0" indent="0" algn="l" rtl="0">
              <a:buFontTx/>
              <a:buNone/>
              <a:tabLst>
                <a:tab pos="3771900" algn="r"/>
              </a:tabLst>
              <a:defRPr sz="1200"/>
            </a:lvl1pPr>
            <a:lvl2pPr marL="104775" indent="-104775" algn="l" rtl="0">
              <a:buClrTx/>
              <a:buSzPct val="100000"/>
              <a:buFont typeface="Arial" panose="020B0604020202020204" pitchFamily="34" charset="0"/>
              <a:buChar char="•"/>
              <a:tabLst>
                <a:tab pos="3771900" algn="r"/>
              </a:tabLst>
              <a:defRPr sz="1200"/>
            </a:lvl2pPr>
            <a:lvl3pPr marL="228600" indent="-104775" algn="l" rtl="0">
              <a:buClrTx/>
              <a:buSzPct val="100000"/>
              <a:buFont typeface="Arial" panose="020B0604020202020204" pitchFamily="34" charset="0"/>
              <a:buChar char="−"/>
              <a:tabLst>
                <a:tab pos="3771900" algn="r"/>
              </a:tabLst>
              <a:defRPr sz="1200"/>
            </a:lvl3pPr>
            <a:lvl4pPr marL="352425" indent="-104775" algn="l" rtl="0">
              <a:buClrTx/>
              <a:buSzPct val="100000"/>
              <a:buFont typeface="Arial" panose="020B0604020202020204" pitchFamily="34" charset="0"/>
              <a:buChar char="◦"/>
              <a:tabLst>
                <a:tab pos="3771900" algn="r"/>
              </a:tabLst>
              <a:defRPr sz="1200"/>
            </a:lvl4pPr>
            <a:lvl5pPr marL="476250" indent="-104775" algn="l" rtl="0">
              <a:buClrTx/>
              <a:buSzPct val="100000"/>
              <a:buFont typeface="Arial" panose="020B0604020202020204" pitchFamily="34" charset="0"/>
              <a:buChar char="−"/>
              <a:tabLst>
                <a:tab pos="3771900" algn="r"/>
              </a:tabLst>
              <a:defRPr sz="1200" baseline="0"/>
            </a:lvl5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24" name="Content Placeholder 3" hidden="1">
            <a:extLst>
              <a:ext uri="{FF2B5EF4-FFF2-40B4-BE49-F238E27FC236}">
                <a16:creationId xmlns:a16="http://schemas.microsoft.com/office/drawing/2014/main" id="{B2159D59-FAF6-4904-B82D-440C56566D86}"/>
              </a:ext>
            </a:extLst>
          </p:cNvPr>
          <p:cNvSpPr>
            <a:spLocks noGrp="1"/>
          </p:cNvSpPr>
          <p:nvPr>
            <p:ph sz="quarter" idx="14" hasCustomPrompt="1"/>
            <p:custDataLst>
              <p:tags r:id="rId5"/>
            </p:custDataLst>
          </p:nvPr>
        </p:nvSpPr>
        <p:spPr>
          <a:xfrm>
            <a:off x="6260591" y="1714500"/>
            <a:ext cx="5480304" cy="4643628"/>
          </a:xfrm>
          <a:prstGeom prst="rect">
            <a:avLst/>
          </a:prstGeom>
        </p:spPr>
        <p:txBody>
          <a:bodyPr>
            <a:noAutofit/>
          </a:bodyPr>
          <a:lstStyle>
            <a:lvl1pPr marL="0" indent="0" algn="l" rtl="0">
              <a:buFontTx/>
              <a:buNone/>
              <a:tabLst>
                <a:tab pos="3771900" algn="r"/>
              </a:tabLst>
              <a:defRPr sz="1200"/>
            </a:lvl1pPr>
            <a:lvl2pPr marL="104775" indent="-104775" algn="l" rtl="0">
              <a:buClrTx/>
              <a:buSzPct val="100000"/>
              <a:buFont typeface="Arial" panose="020B0604020202020204" pitchFamily="34" charset="0"/>
              <a:buChar char="•"/>
              <a:tabLst>
                <a:tab pos="3771900" algn="r"/>
              </a:tabLst>
              <a:defRPr sz="1200"/>
            </a:lvl2pPr>
            <a:lvl3pPr marL="228600" indent="-104775" algn="l" rtl="0">
              <a:buClrTx/>
              <a:buSzPct val="100000"/>
              <a:buFont typeface="Arial" panose="020B0604020202020204" pitchFamily="34" charset="0"/>
              <a:buChar char="−"/>
              <a:tabLst>
                <a:tab pos="3771900" algn="r"/>
              </a:tabLst>
              <a:defRPr sz="1200"/>
            </a:lvl3pPr>
            <a:lvl4pPr marL="352425" indent="-104775" algn="l" rtl="0">
              <a:buClrTx/>
              <a:buSzPct val="100000"/>
              <a:buFont typeface="Arial" panose="020B0604020202020204" pitchFamily="34" charset="0"/>
              <a:buChar char="◦"/>
              <a:tabLst>
                <a:tab pos="3771900" algn="r"/>
              </a:tabLst>
              <a:defRPr sz="1200"/>
            </a:lvl4pPr>
            <a:lvl5pPr marL="476250" indent="-104775" algn="l" rtl="0">
              <a:buClrTx/>
              <a:buSzPct val="100000"/>
              <a:buFont typeface="Arial" panose="020B0604020202020204" pitchFamily="34" charset="0"/>
              <a:buChar char="−"/>
              <a:tabLst>
                <a:tab pos="3771900" algn="r"/>
              </a:tabLst>
              <a:defRPr sz="1200" baseline="0"/>
            </a:lvl5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Tree>
    <p:extLst>
      <p:ext uri="{BB962C8B-B14F-4D97-AF65-F5344CB8AC3E}">
        <p14:creationId xmlns:p14="http://schemas.microsoft.com/office/powerpoint/2010/main" val="408516813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C5A484-A076-AE1D-9BFB-29DED3DE4EE6}"/>
              </a:ext>
            </a:extLst>
          </p:cNvPr>
          <p:cNvGraphicFramePr>
            <a:graphicFrameLocks noChangeAspect="1"/>
          </p:cNvGraphicFramePr>
          <p:nvPr userDrawn="1">
            <p:custDataLst>
              <p:tags r:id="rId1"/>
            </p:custDataLst>
            <p:extLst>
              <p:ext uri="{D42A27DB-BD31-4B8C-83A1-F6EECF244321}">
                <p14:modId xmlns:p14="http://schemas.microsoft.com/office/powerpoint/2010/main" val="1518331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478" imgH="479" progId="TCLayout.ActiveDocument.1">
                  <p:embed/>
                </p:oleObj>
              </mc:Choice>
              <mc:Fallback>
                <p:oleObj name="think-cell Folie" r:id="rId9" imgW="478" imgH="479" progId="TCLayout.ActiveDocument.1">
                  <p:embed/>
                  <p:pic>
                    <p:nvPicPr>
                      <p:cNvPr id="4" name="think-cell data - do not delete" hidden="1">
                        <a:extLst>
                          <a:ext uri="{FF2B5EF4-FFF2-40B4-BE49-F238E27FC236}">
                            <a16:creationId xmlns:a16="http://schemas.microsoft.com/office/drawing/2014/main" id="{8BC5A484-A076-AE1D-9BFB-29DED3DE4EE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Chart Placeholder" hidden="1"/>
          <p:cNvSpPr>
            <a:spLocks noGrp="1"/>
          </p:cNvSpPr>
          <p:nvPr>
            <p:ph type="chart" sz="quarter" idx="21"/>
            <p:custDataLst>
              <p:tags r:id="rId2"/>
            </p:custDataLst>
          </p:nvPr>
        </p:nvSpPr>
        <p:spPr>
          <a:xfrm>
            <a:off x="6256871" y="2137713"/>
            <a:ext cx="5480304" cy="3983302"/>
          </a:xfrm>
        </p:spPr>
        <p:txBody>
          <a:bodyPr>
            <a:noAutofit/>
          </a:bodyPr>
          <a:lstStyle>
            <a:lvl1pPr rtl="0">
              <a:defRPr sz="1200"/>
            </a:lvl1pPr>
          </a:lstStyle>
          <a:p>
            <a:r>
              <a:rPr lang="de-DE" noProof="0"/>
              <a:t>Click icon to add chart</a:t>
            </a:r>
          </a:p>
        </p:txBody>
      </p:sp>
      <p:sp>
        <p:nvSpPr>
          <p:cNvPr id="6" name="Chart Title / Headline" hidden="1"/>
          <p:cNvSpPr>
            <a:spLocks noGrp="1"/>
          </p:cNvSpPr>
          <p:nvPr>
            <p:ph type="body" sz="quarter" idx="22" hasCustomPrompt="1"/>
            <p:custDataLst>
              <p:tags r:id="rId3"/>
            </p:custDataLst>
          </p:nvPr>
        </p:nvSpPr>
        <p:spPr>
          <a:xfrm>
            <a:off x="6256871" y="1719074"/>
            <a:ext cx="5480304" cy="405940"/>
          </a:xfrm>
        </p:spPr>
        <p:txBody>
          <a:bodyPr>
            <a:noAutofit/>
          </a:bodyPr>
          <a:lstStyle>
            <a:lvl1pPr rtl="0">
              <a:defRPr sz="1200"/>
            </a:lvl1pPr>
          </a:lstStyle>
          <a:p>
            <a:pPr lvl="0"/>
            <a:r>
              <a:rPr lang="de-DE" noProof="0"/>
              <a:t>Edit Master text styles</a:t>
            </a:r>
          </a:p>
        </p:txBody>
      </p:sp>
      <p:sp>
        <p:nvSpPr>
          <p:cNvPr id="15" name="Text bottom" hidden="1"/>
          <p:cNvSpPr>
            <a:spLocks noGrp="1"/>
          </p:cNvSpPr>
          <p:nvPr>
            <p:ph type="body" sz="quarter" idx="23" hasCustomPrompt="1"/>
            <p:custDataLst>
              <p:tags r:id="rId4"/>
            </p:custDataLst>
          </p:nvPr>
        </p:nvSpPr>
        <p:spPr>
          <a:xfrm>
            <a:off x="463297" y="6121016"/>
            <a:ext cx="11273879" cy="241685"/>
          </a:xfrm>
        </p:spPr>
        <p:txBody>
          <a:bodyPr>
            <a:noAutofit/>
          </a:bodyPr>
          <a:lstStyle>
            <a:lvl1pPr rtl="0">
              <a:spcAft>
                <a:spcPts val="0"/>
              </a:spcAft>
              <a:defRPr sz="900"/>
            </a:lvl1pPr>
          </a:lstStyle>
          <a:p>
            <a:pPr lvl="0"/>
            <a:r>
              <a:rPr lang="de-DE"/>
              <a:t>Edit Master text styles</a:t>
            </a:r>
          </a:p>
        </p:txBody>
      </p:sp>
      <p:sp>
        <p:nvSpPr>
          <p:cNvPr id="10" name="Subtitle" hidden="1">
            <a:extLst>
              <a:ext uri="{FF2B5EF4-FFF2-40B4-BE49-F238E27FC236}">
                <a16:creationId xmlns:a16="http://schemas.microsoft.com/office/drawing/2014/main" id="{CD00439A-130B-4E04-85CB-DABD856B2FAA}"/>
              </a:ext>
            </a:extLst>
          </p:cNvPr>
          <p:cNvSpPr>
            <a:spLocks noGrp="1"/>
          </p:cNvSpPr>
          <p:nvPr>
            <p:ph type="body" sz="quarter" idx="13" hasCustomPrompt="1"/>
            <p:custDataLst>
              <p:tags r:id="rId5"/>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11" name="Title" hidden="1">
            <a:extLst>
              <a:ext uri="{FF2B5EF4-FFF2-40B4-BE49-F238E27FC236}">
                <a16:creationId xmlns:a16="http://schemas.microsoft.com/office/drawing/2014/main" id="{33B9B3F6-9F40-4388-9B79-8E0961AD2B9E}"/>
              </a:ext>
            </a:extLst>
          </p:cNvPr>
          <p:cNvSpPr>
            <a:spLocks noGrp="1"/>
          </p:cNvSpPr>
          <p:nvPr>
            <p:ph type="title" hasCustomPrompt="1"/>
            <p:custDataLst>
              <p:tags r:id="rId6"/>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
        <p:nvSpPr>
          <p:cNvPr id="13" name="Content left" hidden="1">
            <a:extLst>
              <a:ext uri="{FF2B5EF4-FFF2-40B4-BE49-F238E27FC236}">
                <a16:creationId xmlns:a16="http://schemas.microsoft.com/office/drawing/2014/main" id="{81AD6F48-ECFC-4B93-B043-AEA877E0937F}"/>
              </a:ext>
            </a:extLst>
          </p:cNvPr>
          <p:cNvSpPr>
            <a:spLocks noGrp="1"/>
          </p:cNvSpPr>
          <p:nvPr>
            <p:ph sz="quarter" idx="10" hasCustomPrompt="1"/>
            <p:custDataLst>
              <p:tags r:id="rId7"/>
            </p:custDataLst>
          </p:nvPr>
        </p:nvSpPr>
        <p:spPr>
          <a:xfrm>
            <a:off x="463296" y="1719073"/>
            <a:ext cx="5480304" cy="4401943"/>
          </a:xfrm>
          <a:prstGeom prst="rect">
            <a:avLst/>
          </a:prstGeom>
        </p:spPr>
        <p:txBody>
          <a:bodyPr>
            <a:noAutofit/>
          </a:bodyPr>
          <a:lstStyle>
            <a:lvl1pPr marL="0" indent="0" algn="l" rtl="0">
              <a:buFontTx/>
              <a:buNone/>
              <a:tabLst>
                <a:tab pos="3771900" algn="r"/>
              </a:tabLst>
              <a:defRPr sz="1200"/>
            </a:lvl1pPr>
            <a:lvl2pPr marL="104775" indent="-104775" algn="l" rtl="0">
              <a:buClrTx/>
              <a:buSzPct val="100000"/>
              <a:buFont typeface="Arial" panose="020B0604020202020204" pitchFamily="34" charset="0"/>
              <a:buChar char="•"/>
              <a:tabLst>
                <a:tab pos="3771900" algn="r"/>
              </a:tabLst>
              <a:defRPr sz="1200"/>
            </a:lvl2pPr>
            <a:lvl3pPr marL="228600" indent="-104775" algn="l" rtl="0">
              <a:buClrTx/>
              <a:buSzPct val="100000"/>
              <a:buFont typeface="Arial" panose="020B0604020202020204" pitchFamily="34" charset="0"/>
              <a:buChar char="−"/>
              <a:tabLst>
                <a:tab pos="3771900" algn="r"/>
              </a:tabLst>
              <a:defRPr sz="1200"/>
            </a:lvl3pPr>
            <a:lvl4pPr marL="352425" indent="-104775" algn="l" rtl="0">
              <a:buClrTx/>
              <a:buSzPct val="100000"/>
              <a:buFont typeface="Arial" panose="020B0604020202020204" pitchFamily="34" charset="0"/>
              <a:buChar char="◦"/>
              <a:tabLst>
                <a:tab pos="3771900" algn="r"/>
              </a:tabLst>
              <a:defRPr sz="1200"/>
            </a:lvl4pPr>
            <a:lvl5pPr marL="476250" indent="-104775" algn="l" rtl="0">
              <a:buClrTx/>
              <a:buSzPct val="100000"/>
              <a:buFont typeface="Arial" panose="020B0604020202020204" pitchFamily="34" charset="0"/>
              <a:buChar char="−"/>
              <a:tabLst>
                <a:tab pos="3771900" algn="r"/>
              </a:tabLst>
              <a:defRPr sz="1200" baseline="0"/>
            </a:lvl5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Tree>
    <p:extLst>
      <p:ext uri="{BB962C8B-B14F-4D97-AF65-F5344CB8AC3E}">
        <p14:creationId xmlns:p14="http://schemas.microsoft.com/office/powerpoint/2010/main" val="36845506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41860BE-F440-840C-4747-7A1295663F61}"/>
              </a:ext>
            </a:extLst>
          </p:cNvPr>
          <p:cNvGraphicFramePr>
            <a:graphicFrameLocks noChangeAspect="1"/>
          </p:cNvGraphicFramePr>
          <p:nvPr userDrawn="1">
            <p:custDataLst>
              <p:tags r:id="rId1"/>
            </p:custDataLst>
            <p:extLst>
              <p:ext uri="{D42A27DB-BD31-4B8C-83A1-F6EECF244321}">
                <p14:modId xmlns:p14="http://schemas.microsoft.com/office/powerpoint/2010/main" val="2495440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78" imgH="479" progId="TCLayout.ActiveDocument.1">
                  <p:embed/>
                </p:oleObj>
              </mc:Choice>
              <mc:Fallback>
                <p:oleObj name="think-cell Folie" r:id="rId10" imgW="478" imgH="479" progId="TCLayout.ActiveDocument.1">
                  <p:embed/>
                  <p:pic>
                    <p:nvPicPr>
                      <p:cNvPr id="3" name="think-cell data - do not delete" hidden="1">
                        <a:extLst>
                          <a:ext uri="{FF2B5EF4-FFF2-40B4-BE49-F238E27FC236}">
                            <a16:creationId xmlns:a16="http://schemas.microsoft.com/office/drawing/2014/main" id="{441860BE-F440-840C-4747-7A1295663F6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Chart Title right / Headline" hidden="1"/>
          <p:cNvSpPr>
            <a:spLocks noGrp="1"/>
          </p:cNvSpPr>
          <p:nvPr>
            <p:ph type="body" sz="quarter" idx="22" hasCustomPrompt="1"/>
            <p:custDataLst>
              <p:tags r:id="rId2"/>
            </p:custDataLst>
          </p:nvPr>
        </p:nvSpPr>
        <p:spPr>
          <a:xfrm>
            <a:off x="6254379" y="1719073"/>
            <a:ext cx="5486516" cy="405939"/>
          </a:xfrm>
        </p:spPr>
        <p:txBody>
          <a:bodyPr>
            <a:noAutofit/>
          </a:bodyPr>
          <a:lstStyle>
            <a:lvl1pPr rtl="0">
              <a:defRPr sz="1200"/>
            </a:lvl1pPr>
          </a:lstStyle>
          <a:p>
            <a:pPr lvl="0"/>
            <a:r>
              <a:rPr lang="de-DE" noProof="0"/>
              <a:t>Edit Master text styles</a:t>
            </a:r>
          </a:p>
        </p:txBody>
      </p:sp>
      <p:sp>
        <p:nvSpPr>
          <p:cNvPr id="15" name="Text bottom" hidden="1"/>
          <p:cNvSpPr>
            <a:spLocks noGrp="1"/>
          </p:cNvSpPr>
          <p:nvPr>
            <p:ph type="body" sz="quarter" idx="23" hasCustomPrompt="1"/>
            <p:custDataLst>
              <p:tags r:id="rId3"/>
            </p:custDataLst>
          </p:nvPr>
        </p:nvSpPr>
        <p:spPr>
          <a:xfrm>
            <a:off x="463297" y="6121016"/>
            <a:ext cx="11273879" cy="241685"/>
          </a:xfrm>
        </p:spPr>
        <p:txBody>
          <a:bodyPr>
            <a:noAutofit/>
          </a:bodyPr>
          <a:lstStyle>
            <a:lvl1pPr rtl="0">
              <a:spcAft>
                <a:spcPts val="0"/>
              </a:spcAft>
              <a:defRPr sz="900"/>
            </a:lvl1pPr>
          </a:lstStyle>
          <a:p>
            <a:pPr lvl="0"/>
            <a:r>
              <a:rPr lang="de-DE"/>
              <a:t>Edit Master text styles</a:t>
            </a:r>
          </a:p>
        </p:txBody>
      </p:sp>
      <p:sp>
        <p:nvSpPr>
          <p:cNvPr id="9" name="Chart Placeholder left" hidden="1"/>
          <p:cNvSpPr>
            <a:spLocks noGrp="1"/>
          </p:cNvSpPr>
          <p:nvPr>
            <p:ph type="chart" sz="quarter" idx="24"/>
            <p:custDataLst>
              <p:tags r:id="rId4"/>
            </p:custDataLst>
          </p:nvPr>
        </p:nvSpPr>
        <p:spPr>
          <a:xfrm>
            <a:off x="460271" y="2115775"/>
            <a:ext cx="5480304" cy="3996002"/>
          </a:xfrm>
        </p:spPr>
        <p:txBody>
          <a:bodyPr>
            <a:noAutofit/>
          </a:bodyPr>
          <a:lstStyle>
            <a:lvl1pPr rtl="0">
              <a:defRPr sz="1200"/>
            </a:lvl1pPr>
          </a:lstStyle>
          <a:p>
            <a:r>
              <a:rPr lang="de-DE"/>
              <a:t>Click icon to add chart</a:t>
            </a:r>
          </a:p>
        </p:txBody>
      </p:sp>
      <p:sp>
        <p:nvSpPr>
          <p:cNvPr id="12" name="Chart Title left / Headline" hidden="1"/>
          <p:cNvSpPr>
            <a:spLocks noGrp="1"/>
          </p:cNvSpPr>
          <p:nvPr>
            <p:ph type="body" sz="quarter" idx="25" hasCustomPrompt="1"/>
            <p:custDataLst>
              <p:tags r:id="rId5"/>
            </p:custDataLst>
          </p:nvPr>
        </p:nvSpPr>
        <p:spPr>
          <a:xfrm>
            <a:off x="463296" y="1719073"/>
            <a:ext cx="5480304" cy="405939"/>
          </a:xfrm>
        </p:spPr>
        <p:txBody>
          <a:bodyPr>
            <a:noAutofit/>
          </a:bodyPr>
          <a:lstStyle>
            <a:lvl1pPr rtl="0">
              <a:defRPr sz="1200"/>
            </a:lvl1pPr>
          </a:lstStyle>
          <a:p>
            <a:pPr lvl="0"/>
            <a:r>
              <a:rPr lang="de-DE" noProof="0"/>
              <a:t>Edit Master text styles</a:t>
            </a:r>
          </a:p>
        </p:txBody>
      </p:sp>
      <p:sp>
        <p:nvSpPr>
          <p:cNvPr id="11" name="Chart Placeholder right" hidden="1">
            <a:extLst>
              <a:ext uri="{FF2B5EF4-FFF2-40B4-BE49-F238E27FC236}">
                <a16:creationId xmlns:a16="http://schemas.microsoft.com/office/drawing/2014/main" id="{F1BD57FD-600D-430A-AB0C-89DFCC950E21}"/>
              </a:ext>
            </a:extLst>
          </p:cNvPr>
          <p:cNvSpPr>
            <a:spLocks noGrp="1"/>
          </p:cNvSpPr>
          <p:nvPr>
            <p:ph type="chart" sz="quarter" idx="26"/>
            <p:custDataLst>
              <p:tags r:id="rId6"/>
            </p:custDataLst>
          </p:nvPr>
        </p:nvSpPr>
        <p:spPr>
          <a:xfrm>
            <a:off x="6248403" y="2125011"/>
            <a:ext cx="5486397" cy="3996000"/>
          </a:xfrm>
        </p:spPr>
        <p:txBody>
          <a:bodyPr>
            <a:noAutofit/>
          </a:bodyPr>
          <a:lstStyle>
            <a:lvl1pPr rtl="0">
              <a:defRPr sz="1200"/>
            </a:lvl1pPr>
          </a:lstStyle>
          <a:p>
            <a:r>
              <a:rPr lang="de-DE"/>
              <a:t>Click icon to add chart</a:t>
            </a:r>
          </a:p>
        </p:txBody>
      </p:sp>
      <p:sp>
        <p:nvSpPr>
          <p:cNvPr id="13" name="Subtitle" hidden="1">
            <a:extLst>
              <a:ext uri="{FF2B5EF4-FFF2-40B4-BE49-F238E27FC236}">
                <a16:creationId xmlns:a16="http://schemas.microsoft.com/office/drawing/2014/main" id="{ACD26822-93FD-4865-A5E4-053695247E8C}"/>
              </a:ext>
            </a:extLst>
          </p:cNvPr>
          <p:cNvSpPr>
            <a:spLocks noGrp="1"/>
          </p:cNvSpPr>
          <p:nvPr>
            <p:ph type="body" sz="quarter" idx="13" hasCustomPrompt="1"/>
            <p:custDataLst>
              <p:tags r:id="rId7"/>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16" name="Title" hidden="1">
            <a:extLst>
              <a:ext uri="{FF2B5EF4-FFF2-40B4-BE49-F238E27FC236}">
                <a16:creationId xmlns:a16="http://schemas.microsoft.com/office/drawing/2014/main" id="{B7DE9340-98F1-4431-9CA2-BA6425441E81}"/>
              </a:ext>
            </a:extLst>
          </p:cNvPr>
          <p:cNvSpPr>
            <a:spLocks noGrp="1"/>
          </p:cNvSpPr>
          <p:nvPr>
            <p:ph type="title" hasCustomPrompt="1"/>
            <p:custDataLst>
              <p:tags r:id="rId8"/>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Tree>
    <p:extLst>
      <p:ext uri="{BB962C8B-B14F-4D97-AF65-F5344CB8AC3E}">
        <p14:creationId xmlns:p14="http://schemas.microsoft.com/office/powerpoint/2010/main" val="410352872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27288D-A727-3BC7-59DF-431568EEA8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96"/>
          <a:stretch/>
        </p:blipFill>
        <p:spPr>
          <a:xfrm>
            <a:off x="6717328" y="-1"/>
            <a:ext cx="5474672" cy="6858001"/>
          </a:xfrm>
          <a:prstGeom prst="rect">
            <a:avLst/>
          </a:prstGeom>
        </p:spPr>
      </p:pic>
      <p:sp>
        <p:nvSpPr>
          <p:cNvPr id="15" name="Text Placeholder 2">
            <a:extLst>
              <a:ext uri="{FF2B5EF4-FFF2-40B4-BE49-F238E27FC236}">
                <a16:creationId xmlns:a16="http://schemas.microsoft.com/office/drawing/2014/main" id="{6CB78E86-DBFE-1B4E-DA7E-4E7E984A7E76}"/>
              </a:ext>
            </a:extLst>
          </p:cNvPr>
          <p:cNvSpPr>
            <a:spLocks noGrp="1"/>
          </p:cNvSpPr>
          <p:nvPr>
            <p:ph type="body" idx="10" hasCustomPrompt="1"/>
          </p:nvPr>
        </p:nvSpPr>
        <p:spPr>
          <a:xfrm>
            <a:off x="619561" y="6085947"/>
            <a:ext cx="5256803" cy="378694"/>
          </a:xfrm>
        </p:spPr>
        <p:txBody>
          <a:bodyPr>
            <a:normAutofit/>
          </a:bodyPr>
          <a:lstStyle>
            <a:lvl1pPr marL="0" indent="0">
              <a:buNone/>
              <a:defRPr sz="18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3" name="Title 1">
            <a:extLst>
              <a:ext uri="{FF2B5EF4-FFF2-40B4-BE49-F238E27FC236}">
                <a16:creationId xmlns:a16="http://schemas.microsoft.com/office/drawing/2014/main" id="{58AA8579-E1D4-84AD-8BFF-9D00CF77D0F6}"/>
              </a:ext>
            </a:extLst>
          </p:cNvPr>
          <p:cNvSpPr>
            <a:spLocks noGrp="1"/>
          </p:cNvSpPr>
          <p:nvPr>
            <p:ph type="title" hasCustomPrompt="1"/>
          </p:nvPr>
        </p:nvSpPr>
        <p:spPr>
          <a:xfrm>
            <a:off x="596891" y="3489262"/>
            <a:ext cx="5079079" cy="1186041"/>
          </a:xfrm>
        </p:spPr>
        <p:txBody>
          <a:bodyPr anchor="b">
            <a:normAutofit/>
          </a:bodyPr>
          <a:lstStyle>
            <a:lvl1pPr>
              <a:defRPr sz="3200" b="1" i="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E4B4F40C-DA98-3CC3-01C4-34C620FF32DF}"/>
              </a:ext>
            </a:extLst>
          </p:cNvPr>
          <p:cNvSpPr>
            <a:spLocks noGrp="1"/>
          </p:cNvSpPr>
          <p:nvPr>
            <p:ph type="body" idx="1"/>
          </p:nvPr>
        </p:nvSpPr>
        <p:spPr>
          <a:xfrm>
            <a:off x="611874" y="4795478"/>
            <a:ext cx="5256803" cy="897110"/>
          </a:xfrm>
        </p:spPr>
        <p:txBody>
          <a:bodyPr>
            <a:normAutofit/>
          </a:bodyPr>
          <a:lstStyle>
            <a:lvl1pPr marL="0" indent="0">
              <a:buNone/>
              <a:defRPr sz="2800"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8481617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DF70BC-8003-8028-DCB5-4D535AE905EE}"/>
              </a:ext>
            </a:extLst>
          </p:cNvPr>
          <p:cNvGraphicFramePr>
            <a:graphicFrameLocks noChangeAspect="1"/>
          </p:cNvGraphicFramePr>
          <p:nvPr userDrawn="1">
            <p:custDataLst>
              <p:tags r:id="rId1"/>
            </p:custDataLst>
            <p:extLst>
              <p:ext uri="{D42A27DB-BD31-4B8C-83A1-F6EECF244321}">
                <p14:modId xmlns:p14="http://schemas.microsoft.com/office/powerpoint/2010/main" val="2396911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3" name="think-cell data - do not delete" hidden="1">
                        <a:extLst>
                          <a:ext uri="{FF2B5EF4-FFF2-40B4-BE49-F238E27FC236}">
                            <a16:creationId xmlns:a16="http://schemas.microsoft.com/office/drawing/2014/main" id="{78DF70BC-8003-8028-DCB5-4D535AE905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Content right" hidden="1"/>
          <p:cNvSpPr>
            <a:spLocks noGrp="1"/>
          </p:cNvSpPr>
          <p:nvPr>
            <p:ph sz="quarter" idx="16" hasCustomPrompt="1"/>
            <p:custDataLst>
              <p:tags r:id="rId2"/>
            </p:custDataLst>
          </p:nvPr>
        </p:nvSpPr>
        <p:spPr>
          <a:xfrm>
            <a:off x="5450349" y="1718455"/>
            <a:ext cx="6290545" cy="4716463"/>
          </a:xfrm>
          <a:prstGeom prst="rect">
            <a:avLst/>
          </a:prstGeom>
        </p:spPr>
        <p:txBody>
          <a:bodyPr>
            <a:noAutofit/>
          </a:bodyPr>
          <a:lstStyle>
            <a:lvl1pPr marL="0" indent="0" algn="l" rtl="0">
              <a:buFontTx/>
              <a:buNone/>
              <a:tabLst>
                <a:tab pos="3771900" algn="r"/>
              </a:tabLst>
              <a:defRPr sz="1200"/>
            </a:lvl1pPr>
            <a:lvl2pPr marL="104775" indent="-104775" algn="l" rtl="0">
              <a:buClrTx/>
              <a:buSzPct val="100000"/>
              <a:buFont typeface="Arial" panose="020B0604020202020204" pitchFamily="34" charset="0"/>
              <a:buChar char="•"/>
              <a:tabLst>
                <a:tab pos="3771900" algn="r"/>
              </a:tabLst>
              <a:defRPr sz="1200"/>
            </a:lvl2pPr>
            <a:lvl3pPr marL="228600" indent="-104775" algn="l" rtl="0">
              <a:buClrTx/>
              <a:buSzPct val="100000"/>
              <a:buFont typeface="Arial" panose="020B0604020202020204" pitchFamily="34" charset="0"/>
              <a:buChar char="−"/>
              <a:tabLst>
                <a:tab pos="3771900" algn="r"/>
              </a:tabLst>
              <a:defRPr sz="1200"/>
            </a:lvl3pPr>
            <a:lvl4pPr marL="352425" indent="-104775" algn="l" rtl="0">
              <a:buClrTx/>
              <a:buSzPct val="100000"/>
              <a:buFont typeface="Arial" panose="020B0604020202020204" pitchFamily="34" charset="0"/>
              <a:buChar char="◦"/>
              <a:tabLst>
                <a:tab pos="3771900" algn="r"/>
              </a:tabLst>
              <a:defRPr sz="1200"/>
            </a:lvl4pPr>
            <a:lvl5pPr marL="476250" indent="-104775" algn="l" rtl="0">
              <a:buClrTx/>
              <a:buSzPct val="100000"/>
              <a:buFont typeface="Arial" panose="020B0604020202020204" pitchFamily="34" charset="0"/>
              <a:buChar char="−"/>
              <a:tabLst>
                <a:tab pos="3771900" algn="r"/>
              </a:tabLst>
              <a:defRPr sz="1200" baseline="0"/>
            </a:lvl5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7" name="Subtitle" hidden="1">
            <a:extLst>
              <a:ext uri="{FF2B5EF4-FFF2-40B4-BE49-F238E27FC236}">
                <a16:creationId xmlns:a16="http://schemas.microsoft.com/office/drawing/2014/main" id="{834EAC11-4B6F-4989-ADAB-DCA27D91F556}"/>
              </a:ext>
            </a:extLst>
          </p:cNvPr>
          <p:cNvSpPr>
            <a:spLocks noGrp="1"/>
          </p:cNvSpPr>
          <p:nvPr>
            <p:ph type="body" sz="quarter" idx="13" hasCustomPrompt="1"/>
            <p:custDataLst>
              <p:tags r:id="rId3"/>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9" name="Title" hidden="1">
            <a:extLst>
              <a:ext uri="{FF2B5EF4-FFF2-40B4-BE49-F238E27FC236}">
                <a16:creationId xmlns:a16="http://schemas.microsoft.com/office/drawing/2014/main" id="{615E83D0-63FA-4C06-8888-31EF80337E8A}"/>
              </a:ext>
            </a:extLst>
          </p:cNvPr>
          <p:cNvSpPr>
            <a:spLocks noGrp="1"/>
          </p:cNvSpPr>
          <p:nvPr>
            <p:ph type="title" hasCustomPrompt="1"/>
            <p:custDataLst>
              <p:tags r:id="rId4"/>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
        <p:nvSpPr>
          <p:cNvPr id="12" name="Content left" hidden="1">
            <a:extLst>
              <a:ext uri="{FF2B5EF4-FFF2-40B4-BE49-F238E27FC236}">
                <a16:creationId xmlns:a16="http://schemas.microsoft.com/office/drawing/2014/main" id="{593F994E-D5B3-4236-9E8D-771F764DB8E8}"/>
              </a:ext>
            </a:extLst>
          </p:cNvPr>
          <p:cNvSpPr>
            <a:spLocks noGrp="1"/>
          </p:cNvSpPr>
          <p:nvPr>
            <p:ph sz="quarter" idx="10" hasCustomPrompt="1"/>
            <p:custDataLst>
              <p:tags r:id="rId5"/>
            </p:custDataLst>
          </p:nvPr>
        </p:nvSpPr>
        <p:spPr>
          <a:xfrm>
            <a:off x="463296" y="1714500"/>
            <a:ext cx="4413504" cy="4648200"/>
          </a:xfrm>
          <a:prstGeom prst="rect">
            <a:avLst/>
          </a:prstGeom>
        </p:spPr>
        <p:txBody>
          <a:bodyPr>
            <a:noAutofit/>
          </a:bodyPr>
          <a:lstStyle>
            <a:lvl1pPr marL="0" indent="0" algn="l" rtl="0">
              <a:buFontTx/>
              <a:buNone/>
              <a:tabLst>
                <a:tab pos="3771900" algn="r"/>
              </a:tabLst>
              <a:defRPr sz="1200">
                <a:latin typeface="+mn-lt"/>
              </a:defRPr>
            </a:lvl1pPr>
            <a:lvl2pPr marL="104775" indent="-104775" algn="l" rtl="0">
              <a:buClrTx/>
              <a:buSzPct val="100000"/>
              <a:buFont typeface="Arial" panose="020B0604020202020204" pitchFamily="34" charset="0"/>
              <a:buChar char="•"/>
              <a:tabLst>
                <a:tab pos="3771900" algn="r"/>
              </a:tabLst>
              <a:defRPr sz="1200">
                <a:latin typeface="+mj-lt"/>
              </a:defRPr>
            </a:lvl2pPr>
            <a:lvl3pPr marL="228600" indent="-104775" algn="l" rtl="0">
              <a:buClrTx/>
              <a:buSzPct val="100000"/>
              <a:buFont typeface="Arial" panose="020B0604020202020204" pitchFamily="34" charset="0"/>
              <a:buChar char="−"/>
              <a:tabLst>
                <a:tab pos="3771900" algn="r"/>
              </a:tabLst>
              <a:defRPr sz="1200">
                <a:latin typeface="+mn-lt"/>
              </a:defRPr>
            </a:lvl3pPr>
            <a:lvl4pPr marL="352425" indent="-104775" algn="l" rtl="0">
              <a:buClrTx/>
              <a:buSzPct val="100000"/>
              <a:buFont typeface="Arial" panose="020B0604020202020204" pitchFamily="34" charset="0"/>
              <a:buChar char="◦"/>
              <a:tabLst>
                <a:tab pos="3771900" algn="r"/>
              </a:tabLst>
              <a:defRPr sz="1200">
                <a:latin typeface="+mn-lt"/>
              </a:defRPr>
            </a:lvl4pPr>
            <a:lvl5pPr marL="476250" indent="-104775" algn="l" rtl="0">
              <a:buClrTx/>
              <a:buSzPct val="100000"/>
              <a:buFont typeface="Arial" panose="020B0604020202020204" pitchFamily="34" charset="0"/>
              <a:buChar char="−"/>
              <a:tabLst>
                <a:tab pos="3771900" algn="r"/>
              </a:tabLst>
              <a:defRPr sz="1200" baseline="0">
                <a:latin typeface="+mn-lt"/>
              </a:defRPr>
            </a:lvl5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Tree>
    <p:extLst>
      <p:ext uri="{BB962C8B-B14F-4D97-AF65-F5344CB8AC3E}">
        <p14:creationId xmlns:p14="http://schemas.microsoft.com/office/powerpoint/2010/main" val="21961565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80E0A54-A14F-3573-7BEB-64FBB21EE1E3}"/>
              </a:ext>
            </a:extLst>
          </p:cNvPr>
          <p:cNvGraphicFramePr>
            <a:graphicFrameLocks noChangeAspect="1"/>
          </p:cNvGraphicFramePr>
          <p:nvPr userDrawn="1">
            <p:custDataLst>
              <p:tags r:id="rId1"/>
            </p:custDataLst>
            <p:extLst>
              <p:ext uri="{D42A27DB-BD31-4B8C-83A1-F6EECF244321}">
                <p14:modId xmlns:p14="http://schemas.microsoft.com/office/powerpoint/2010/main" val="4164103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78" imgH="479" progId="TCLayout.ActiveDocument.1">
                  <p:embed/>
                </p:oleObj>
              </mc:Choice>
              <mc:Fallback>
                <p:oleObj name="think-cell Folie" r:id="rId7" imgW="478" imgH="479" progId="TCLayout.ActiveDocument.1">
                  <p:embed/>
                  <p:pic>
                    <p:nvPicPr>
                      <p:cNvPr id="3" name="think-cell data - do not delete" hidden="1">
                        <a:extLst>
                          <a:ext uri="{FF2B5EF4-FFF2-40B4-BE49-F238E27FC236}">
                            <a16:creationId xmlns:a16="http://schemas.microsoft.com/office/drawing/2014/main" id="{580E0A54-A14F-3573-7BEB-64FBB21EE1E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Content Right" hidden="1"/>
          <p:cNvSpPr>
            <a:spLocks noGrp="1"/>
          </p:cNvSpPr>
          <p:nvPr>
            <p:ph sz="quarter" idx="10" hasCustomPrompt="1"/>
            <p:custDataLst>
              <p:tags r:id="rId2"/>
            </p:custDataLst>
          </p:nvPr>
        </p:nvSpPr>
        <p:spPr>
          <a:xfrm>
            <a:off x="8192978" y="1737504"/>
            <a:ext cx="3547917" cy="4644248"/>
          </a:xfrm>
          <a:prstGeom prst="rect">
            <a:avLst/>
          </a:prstGeom>
        </p:spPr>
        <p:txBody>
          <a:bodyPr>
            <a:noAutofit/>
          </a:bodyPr>
          <a:lstStyle>
            <a:lvl1pPr rtl="0">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de-DE" noProof="0"/>
              <a:t>Edit Master text styles</a:t>
            </a:r>
          </a:p>
        </p:txBody>
      </p:sp>
      <p:sp>
        <p:nvSpPr>
          <p:cNvPr id="8" name="Content Left" hidden="1"/>
          <p:cNvSpPr>
            <a:spLocks noGrp="1"/>
          </p:cNvSpPr>
          <p:nvPr>
            <p:ph sz="quarter" idx="16" hasCustomPrompt="1"/>
            <p:custDataLst>
              <p:tags r:id="rId3"/>
            </p:custDataLst>
          </p:nvPr>
        </p:nvSpPr>
        <p:spPr>
          <a:xfrm>
            <a:off x="473296" y="1718454"/>
            <a:ext cx="7400704" cy="4644247"/>
          </a:xfrm>
          <a:prstGeom prst="rect">
            <a:avLst/>
          </a:prstGeom>
        </p:spPr>
        <p:txBody>
          <a:bodyPr>
            <a:noAutofit/>
          </a:bodyPr>
          <a:lstStyle>
            <a:lvl1pPr marL="0" indent="0" algn="l" rtl="0">
              <a:buFontTx/>
              <a:buNone/>
              <a:tabLst>
                <a:tab pos="3771900" algn="r"/>
              </a:tabLst>
              <a:defRPr sz="1200"/>
            </a:lvl1pPr>
            <a:lvl2pPr marL="104775" indent="-104775" algn="l" rtl="0">
              <a:buClrTx/>
              <a:buSzPct val="100000"/>
              <a:buFont typeface="Arial" panose="020B0604020202020204" pitchFamily="34" charset="0"/>
              <a:buChar char="•"/>
              <a:tabLst>
                <a:tab pos="3771900" algn="r"/>
              </a:tabLst>
              <a:defRPr sz="1200"/>
            </a:lvl2pPr>
            <a:lvl3pPr marL="228600" indent="-104775" algn="l" rtl="0">
              <a:buClrTx/>
              <a:buSzPct val="100000"/>
              <a:buFont typeface="Arial" panose="020B0604020202020204" pitchFamily="34" charset="0"/>
              <a:buChar char="−"/>
              <a:tabLst>
                <a:tab pos="3771900" algn="r"/>
              </a:tabLst>
              <a:defRPr sz="1200"/>
            </a:lvl3pPr>
            <a:lvl4pPr marL="352425" indent="-104775" algn="l" rtl="0">
              <a:buClrTx/>
              <a:buSzPct val="100000"/>
              <a:buFont typeface="Arial" panose="020B0604020202020204" pitchFamily="34" charset="0"/>
              <a:buChar char="◦"/>
              <a:tabLst>
                <a:tab pos="3771900" algn="r"/>
              </a:tabLst>
              <a:defRPr sz="1200"/>
            </a:lvl4pPr>
            <a:lvl5pPr marL="476250" indent="-104775" algn="l" rtl="0">
              <a:buClrTx/>
              <a:buSzPct val="100000"/>
              <a:buFont typeface="Arial" panose="020B0604020202020204" pitchFamily="34" charset="0"/>
              <a:buChar char="−"/>
              <a:tabLst>
                <a:tab pos="3771900" algn="r"/>
              </a:tabLst>
              <a:defRPr sz="1200" baseline="0"/>
            </a:lvl5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7" name="Subtitle" hidden="1">
            <a:extLst>
              <a:ext uri="{FF2B5EF4-FFF2-40B4-BE49-F238E27FC236}">
                <a16:creationId xmlns:a16="http://schemas.microsoft.com/office/drawing/2014/main" id="{D58FC9CF-4F37-4309-BF5F-E64AE49426F2}"/>
              </a:ext>
            </a:extLst>
          </p:cNvPr>
          <p:cNvSpPr>
            <a:spLocks noGrp="1"/>
          </p:cNvSpPr>
          <p:nvPr>
            <p:ph type="body" sz="quarter" idx="13" hasCustomPrompt="1"/>
            <p:custDataLst>
              <p:tags r:id="rId4"/>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9" name="Title" hidden="1">
            <a:extLst>
              <a:ext uri="{FF2B5EF4-FFF2-40B4-BE49-F238E27FC236}">
                <a16:creationId xmlns:a16="http://schemas.microsoft.com/office/drawing/2014/main" id="{6999054A-E358-4B12-B841-DE440A68D9B1}"/>
              </a:ext>
            </a:extLst>
          </p:cNvPr>
          <p:cNvSpPr>
            <a:spLocks noGrp="1"/>
          </p:cNvSpPr>
          <p:nvPr>
            <p:ph type="title" hasCustomPrompt="1"/>
            <p:custDataLst>
              <p:tags r:id="rId5"/>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Tree>
    <p:extLst>
      <p:ext uri="{BB962C8B-B14F-4D97-AF65-F5344CB8AC3E}">
        <p14:creationId xmlns:p14="http://schemas.microsoft.com/office/powerpoint/2010/main" val="165413854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6FBA68-1035-77B4-920D-7954355D7551}"/>
              </a:ext>
            </a:extLst>
          </p:cNvPr>
          <p:cNvGraphicFramePr>
            <a:graphicFrameLocks noChangeAspect="1"/>
          </p:cNvGraphicFramePr>
          <p:nvPr userDrawn="1">
            <p:custDataLst>
              <p:tags r:id="rId1"/>
            </p:custDataLst>
            <p:extLst>
              <p:ext uri="{D42A27DB-BD31-4B8C-83A1-F6EECF244321}">
                <p14:modId xmlns:p14="http://schemas.microsoft.com/office/powerpoint/2010/main" val="2440083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478" imgH="479" progId="TCLayout.ActiveDocument.1">
                  <p:embed/>
                </p:oleObj>
              </mc:Choice>
              <mc:Fallback>
                <p:oleObj name="think-cell Folie" r:id="rId12" imgW="478" imgH="479" progId="TCLayout.ActiveDocument.1">
                  <p:embed/>
                  <p:pic>
                    <p:nvPicPr>
                      <p:cNvPr id="3" name="think-cell data - do not delete" hidden="1">
                        <a:extLst>
                          <a:ext uri="{FF2B5EF4-FFF2-40B4-BE49-F238E27FC236}">
                            <a16:creationId xmlns:a16="http://schemas.microsoft.com/office/drawing/2014/main" id="{026FBA68-1035-77B4-920D-7954355D755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7" name="Chart Placeholder left" hidden="1"/>
          <p:cNvSpPr>
            <a:spLocks noGrp="1"/>
          </p:cNvSpPr>
          <p:nvPr>
            <p:ph type="chart" sz="quarter" idx="15"/>
            <p:custDataLst>
              <p:tags r:id="rId2"/>
            </p:custDataLst>
          </p:nvPr>
        </p:nvSpPr>
        <p:spPr>
          <a:xfrm>
            <a:off x="461468" y="2115797"/>
            <a:ext cx="3549549" cy="4005216"/>
          </a:xfrm>
          <a:prstGeom prst="rect">
            <a:avLst/>
          </a:prstGeom>
        </p:spPr>
        <p:txBody>
          <a:bodyPr>
            <a:noAutofit/>
          </a:bodyPr>
          <a:lstStyle>
            <a:lvl1pPr rtl="0">
              <a:defRPr sz="1200"/>
            </a:lvl1pPr>
          </a:lstStyle>
          <a:p>
            <a:r>
              <a:rPr lang="de-DE" noProof="0"/>
              <a:t>Click icon to add chart</a:t>
            </a:r>
          </a:p>
        </p:txBody>
      </p:sp>
      <p:sp>
        <p:nvSpPr>
          <p:cNvPr id="18" name="Chart Title left / Headline" hidden="1"/>
          <p:cNvSpPr>
            <a:spLocks noGrp="1"/>
          </p:cNvSpPr>
          <p:nvPr>
            <p:ph type="body" sz="quarter" idx="18" hasCustomPrompt="1"/>
            <p:custDataLst>
              <p:tags r:id="rId3"/>
            </p:custDataLst>
          </p:nvPr>
        </p:nvSpPr>
        <p:spPr>
          <a:xfrm>
            <a:off x="459119" y="1722943"/>
            <a:ext cx="3549549" cy="392112"/>
          </a:xfrm>
        </p:spPr>
        <p:txBody>
          <a:bodyPr>
            <a:noAutofit/>
          </a:bodyPr>
          <a:lstStyle>
            <a:lvl1pPr rtl="0">
              <a:defRPr sz="1200"/>
            </a:lvl1pPr>
          </a:lstStyle>
          <a:p>
            <a:pPr lvl="0"/>
            <a:r>
              <a:rPr lang="de-DE" noProof="0"/>
              <a:t>Edit Master text styles</a:t>
            </a:r>
          </a:p>
        </p:txBody>
      </p:sp>
      <p:sp>
        <p:nvSpPr>
          <p:cNvPr id="12" name="Text bottom" hidden="1"/>
          <p:cNvSpPr>
            <a:spLocks noGrp="1"/>
          </p:cNvSpPr>
          <p:nvPr>
            <p:ph type="body" sz="quarter" idx="23" hasCustomPrompt="1"/>
            <p:custDataLst>
              <p:tags r:id="rId4"/>
            </p:custDataLst>
          </p:nvPr>
        </p:nvSpPr>
        <p:spPr>
          <a:xfrm>
            <a:off x="463297" y="6121016"/>
            <a:ext cx="11273879" cy="241685"/>
          </a:xfrm>
        </p:spPr>
        <p:txBody>
          <a:bodyPr>
            <a:noAutofit/>
          </a:bodyPr>
          <a:lstStyle>
            <a:lvl1pPr rtl="0">
              <a:spcAft>
                <a:spcPts val="0"/>
              </a:spcAft>
              <a:defRPr sz="900"/>
            </a:lvl1pPr>
          </a:lstStyle>
          <a:p>
            <a:pPr lvl="0"/>
            <a:r>
              <a:rPr lang="de-DE" noProof="0"/>
              <a:t>Edit Master text styles</a:t>
            </a:r>
          </a:p>
        </p:txBody>
      </p:sp>
      <p:sp>
        <p:nvSpPr>
          <p:cNvPr id="19" name="Chart Placeholder center" hidden="1">
            <a:extLst>
              <a:ext uri="{FF2B5EF4-FFF2-40B4-BE49-F238E27FC236}">
                <a16:creationId xmlns:a16="http://schemas.microsoft.com/office/drawing/2014/main" id="{16889619-7368-4B21-B502-003FD717C954}"/>
              </a:ext>
            </a:extLst>
          </p:cNvPr>
          <p:cNvSpPr>
            <a:spLocks noGrp="1"/>
          </p:cNvSpPr>
          <p:nvPr>
            <p:ph type="chart" sz="quarter" idx="24"/>
            <p:custDataLst>
              <p:tags r:id="rId5"/>
            </p:custDataLst>
          </p:nvPr>
        </p:nvSpPr>
        <p:spPr>
          <a:xfrm>
            <a:off x="4323575" y="2115798"/>
            <a:ext cx="3549549" cy="4005216"/>
          </a:xfrm>
          <a:prstGeom prst="rect">
            <a:avLst/>
          </a:prstGeom>
        </p:spPr>
        <p:txBody>
          <a:bodyPr>
            <a:noAutofit/>
          </a:bodyPr>
          <a:lstStyle>
            <a:lvl1pPr rtl="0">
              <a:defRPr sz="1200"/>
            </a:lvl1pPr>
          </a:lstStyle>
          <a:p>
            <a:r>
              <a:rPr lang="de-DE" noProof="0"/>
              <a:t>Click icon to add chart</a:t>
            </a:r>
          </a:p>
        </p:txBody>
      </p:sp>
      <p:sp>
        <p:nvSpPr>
          <p:cNvPr id="20" name="Chart Title center / Headline" hidden="1">
            <a:extLst>
              <a:ext uri="{FF2B5EF4-FFF2-40B4-BE49-F238E27FC236}">
                <a16:creationId xmlns:a16="http://schemas.microsoft.com/office/drawing/2014/main" id="{7536B633-26E6-47E5-A809-A97D26199C41}"/>
              </a:ext>
            </a:extLst>
          </p:cNvPr>
          <p:cNvSpPr>
            <a:spLocks noGrp="1"/>
          </p:cNvSpPr>
          <p:nvPr>
            <p:ph type="body" sz="quarter" idx="25" hasCustomPrompt="1"/>
            <p:custDataLst>
              <p:tags r:id="rId6"/>
            </p:custDataLst>
          </p:nvPr>
        </p:nvSpPr>
        <p:spPr>
          <a:xfrm>
            <a:off x="4321226" y="1722944"/>
            <a:ext cx="3549549" cy="392112"/>
          </a:xfrm>
        </p:spPr>
        <p:txBody>
          <a:bodyPr>
            <a:noAutofit/>
          </a:bodyPr>
          <a:lstStyle>
            <a:lvl1pPr rtl="0">
              <a:defRPr sz="1200"/>
            </a:lvl1pPr>
          </a:lstStyle>
          <a:p>
            <a:pPr lvl="0"/>
            <a:r>
              <a:rPr lang="de-DE" noProof="0"/>
              <a:t>Edit Master text styles</a:t>
            </a:r>
          </a:p>
        </p:txBody>
      </p:sp>
      <p:sp>
        <p:nvSpPr>
          <p:cNvPr id="21" name="Chart Placeholder right" hidden="1">
            <a:extLst>
              <a:ext uri="{FF2B5EF4-FFF2-40B4-BE49-F238E27FC236}">
                <a16:creationId xmlns:a16="http://schemas.microsoft.com/office/drawing/2014/main" id="{B4691CB5-FF7F-4DAF-80B3-769541086497}"/>
              </a:ext>
            </a:extLst>
          </p:cNvPr>
          <p:cNvSpPr>
            <a:spLocks noGrp="1"/>
          </p:cNvSpPr>
          <p:nvPr>
            <p:ph type="chart" sz="quarter" idx="26"/>
            <p:custDataLst>
              <p:tags r:id="rId7"/>
            </p:custDataLst>
          </p:nvPr>
        </p:nvSpPr>
        <p:spPr>
          <a:xfrm>
            <a:off x="8193695" y="2115798"/>
            <a:ext cx="3549549" cy="4005216"/>
          </a:xfrm>
          <a:prstGeom prst="rect">
            <a:avLst/>
          </a:prstGeom>
        </p:spPr>
        <p:txBody>
          <a:bodyPr>
            <a:noAutofit/>
          </a:bodyPr>
          <a:lstStyle>
            <a:lvl1pPr rtl="0">
              <a:defRPr sz="1200"/>
            </a:lvl1pPr>
          </a:lstStyle>
          <a:p>
            <a:r>
              <a:rPr lang="de-DE" noProof="0"/>
              <a:t>Click icon to add chart</a:t>
            </a:r>
          </a:p>
        </p:txBody>
      </p:sp>
      <p:sp>
        <p:nvSpPr>
          <p:cNvPr id="22" name="Chart Title right / Headline" hidden="1">
            <a:extLst>
              <a:ext uri="{FF2B5EF4-FFF2-40B4-BE49-F238E27FC236}">
                <a16:creationId xmlns:a16="http://schemas.microsoft.com/office/drawing/2014/main" id="{D8875204-BB59-4C5F-ABB1-D0ECEC5A0701}"/>
              </a:ext>
            </a:extLst>
          </p:cNvPr>
          <p:cNvSpPr>
            <a:spLocks noGrp="1"/>
          </p:cNvSpPr>
          <p:nvPr>
            <p:ph type="body" sz="quarter" idx="27" hasCustomPrompt="1"/>
            <p:custDataLst>
              <p:tags r:id="rId8"/>
            </p:custDataLst>
          </p:nvPr>
        </p:nvSpPr>
        <p:spPr>
          <a:xfrm>
            <a:off x="8191346" y="1722944"/>
            <a:ext cx="3549549" cy="392112"/>
          </a:xfrm>
        </p:spPr>
        <p:txBody>
          <a:bodyPr>
            <a:noAutofit/>
          </a:bodyPr>
          <a:lstStyle>
            <a:lvl1pPr rtl="0">
              <a:defRPr sz="1200"/>
            </a:lvl1pPr>
          </a:lstStyle>
          <a:p>
            <a:pPr lvl="0"/>
            <a:r>
              <a:rPr lang="de-DE" noProof="0"/>
              <a:t>Edit Master text styles</a:t>
            </a:r>
          </a:p>
        </p:txBody>
      </p:sp>
      <p:sp>
        <p:nvSpPr>
          <p:cNvPr id="23" name="Subtitle" hidden="1">
            <a:extLst>
              <a:ext uri="{FF2B5EF4-FFF2-40B4-BE49-F238E27FC236}">
                <a16:creationId xmlns:a16="http://schemas.microsoft.com/office/drawing/2014/main" id="{272C8D47-97C8-4E6F-91CC-C3AB406C1C26}"/>
              </a:ext>
            </a:extLst>
          </p:cNvPr>
          <p:cNvSpPr>
            <a:spLocks noGrp="1"/>
          </p:cNvSpPr>
          <p:nvPr>
            <p:ph type="body" sz="quarter" idx="13" hasCustomPrompt="1"/>
            <p:custDataLst>
              <p:tags r:id="rId9"/>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24" name="Title" hidden="1">
            <a:extLst>
              <a:ext uri="{FF2B5EF4-FFF2-40B4-BE49-F238E27FC236}">
                <a16:creationId xmlns:a16="http://schemas.microsoft.com/office/drawing/2014/main" id="{D65F0445-032D-4E6A-83EC-59A2184ED5F6}"/>
              </a:ext>
            </a:extLst>
          </p:cNvPr>
          <p:cNvSpPr>
            <a:spLocks noGrp="1"/>
          </p:cNvSpPr>
          <p:nvPr>
            <p:ph type="title" hasCustomPrompt="1"/>
            <p:custDataLst>
              <p:tags r:id="rId10"/>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Tree>
    <p:extLst>
      <p:ext uri="{BB962C8B-B14F-4D97-AF65-F5344CB8AC3E}">
        <p14:creationId xmlns:p14="http://schemas.microsoft.com/office/powerpoint/2010/main" val="320241861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8C7720C-0960-D68B-499E-CE0F12516592}"/>
              </a:ext>
            </a:extLst>
          </p:cNvPr>
          <p:cNvGraphicFramePr>
            <a:graphicFrameLocks noChangeAspect="1"/>
          </p:cNvGraphicFramePr>
          <p:nvPr userDrawn="1">
            <p:custDataLst>
              <p:tags r:id="rId1"/>
            </p:custDataLst>
            <p:extLst>
              <p:ext uri="{D42A27DB-BD31-4B8C-83A1-F6EECF244321}">
                <p14:modId xmlns:p14="http://schemas.microsoft.com/office/powerpoint/2010/main" val="2030199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478" imgH="479" progId="TCLayout.ActiveDocument.1">
                  <p:embed/>
                </p:oleObj>
              </mc:Choice>
              <mc:Fallback>
                <p:oleObj name="think-cell Folie" r:id="rId13" imgW="478" imgH="479" progId="TCLayout.ActiveDocument.1">
                  <p:embed/>
                  <p:pic>
                    <p:nvPicPr>
                      <p:cNvPr id="3" name="think-cell data - do not delete" hidden="1">
                        <a:extLst>
                          <a:ext uri="{FF2B5EF4-FFF2-40B4-BE49-F238E27FC236}">
                            <a16:creationId xmlns:a16="http://schemas.microsoft.com/office/drawing/2014/main" id="{A8C7720C-0960-D68B-499E-CE0F1251659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Picture Placeholder 1" hidden="1"/>
          <p:cNvSpPr>
            <a:spLocks noGrp="1"/>
          </p:cNvSpPr>
          <p:nvPr>
            <p:ph type="pic" sz="quarter" idx="13"/>
            <p:custDataLst>
              <p:tags r:id="rId2"/>
            </p:custDataLst>
          </p:nvPr>
        </p:nvSpPr>
        <p:spPr>
          <a:xfrm>
            <a:off x="481764" y="1727251"/>
            <a:ext cx="2712000" cy="1260000"/>
          </a:xfrm>
        </p:spPr>
        <p:txBody>
          <a:bodyPr lIns="0" tIns="0" rIns="0" bIns="0">
            <a:noAutofit/>
          </a:bodyPr>
          <a:lstStyle>
            <a:lvl1pPr rtl="0">
              <a:defRPr sz="1200"/>
            </a:lvl1pPr>
          </a:lstStyle>
          <a:p>
            <a:r>
              <a:rPr lang="de-DE" noProof="0"/>
              <a:t>Click icon to add picture</a:t>
            </a:r>
          </a:p>
        </p:txBody>
      </p:sp>
      <p:sp>
        <p:nvSpPr>
          <p:cNvPr id="5" name="Picture Placeholder 2" hidden="1"/>
          <p:cNvSpPr>
            <a:spLocks noGrp="1"/>
          </p:cNvSpPr>
          <p:nvPr>
            <p:ph type="pic" sz="quarter" idx="14"/>
            <p:custDataLst>
              <p:tags r:id="rId3"/>
            </p:custDataLst>
          </p:nvPr>
        </p:nvSpPr>
        <p:spPr>
          <a:xfrm>
            <a:off x="3330040" y="1727251"/>
            <a:ext cx="2712000" cy="1260000"/>
          </a:xfrm>
        </p:spPr>
        <p:txBody>
          <a:bodyPr lIns="0" tIns="0" rIns="0" bIns="0">
            <a:noAutofit/>
          </a:bodyPr>
          <a:lstStyle>
            <a:lvl1pPr rtl="0">
              <a:defRPr sz="1200"/>
            </a:lvl1pPr>
          </a:lstStyle>
          <a:p>
            <a:r>
              <a:rPr lang="de-DE" noProof="0"/>
              <a:t>Click icon to add picture</a:t>
            </a:r>
          </a:p>
        </p:txBody>
      </p:sp>
      <p:sp>
        <p:nvSpPr>
          <p:cNvPr id="6" name="Picture Placeholder 3" hidden="1"/>
          <p:cNvSpPr>
            <a:spLocks noGrp="1"/>
          </p:cNvSpPr>
          <p:nvPr>
            <p:ph type="pic" sz="quarter" idx="15"/>
            <p:custDataLst>
              <p:tags r:id="rId4"/>
            </p:custDataLst>
          </p:nvPr>
        </p:nvSpPr>
        <p:spPr>
          <a:xfrm>
            <a:off x="6171687" y="1727251"/>
            <a:ext cx="2712000" cy="1260000"/>
          </a:xfrm>
        </p:spPr>
        <p:txBody>
          <a:bodyPr lIns="0" tIns="0" rIns="0" bIns="0">
            <a:noAutofit/>
          </a:bodyPr>
          <a:lstStyle>
            <a:lvl1pPr rtl="0">
              <a:defRPr sz="1200"/>
            </a:lvl1pPr>
          </a:lstStyle>
          <a:p>
            <a:r>
              <a:rPr lang="de-DE" noProof="0"/>
              <a:t>Click icon to add picture</a:t>
            </a:r>
          </a:p>
        </p:txBody>
      </p:sp>
      <p:sp>
        <p:nvSpPr>
          <p:cNvPr id="7" name="Picture Placeholder 4" hidden="1"/>
          <p:cNvSpPr>
            <a:spLocks noGrp="1"/>
          </p:cNvSpPr>
          <p:nvPr>
            <p:ph type="pic" sz="quarter" idx="16"/>
            <p:custDataLst>
              <p:tags r:id="rId5"/>
            </p:custDataLst>
          </p:nvPr>
        </p:nvSpPr>
        <p:spPr>
          <a:xfrm>
            <a:off x="9020883" y="1727251"/>
            <a:ext cx="2712000" cy="1260000"/>
          </a:xfrm>
        </p:spPr>
        <p:txBody>
          <a:bodyPr lIns="0" tIns="0" rIns="0" bIns="0">
            <a:noAutofit/>
          </a:bodyPr>
          <a:lstStyle>
            <a:lvl1pPr rtl="0">
              <a:defRPr sz="1200"/>
            </a:lvl1pPr>
          </a:lstStyle>
          <a:p>
            <a:r>
              <a:rPr lang="de-DE" noProof="0"/>
              <a:t>Click icon to add picture</a:t>
            </a:r>
          </a:p>
        </p:txBody>
      </p:sp>
      <p:sp>
        <p:nvSpPr>
          <p:cNvPr id="9" name="Text bottom left" hidden="1"/>
          <p:cNvSpPr>
            <a:spLocks noGrp="1"/>
          </p:cNvSpPr>
          <p:nvPr>
            <p:ph type="body" sz="quarter" idx="17" hasCustomPrompt="1"/>
            <p:custDataLst>
              <p:tags r:id="rId6"/>
            </p:custDataLst>
          </p:nvPr>
        </p:nvSpPr>
        <p:spPr>
          <a:xfrm>
            <a:off x="473297" y="3124200"/>
            <a:ext cx="2720468" cy="3238500"/>
          </a:xfrm>
        </p:spPr>
        <p:txBody>
          <a:bodyPr>
            <a:noAutofit/>
          </a:bodyPr>
          <a:lstStyle>
            <a:lvl1pPr marL="0" indent="0" algn="l" rtl="0">
              <a:buFontTx/>
              <a:buNone/>
              <a:defRPr sz="1200" b="1">
                <a:solidFill>
                  <a:schemeClr val="accent1"/>
                </a:solidFill>
              </a:defRPr>
            </a:lvl1pPr>
            <a:lvl2pPr marL="104775" indent="-104775" algn="l" rtl="0">
              <a:spcAft>
                <a:spcPts val="0"/>
              </a:spcAft>
              <a:buClrTx/>
              <a:buSzPct val="100000"/>
              <a:buFont typeface="Arial" panose="020B0604020202020204" pitchFamily="34" charset="0"/>
              <a:buChar char="•"/>
              <a:defRPr sz="1200"/>
            </a:lvl2pPr>
            <a:lvl3pPr marL="228600" indent="-104775" algn="l" rtl="0">
              <a:spcAft>
                <a:spcPts val="0"/>
              </a:spcAft>
              <a:buClrTx/>
              <a:buSzPct val="100000"/>
              <a:buFont typeface="Arial" panose="020B0604020202020204" pitchFamily="34" charset="0"/>
              <a:buChar char="−"/>
              <a:defRPr sz="1200"/>
            </a:lvl3pPr>
            <a:lvl4pPr marL="352425" indent="-104775" algn="l" rtl="0">
              <a:spcAft>
                <a:spcPts val="0"/>
              </a:spcAft>
              <a:buClrTx/>
              <a:buSzPct val="100000"/>
              <a:buFont typeface="Arial" panose="020B0604020202020204" pitchFamily="34" charset="0"/>
              <a:buChar char="◦"/>
              <a:defRPr sz="1200"/>
            </a:lvl4pPr>
            <a:lvl5pPr marL="476250" indent="-104775" algn="l" rtl="0">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0" name="Text bottom center left" hidden="1"/>
          <p:cNvSpPr>
            <a:spLocks noGrp="1"/>
          </p:cNvSpPr>
          <p:nvPr>
            <p:ph type="body" sz="quarter" idx="18" hasCustomPrompt="1"/>
            <p:custDataLst>
              <p:tags r:id="rId7"/>
            </p:custDataLst>
          </p:nvPr>
        </p:nvSpPr>
        <p:spPr>
          <a:xfrm>
            <a:off x="6171687" y="3120553"/>
            <a:ext cx="2712000" cy="3238500"/>
          </a:xfrm>
        </p:spPr>
        <p:txBody>
          <a:bodyPr>
            <a:noAutofit/>
          </a:bodyPr>
          <a:lstStyle>
            <a:lvl1pPr marL="0" indent="0" algn="l" rtl="0">
              <a:buFontTx/>
              <a:buNone/>
              <a:defRPr sz="1200" b="1">
                <a:solidFill>
                  <a:schemeClr val="accent1"/>
                </a:solidFill>
              </a:defRPr>
            </a:lvl1pPr>
            <a:lvl2pPr marL="104775" indent="-104775" algn="l" rtl="0">
              <a:spcAft>
                <a:spcPts val="0"/>
              </a:spcAft>
              <a:buClrTx/>
              <a:buSzPct val="100000"/>
              <a:buFont typeface="Arial" panose="020B0604020202020204" pitchFamily="34" charset="0"/>
              <a:buChar char="•"/>
              <a:defRPr sz="1200"/>
            </a:lvl2pPr>
            <a:lvl3pPr marL="228600" indent="-104775" algn="l" rtl="0">
              <a:spcAft>
                <a:spcPts val="0"/>
              </a:spcAft>
              <a:buClrTx/>
              <a:buSzPct val="100000"/>
              <a:buFont typeface="Arial" panose="020B0604020202020204" pitchFamily="34" charset="0"/>
              <a:buChar char="−"/>
              <a:defRPr sz="1200"/>
            </a:lvl3pPr>
            <a:lvl4pPr marL="352425" indent="-104775" algn="l" rtl="0">
              <a:spcAft>
                <a:spcPts val="0"/>
              </a:spcAft>
              <a:buClrTx/>
              <a:buSzPct val="100000"/>
              <a:buFont typeface="Arial" panose="020B0604020202020204" pitchFamily="34" charset="0"/>
              <a:buChar char="◦"/>
              <a:defRPr sz="1200"/>
            </a:lvl4pPr>
            <a:lvl5pPr marL="476250" indent="-104775" algn="l" rtl="0">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1" name="Text bottom center right" hidden="1"/>
          <p:cNvSpPr>
            <a:spLocks noGrp="1"/>
          </p:cNvSpPr>
          <p:nvPr>
            <p:ph type="body" sz="quarter" idx="19" hasCustomPrompt="1"/>
            <p:custDataLst>
              <p:tags r:id="rId8"/>
            </p:custDataLst>
          </p:nvPr>
        </p:nvSpPr>
        <p:spPr>
          <a:xfrm>
            <a:off x="3330040" y="3124202"/>
            <a:ext cx="2712000" cy="3238499"/>
          </a:xfrm>
        </p:spPr>
        <p:txBody>
          <a:bodyPr>
            <a:noAutofit/>
          </a:bodyPr>
          <a:lstStyle>
            <a:lvl1pPr marL="0" indent="0" algn="l" rtl="0">
              <a:buFontTx/>
              <a:buNone/>
              <a:defRPr sz="1200" b="1">
                <a:solidFill>
                  <a:schemeClr val="accent1"/>
                </a:solidFill>
              </a:defRPr>
            </a:lvl1pPr>
            <a:lvl2pPr marL="104775" indent="-104775" algn="l" rtl="0">
              <a:spcAft>
                <a:spcPts val="0"/>
              </a:spcAft>
              <a:buClrTx/>
              <a:buSzPct val="100000"/>
              <a:buFont typeface="Arial" panose="020B0604020202020204" pitchFamily="34" charset="0"/>
              <a:buChar char="•"/>
              <a:defRPr sz="1200"/>
            </a:lvl2pPr>
            <a:lvl3pPr marL="228600" indent="-104775" algn="l" rtl="0">
              <a:spcAft>
                <a:spcPts val="0"/>
              </a:spcAft>
              <a:buClrTx/>
              <a:buSzPct val="100000"/>
              <a:buFont typeface="Arial" panose="020B0604020202020204" pitchFamily="34" charset="0"/>
              <a:buChar char="−"/>
              <a:defRPr sz="1200"/>
            </a:lvl3pPr>
            <a:lvl4pPr marL="352425" indent="-104775" algn="l" rtl="0">
              <a:spcAft>
                <a:spcPts val="0"/>
              </a:spcAft>
              <a:buClrTx/>
              <a:buSzPct val="100000"/>
              <a:buFont typeface="Arial" panose="020B0604020202020204" pitchFamily="34" charset="0"/>
              <a:buChar char="◦"/>
              <a:defRPr sz="1200"/>
            </a:lvl4pPr>
            <a:lvl5pPr marL="476250" indent="-104775" algn="l" rtl="0">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2" name="Text bottom right" hidden="1"/>
          <p:cNvSpPr>
            <a:spLocks noGrp="1"/>
          </p:cNvSpPr>
          <p:nvPr>
            <p:ph type="body" sz="quarter" idx="20" hasCustomPrompt="1"/>
            <p:custDataLst>
              <p:tags r:id="rId9"/>
            </p:custDataLst>
          </p:nvPr>
        </p:nvSpPr>
        <p:spPr>
          <a:xfrm>
            <a:off x="9035701" y="3108508"/>
            <a:ext cx="2697183" cy="3254192"/>
          </a:xfrm>
        </p:spPr>
        <p:txBody>
          <a:bodyPr>
            <a:noAutofit/>
          </a:bodyPr>
          <a:lstStyle>
            <a:lvl1pPr marL="0" indent="0" algn="l" rtl="0">
              <a:buFontTx/>
              <a:buNone/>
              <a:defRPr sz="1200" b="1">
                <a:solidFill>
                  <a:schemeClr val="accent1"/>
                </a:solidFill>
              </a:defRPr>
            </a:lvl1pPr>
            <a:lvl2pPr marL="104775" indent="-104775" algn="l" rtl="0">
              <a:spcAft>
                <a:spcPts val="0"/>
              </a:spcAft>
              <a:buClrTx/>
              <a:buSzPct val="100000"/>
              <a:buFont typeface="Arial" panose="020B0604020202020204" pitchFamily="34" charset="0"/>
              <a:buChar char="•"/>
              <a:defRPr sz="1200"/>
            </a:lvl2pPr>
            <a:lvl3pPr marL="228600" indent="-104775" algn="l" rtl="0">
              <a:spcAft>
                <a:spcPts val="0"/>
              </a:spcAft>
              <a:buClrTx/>
              <a:buSzPct val="100000"/>
              <a:buFont typeface="Arial" panose="020B0604020202020204" pitchFamily="34" charset="0"/>
              <a:buChar char="−"/>
              <a:defRPr sz="1200"/>
            </a:lvl3pPr>
            <a:lvl4pPr marL="352425" indent="-104775" algn="l" rtl="0">
              <a:spcAft>
                <a:spcPts val="0"/>
              </a:spcAft>
              <a:buClrTx/>
              <a:buSzPct val="100000"/>
              <a:buFont typeface="Arial" panose="020B0604020202020204" pitchFamily="34" charset="0"/>
              <a:buChar char="◦"/>
              <a:defRPr sz="1200"/>
            </a:lvl4pPr>
            <a:lvl5pPr marL="476250" indent="-104775" algn="l" rtl="0">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3" name="Subtitle" hidden="1">
            <a:extLst>
              <a:ext uri="{FF2B5EF4-FFF2-40B4-BE49-F238E27FC236}">
                <a16:creationId xmlns:a16="http://schemas.microsoft.com/office/drawing/2014/main" id="{81DFAED1-3C69-4431-8715-026D730F1B57}"/>
              </a:ext>
            </a:extLst>
          </p:cNvPr>
          <p:cNvSpPr>
            <a:spLocks noGrp="1"/>
          </p:cNvSpPr>
          <p:nvPr>
            <p:ph type="body" sz="quarter" idx="21" hasCustomPrompt="1"/>
            <p:custDataLst>
              <p:tags r:id="rId10"/>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14" name="Title" hidden="1">
            <a:extLst>
              <a:ext uri="{FF2B5EF4-FFF2-40B4-BE49-F238E27FC236}">
                <a16:creationId xmlns:a16="http://schemas.microsoft.com/office/drawing/2014/main" id="{548C662B-0462-4963-B666-2976F675A1BD}"/>
              </a:ext>
            </a:extLst>
          </p:cNvPr>
          <p:cNvSpPr>
            <a:spLocks noGrp="1"/>
          </p:cNvSpPr>
          <p:nvPr>
            <p:ph type="title" hasCustomPrompt="1"/>
            <p:custDataLst>
              <p:tags r:id="rId11"/>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Tree>
    <p:extLst>
      <p:ext uri="{BB962C8B-B14F-4D97-AF65-F5344CB8AC3E}">
        <p14:creationId xmlns:p14="http://schemas.microsoft.com/office/powerpoint/2010/main" val="336556334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5437E8-A07E-AD29-C79D-3AA06AC1CF73}"/>
              </a:ext>
            </a:extLst>
          </p:cNvPr>
          <p:cNvGraphicFramePr>
            <a:graphicFrameLocks noChangeAspect="1"/>
          </p:cNvGraphicFramePr>
          <p:nvPr userDrawn="1">
            <p:custDataLst>
              <p:tags r:id="rId1"/>
            </p:custDataLst>
            <p:extLst>
              <p:ext uri="{D42A27DB-BD31-4B8C-83A1-F6EECF244321}">
                <p14:modId xmlns:p14="http://schemas.microsoft.com/office/powerpoint/2010/main" val="3878585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478" imgH="479" progId="TCLayout.ActiveDocument.1">
                  <p:embed/>
                </p:oleObj>
              </mc:Choice>
              <mc:Fallback>
                <p:oleObj name="think-cell Folie" r:id="rId17" imgW="478" imgH="479" progId="TCLayout.ActiveDocument.1">
                  <p:embed/>
                  <p:pic>
                    <p:nvPicPr>
                      <p:cNvPr id="3" name="think-cell data - do not delete" hidden="1">
                        <a:extLst>
                          <a:ext uri="{FF2B5EF4-FFF2-40B4-BE49-F238E27FC236}">
                            <a16:creationId xmlns:a16="http://schemas.microsoft.com/office/drawing/2014/main" id="{735437E8-A07E-AD29-C79D-3AA06AC1CF7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 name="Picture Placeholder 1" hidden="1"/>
          <p:cNvSpPr>
            <a:spLocks noGrp="1"/>
          </p:cNvSpPr>
          <p:nvPr>
            <p:ph type="pic" sz="quarter" idx="25"/>
            <p:custDataLst>
              <p:tags r:id="rId2"/>
            </p:custDataLst>
          </p:nvPr>
        </p:nvSpPr>
        <p:spPr>
          <a:xfrm>
            <a:off x="475645" y="1845377"/>
            <a:ext cx="1968000" cy="1476000"/>
          </a:xfrm>
        </p:spPr>
        <p:txBody>
          <a:bodyPr>
            <a:normAutofit/>
          </a:bodyPr>
          <a:lstStyle>
            <a:lvl1pPr algn="ctr" rtl="0">
              <a:defRPr sz="1200"/>
            </a:lvl1pPr>
          </a:lstStyle>
          <a:p>
            <a:r>
              <a:rPr lang="de-DE"/>
              <a:t>Click icon to add picture</a:t>
            </a:r>
          </a:p>
        </p:txBody>
      </p:sp>
      <p:sp>
        <p:nvSpPr>
          <p:cNvPr id="9" name="Picture Placeholder 2" hidden="1"/>
          <p:cNvSpPr>
            <a:spLocks noGrp="1"/>
          </p:cNvSpPr>
          <p:nvPr>
            <p:ph type="pic" sz="quarter" idx="27"/>
            <p:custDataLst>
              <p:tags r:id="rId3"/>
            </p:custDataLst>
          </p:nvPr>
        </p:nvSpPr>
        <p:spPr>
          <a:xfrm>
            <a:off x="6266617" y="1845377"/>
            <a:ext cx="1968000" cy="1476000"/>
          </a:xfrm>
        </p:spPr>
        <p:txBody>
          <a:bodyPr>
            <a:normAutofit/>
          </a:bodyPr>
          <a:lstStyle>
            <a:lvl1pPr algn="ctr" rtl="0">
              <a:defRPr sz="1200"/>
            </a:lvl1pPr>
          </a:lstStyle>
          <a:p>
            <a:r>
              <a:rPr lang="de-DE"/>
              <a:t>Click icon to add picture</a:t>
            </a:r>
          </a:p>
        </p:txBody>
      </p:sp>
      <p:sp>
        <p:nvSpPr>
          <p:cNvPr id="10" name="Picture Placeholder 3" hidden="1"/>
          <p:cNvSpPr>
            <a:spLocks noGrp="1"/>
          </p:cNvSpPr>
          <p:nvPr>
            <p:ph type="pic" sz="quarter" idx="29"/>
            <p:custDataLst>
              <p:tags r:id="rId4"/>
            </p:custDataLst>
          </p:nvPr>
        </p:nvSpPr>
        <p:spPr>
          <a:xfrm>
            <a:off x="475645" y="4256213"/>
            <a:ext cx="1968000" cy="1476000"/>
          </a:xfrm>
        </p:spPr>
        <p:txBody>
          <a:bodyPr>
            <a:normAutofit/>
          </a:bodyPr>
          <a:lstStyle>
            <a:lvl1pPr algn="ctr" rtl="0">
              <a:defRPr sz="1200"/>
            </a:lvl1pPr>
          </a:lstStyle>
          <a:p>
            <a:r>
              <a:rPr lang="de-DE"/>
              <a:t>Click icon to add picture</a:t>
            </a:r>
          </a:p>
        </p:txBody>
      </p:sp>
      <p:sp>
        <p:nvSpPr>
          <p:cNvPr id="11" name="Picture Placeholder 4" hidden="1"/>
          <p:cNvSpPr>
            <a:spLocks noGrp="1"/>
          </p:cNvSpPr>
          <p:nvPr>
            <p:ph type="pic" sz="quarter" idx="31"/>
            <p:custDataLst>
              <p:tags r:id="rId5"/>
            </p:custDataLst>
          </p:nvPr>
        </p:nvSpPr>
        <p:spPr>
          <a:xfrm>
            <a:off x="6266617" y="4256213"/>
            <a:ext cx="1968000" cy="1476000"/>
          </a:xfrm>
        </p:spPr>
        <p:txBody>
          <a:bodyPr>
            <a:normAutofit/>
          </a:bodyPr>
          <a:lstStyle>
            <a:lvl1pPr algn="ctr" rtl="0">
              <a:defRPr sz="1200"/>
            </a:lvl1pPr>
          </a:lstStyle>
          <a:p>
            <a:r>
              <a:rPr lang="de-DE"/>
              <a:t>Click icon to add picture</a:t>
            </a:r>
          </a:p>
        </p:txBody>
      </p:sp>
      <p:sp>
        <p:nvSpPr>
          <p:cNvPr id="13" name="Text upper left" hidden="1"/>
          <p:cNvSpPr>
            <a:spLocks noGrp="1"/>
          </p:cNvSpPr>
          <p:nvPr>
            <p:ph type="body" sz="quarter" idx="32" hasCustomPrompt="1"/>
            <p:custDataLst>
              <p:tags r:id="rId6"/>
            </p:custDataLst>
          </p:nvPr>
        </p:nvSpPr>
        <p:spPr>
          <a:xfrm>
            <a:off x="2655128" y="1845377"/>
            <a:ext cx="3288000" cy="1944000"/>
          </a:xfrm>
        </p:spPr>
        <p:txBody>
          <a:bodyPr>
            <a:noAutofit/>
          </a:bodyPr>
          <a:lstStyle>
            <a:lvl1pPr marL="0" indent="0" algn="l" rtl="0">
              <a:spcAft>
                <a:spcPts val="0"/>
              </a:spcAft>
              <a:buFontTx/>
              <a:buNone/>
              <a:defRPr sz="1200" b="1"/>
            </a:lvl1pPr>
            <a:lvl2pPr marL="104775" indent="-104775" algn="l" rtl="0">
              <a:spcAft>
                <a:spcPts val="0"/>
              </a:spcAft>
              <a:buClrTx/>
              <a:buSzPct val="100000"/>
              <a:buFont typeface="Arial" panose="020B0604020202020204" pitchFamily="34" charset="0"/>
              <a:buChar char="•"/>
              <a:defRPr sz="1200" b="0"/>
            </a:lvl2pPr>
          </a:lstStyle>
          <a:p>
            <a:pPr lvl="0"/>
            <a:r>
              <a:rPr lang="de-DE"/>
              <a:t>Edit Master text styles</a:t>
            </a:r>
          </a:p>
          <a:p>
            <a:pPr lvl="1"/>
            <a:r>
              <a:rPr lang="de-DE"/>
              <a:t>Second level</a:t>
            </a:r>
          </a:p>
        </p:txBody>
      </p:sp>
      <p:sp>
        <p:nvSpPr>
          <p:cNvPr id="14" name="Text upper right" hidden="1"/>
          <p:cNvSpPr>
            <a:spLocks noGrp="1"/>
          </p:cNvSpPr>
          <p:nvPr>
            <p:ph type="body" sz="quarter" idx="33" hasCustomPrompt="1"/>
            <p:custDataLst>
              <p:tags r:id="rId7"/>
            </p:custDataLst>
          </p:nvPr>
        </p:nvSpPr>
        <p:spPr>
          <a:xfrm>
            <a:off x="8439092" y="1845377"/>
            <a:ext cx="3302592" cy="1944000"/>
          </a:xfrm>
        </p:spPr>
        <p:txBody>
          <a:bodyPr>
            <a:noAutofit/>
          </a:bodyPr>
          <a:lstStyle>
            <a:lvl1pPr marL="0" indent="0" algn="l" rtl="0">
              <a:spcAft>
                <a:spcPts val="0"/>
              </a:spcAft>
              <a:buFontTx/>
              <a:buNone/>
              <a:defRPr sz="1200" b="1"/>
            </a:lvl1pPr>
            <a:lvl2pPr marL="104775" indent="-104775" algn="l" rtl="0">
              <a:spcAft>
                <a:spcPts val="0"/>
              </a:spcAft>
              <a:buClrTx/>
              <a:buSzPct val="100000"/>
              <a:buFont typeface="Arial" panose="020B0604020202020204" pitchFamily="34" charset="0"/>
              <a:buChar char="•"/>
              <a:defRPr sz="1200" b="0"/>
            </a:lvl2pPr>
          </a:lstStyle>
          <a:p>
            <a:pPr lvl="0"/>
            <a:r>
              <a:rPr lang="de-DE"/>
              <a:t>Edit Master text styles</a:t>
            </a:r>
          </a:p>
          <a:p>
            <a:pPr lvl="1"/>
            <a:r>
              <a:rPr lang="de-DE"/>
              <a:t>Second level</a:t>
            </a:r>
          </a:p>
        </p:txBody>
      </p:sp>
      <p:sp>
        <p:nvSpPr>
          <p:cNvPr id="15" name="Text bottom left" hidden="1"/>
          <p:cNvSpPr>
            <a:spLocks noGrp="1"/>
          </p:cNvSpPr>
          <p:nvPr>
            <p:ph type="body" sz="quarter" idx="34" hasCustomPrompt="1"/>
            <p:custDataLst>
              <p:tags r:id="rId8"/>
            </p:custDataLst>
          </p:nvPr>
        </p:nvSpPr>
        <p:spPr>
          <a:xfrm>
            <a:off x="2655128" y="4256213"/>
            <a:ext cx="3288000" cy="1944000"/>
          </a:xfrm>
        </p:spPr>
        <p:txBody>
          <a:bodyPr>
            <a:noAutofit/>
          </a:bodyPr>
          <a:lstStyle>
            <a:lvl1pPr marL="0" indent="0" algn="l" rtl="0">
              <a:spcAft>
                <a:spcPts val="0"/>
              </a:spcAft>
              <a:buFontTx/>
              <a:buNone/>
              <a:defRPr sz="1200" b="1"/>
            </a:lvl1pPr>
            <a:lvl2pPr marL="104775" indent="-104775" algn="l" rtl="0">
              <a:spcAft>
                <a:spcPts val="0"/>
              </a:spcAft>
              <a:buClrTx/>
              <a:buSzPct val="100000"/>
              <a:buFont typeface="Arial" panose="020B0604020202020204" pitchFamily="34" charset="0"/>
              <a:buChar char="•"/>
              <a:defRPr sz="1200" b="0"/>
            </a:lvl2pPr>
          </a:lstStyle>
          <a:p>
            <a:pPr lvl="0"/>
            <a:r>
              <a:rPr lang="de-DE"/>
              <a:t>Edit Master text styles</a:t>
            </a:r>
          </a:p>
          <a:p>
            <a:pPr lvl="1"/>
            <a:r>
              <a:rPr lang="de-DE"/>
              <a:t>Second level</a:t>
            </a:r>
          </a:p>
        </p:txBody>
      </p:sp>
      <p:sp>
        <p:nvSpPr>
          <p:cNvPr id="16" name="Text bottom right" hidden="1"/>
          <p:cNvSpPr>
            <a:spLocks noGrp="1"/>
          </p:cNvSpPr>
          <p:nvPr>
            <p:ph type="body" sz="quarter" idx="35" hasCustomPrompt="1"/>
            <p:custDataLst>
              <p:tags r:id="rId9"/>
            </p:custDataLst>
          </p:nvPr>
        </p:nvSpPr>
        <p:spPr>
          <a:xfrm>
            <a:off x="8439092" y="4256213"/>
            <a:ext cx="3302592" cy="1944000"/>
          </a:xfrm>
        </p:spPr>
        <p:txBody>
          <a:bodyPr>
            <a:noAutofit/>
          </a:bodyPr>
          <a:lstStyle>
            <a:lvl1pPr marL="0" indent="0" algn="l" rtl="0">
              <a:spcAft>
                <a:spcPts val="0"/>
              </a:spcAft>
              <a:buFontTx/>
              <a:buNone/>
              <a:defRPr sz="1200" b="1"/>
            </a:lvl1pPr>
            <a:lvl2pPr marL="104775" indent="-104775" algn="l" rtl="0">
              <a:spcAft>
                <a:spcPts val="0"/>
              </a:spcAft>
              <a:buClrTx/>
              <a:buSzPct val="100000"/>
              <a:buFont typeface="Arial" panose="020B0604020202020204" pitchFamily="34" charset="0"/>
              <a:buChar char="•"/>
              <a:defRPr sz="1200" b="0"/>
            </a:lvl2pPr>
          </a:lstStyle>
          <a:p>
            <a:pPr lvl="0"/>
            <a:r>
              <a:rPr lang="de-DE"/>
              <a:t>Edit Master text styles</a:t>
            </a:r>
          </a:p>
          <a:p>
            <a:pPr lvl="1"/>
            <a:r>
              <a:rPr lang="de-DE"/>
              <a:t>Second level</a:t>
            </a:r>
          </a:p>
        </p:txBody>
      </p:sp>
      <p:sp>
        <p:nvSpPr>
          <p:cNvPr id="28" name="Subtitle" hidden="1">
            <a:extLst>
              <a:ext uri="{FF2B5EF4-FFF2-40B4-BE49-F238E27FC236}">
                <a16:creationId xmlns:a16="http://schemas.microsoft.com/office/drawing/2014/main" id="{CD54EF50-1F75-4251-9838-5413705270C9}"/>
              </a:ext>
            </a:extLst>
          </p:cNvPr>
          <p:cNvSpPr>
            <a:spLocks noGrp="1"/>
          </p:cNvSpPr>
          <p:nvPr>
            <p:ph type="body" sz="quarter" idx="21" hasCustomPrompt="1"/>
            <p:custDataLst>
              <p:tags r:id="rId10"/>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29" name="Title" hidden="1">
            <a:extLst>
              <a:ext uri="{FF2B5EF4-FFF2-40B4-BE49-F238E27FC236}">
                <a16:creationId xmlns:a16="http://schemas.microsoft.com/office/drawing/2014/main" id="{580152B0-65C5-4969-BA13-FFC077318B84}"/>
              </a:ext>
            </a:extLst>
          </p:cNvPr>
          <p:cNvSpPr>
            <a:spLocks noGrp="1"/>
          </p:cNvSpPr>
          <p:nvPr>
            <p:ph type="title" hasCustomPrompt="1"/>
            <p:custDataLst>
              <p:tags r:id="rId11"/>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
        <p:nvSpPr>
          <p:cNvPr id="30" name="Rectangle 29" hidden="1">
            <a:extLst>
              <a:ext uri="{FF2B5EF4-FFF2-40B4-BE49-F238E27FC236}">
                <a16:creationId xmlns:a16="http://schemas.microsoft.com/office/drawing/2014/main" id="{5DAFD084-463A-44C6-B882-24EE18CC2B98}"/>
              </a:ext>
            </a:extLst>
          </p:cNvPr>
          <p:cNvSpPr/>
          <p:nvPr>
            <p:custDataLst>
              <p:tags r:id="rId12"/>
            </p:custDataLst>
          </p:nvPr>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
        <p:nvSpPr>
          <p:cNvPr id="31" name="Rectangle 30" hidden="1">
            <a:extLst>
              <a:ext uri="{FF2B5EF4-FFF2-40B4-BE49-F238E27FC236}">
                <a16:creationId xmlns:a16="http://schemas.microsoft.com/office/drawing/2014/main" id="{21E7FDC9-AC67-4CA4-86DE-4DFAAEE0DFF9}"/>
              </a:ext>
            </a:extLst>
          </p:cNvPr>
          <p:cNvSpPr/>
          <p:nvPr>
            <p:custDataLst>
              <p:tags r:id="rId13"/>
            </p:custDataLst>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
        <p:nvSpPr>
          <p:cNvPr id="32" name="Rectangle 31" hidden="1">
            <a:extLst>
              <a:ext uri="{FF2B5EF4-FFF2-40B4-BE49-F238E27FC236}">
                <a16:creationId xmlns:a16="http://schemas.microsoft.com/office/drawing/2014/main" id="{E0BFD11F-868A-4204-947B-D205C842DFE0}"/>
              </a:ext>
            </a:extLst>
          </p:cNvPr>
          <p:cNvSpPr/>
          <p:nvPr>
            <p:custDataLst>
              <p:tags r:id="rId14"/>
            </p:custDataLst>
          </p:nvPr>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
        <p:nvSpPr>
          <p:cNvPr id="33" name="Rectangle 32" hidden="1">
            <a:extLst>
              <a:ext uri="{FF2B5EF4-FFF2-40B4-BE49-F238E27FC236}">
                <a16:creationId xmlns:a16="http://schemas.microsoft.com/office/drawing/2014/main" id="{DCD1FA4C-A499-4E17-B3FC-CC3DA6E8CF7C}"/>
              </a:ext>
            </a:extLst>
          </p:cNvPr>
          <p:cNvSpPr/>
          <p:nvPr>
            <p:custDataLst>
              <p:tags r:id="rId15"/>
            </p:custDataLst>
          </p:nvPr>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Tree>
    <p:extLst>
      <p:ext uri="{BB962C8B-B14F-4D97-AF65-F5344CB8AC3E}">
        <p14:creationId xmlns:p14="http://schemas.microsoft.com/office/powerpoint/2010/main" val="110373183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E4A46F-E384-E2AD-950A-9292A389D36B}"/>
              </a:ext>
            </a:extLst>
          </p:cNvPr>
          <p:cNvGraphicFramePr>
            <a:graphicFrameLocks noChangeAspect="1"/>
          </p:cNvGraphicFramePr>
          <p:nvPr userDrawn="1">
            <p:custDataLst>
              <p:tags r:id="rId1"/>
            </p:custDataLst>
            <p:extLst>
              <p:ext uri="{D42A27DB-BD31-4B8C-83A1-F6EECF244321}">
                <p14:modId xmlns:p14="http://schemas.microsoft.com/office/powerpoint/2010/main" val="2655526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478" imgH="479" progId="TCLayout.ActiveDocument.1">
                  <p:embed/>
                </p:oleObj>
              </mc:Choice>
              <mc:Fallback>
                <p:oleObj name="think-cell Folie" r:id="rId11" imgW="478" imgH="479" progId="TCLayout.ActiveDocument.1">
                  <p:embed/>
                  <p:pic>
                    <p:nvPicPr>
                      <p:cNvPr id="3" name="think-cell data - do not delete" hidden="1">
                        <a:extLst>
                          <a:ext uri="{FF2B5EF4-FFF2-40B4-BE49-F238E27FC236}">
                            <a16:creationId xmlns:a16="http://schemas.microsoft.com/office/drawing/2014/main" id="{86E4A46F-E384-E2AD-950A-9292A389D36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Text left" hidden="1"/>
          <p:cNvSpPr>
            <a:spLocks noGrp="1"/>
          </p:cNvSpPr>
          <p:nvPr>
            <p:ph type="body" sz="quarter" idx="17" hasCustomPrompt="1"/>
            <p:custDataLst>
              <p:tags r:id="rId2"/>
            </p:custDataLst>
          </p:nvPr>
        </p:nvSpPr>
        <p:spPr>
          <a:xfrm>
            <a:off x="470343" y="1857892"/>
            <a:ext cx="5486400" cy="4504808"/>
          </a:xfrm>
        </p:spPr>
        <p:txBody>
          <a:bodyPr>
            <a:noAutofit/>
          </a:bodyPr>
          <a:lstStyle>
            <a:lvl1pPr marL="0" indent="0" algn="l" rtl="0">
              <a:spcAft>
                <a:spcPts val="750"/>
              </a:spcAft>
              <a:buFontTx/>
              <a:buNone/>
              <a:defRPr sz="1200" b="1">
                <a:solidFill>
                  <a:schemeClr val="accent1"/>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9" name="Text right" hidden="1"/>
          <p:cNvSpPr>
            <a:spLocks noGrp="1"/>
          </p:cNvSpPr>
          <p:nvPr>
            <p:ph type="body" sz="quarter" idx="21" hasCustomPrompt="1"/>
            <p:custDataLst>
              <p:tags r:id="rId3"/>
            </p:custDataLst>
          </p:nvPr>
        </p:nvSpPr>
        <p:spPr>
          <a:xfrm>
            <a:off x="6246195" y="1857892"/>
            <a:ext cx="5486400" cy="4504808"/>
          </a:xfrm>
        </p:spPr>
        <p:txBody>
          <a:bodyPr>
            <a:noAutofit/>
          </a:bodyPr>
          <a:lstStyle>
            <a:lvl1pPr marL="0" indent="0" algn="l" rtl="0">
              <a:spcAft>
                <a:spcPts val="750"/>
              </a:spcAft>
              <a:buFontTx/>
              <a:buNone/>
              <a:defRPr sz="1200" b="1">
                <a:solidFill>
                  <a:schemeClr val="accent1"/>
                </a:solidFill>
              </a:defRPr>
            </a:lvl1pPr>
            <a:lvl2pPr marL="104775" indent="-104775" algn="l" rtl="0">
              <a:spcAft>
                <a:spcPts val="750"/>
              </a:spcAft>
              <a:buClrTx/>
              <a:buSzPct val="100000"/>
              <a:buFont typeface="Arial" panose="020B0604020202020204" pitchFamily="34" charset="0"/>
              <a:buChar char="•"/>
              <a:defRPr sz="1200"/>
            </a:lvl2pPr>
            <a:lvl3pPr marL="228600" indent="-104775" algn="l" rtl="0">
              <a:spcAft>
                <a:spcPts val="750"/>
              </a:spcAft>
              <a:buClrTx/>
              <a:buSzPct val="100000"/>
              <a:buFont typeface="Arial" panose="020B0604020202020204" pitchFamily="34" charset="0"/>
              <a:buChar char="−"/>
              <a:defRPr sz="1200"/>
            </a:lvl3pPr>
            <a:lvl4pPr marL="352425" indent="-104775" algn="l" rtl="0">
              <a:spcAft>
                <a:spcPts val="750"/>
              </a:spcAft>
              <a:buClrTx/>
              <a:buSzPct val="100000"/>
              <a:buFont typeface="Arial" panose="020B0604020202020204" pitchFamily="34" charset="0"/>
              <a:buChar char="◦"/>
              <a:defRPr sz="1200"/>
            </a:lvl4pPr>
            <a:lvl5pPr marL="476250" indent="-104775" algn="l" rtl="0">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4" name="Rectangle 3" hidden="1"/>
          <p:cNvSpPr/>
          <p:nvPr>
            <p:custDataLst>
              <p:tags r:id="rId4"/>
            </p:custDataLst>
          </p:nvPr>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
        <p:nvSpPr>
          <p:cNvPr id="5" name="Rectangle 4" hidden="1"/>
          <p:cNvSpPr/>
          <p:nvPr>
            <p:custDataLst>
              <p:tags r:id="rId5"/>
            </p:custDataLst>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spcAft>
                <a:spcPts val="750"/>
              </a:spcAft>
            </a:pPr>
            <a:endParaRPr lang="de-DE" sz="825" noProof="0">
              <a:solidFill>
                <a:schemeClr val="bg1"/>
              </a:solidFill>
            </a:endParaRPr>
          </a:p>
        </p:txBody>
      </p:sp>
      <p:sp>
        <p:nvSpPr>
          <p:cNvPr id="6" name="Picture left" hidden="1"/>
          <p:cNvSpPr>
            <a:spLocks noGrp="1"/>
          </p:cNvSpPr>
          <p:nvPr>
            <p:ph type="pic" sz="quarter" idx="19" hasCustomPrompt="1"/>
            <p:custDataLst>
              <p:tags r:id="rId6"/>
            </p:custDataLst>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de-DE" sz="900" noProof="0">
                <a:solidFill>
                  <a:schemeClr val="bg1"/>
                </a:solidFill>
              </a:rPr>
              <a:t>Co-brand</a:t>
            </a:r>
            <a:br>
              <a:rPr lang="de-DE" sz="900" noProof="0">
                <a:solidFill>
                  <a:schemeClr val="bg1"/>
                </a:solidFill>
              </a:rPr>
            </a:br>
            <a:r>
              <a:rPr lang="de-DE" sz="900" noProof="0">
                <a:solidFill>
                  <a:schemeClr val="bg1"/>
                </a:solidFill>
              </a:rPr>
              <a:t>Logo</a:t>
            </a:r>
          </a:p>
          <a:p>
            <a:endParaRPr lang="de-DE" noProof="0"/>
          </a:p>
        </p:txBody>
      </p:sp>
      <p:sp>
        <p:nvSpPr>
          <p:cNvPr id="7" name="Picture right" hidden="1"/>
          <p:cNvSpPr>
            <a:spLocks noGrp="1"/>
          </p:cNvSpPr>
          <p:nvPr>
            <p:ph type="pic" sz="quarter" idx="20" hasCustomPrompt="1"/>
            <p:custDataLst>
              <p:tags r:id="rId7"/>
            </p:custDataLst>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de-DE" sz="900" noProof="0">
                <a:solidFill>
                  <a:schemeClr val="bg1"/>
                </a:solidFill>
              </a:rPr>
              <a:t>Co-brand</a:t>
            </a:r>
            <a:br>
              <a:rPr lang="de-DE" sz="900" noProof="0">
                <a:solidFill>
                  <a:schemeClr val="bg1"/>
                </a:solidFill>
              </a:rPr>
            </a:br>
            <a:r>
              <a:rPr lang="de-DE" sz="900" noProof="0">
                <a:solidFill>
                  <a:schemeClr val="bg1"/>
                </a:solidFill>
              </a:rPr>
              <a:t>Logo</a:t>
            </a:r>
          </a:p>
          <a:p>
            <a:endParaRPr lang="de-DE" noProof="0"/>
          </a:p>
        </p:txBody>
      </p:sp>
      <p:sp>
        <p:nvSpPr>
          <p:cNvPr id="16" name="Subtitle" hidden="1">
            <a:extLst>
              <a:ext uri="{FF2B5EF4-FFF2-40B4-BE49-F238E27FC236}">
                <a16:creationId xmlns:a16="http://schemas.microsoft.com/office/drawing/2014/main" id="{C2FDA775-7453-495D-ABC5-C379E37806BE}"/>
              </a:ext>
            </a:extLst>
          </p:cNvPr>
          <p:cNvSpPr>
            <a:spLocks noGrp="1"/>
          </p:cNvSpPr>
          <p:nvPr>
            <p:ph type="body" sz="quarter" idx="22" hasCustomPrompt="1"/>
            <p:custDataLst>
              <p:tags r:id="rId8"/>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17" name="Title" hidden="1">
            <a:extLst>
              <a:ext uri="{FF2B5EF4-FFF2-40B4-BE49-F238E27FC236}">
                <a16:creationId xmlns:a16="http://schemas.microsoft.com/office/drawing/2014/main" id="{D55BC33C-2B71-4E68-81E3-F520AB4629F5}"/>
              </a:ext>
            </a:extLst>
          </p:cNvPr>
          <p:cNvSpPr>
            <a:spLocks noGrp="1"/>
          </p:cNvSpPr>
          <p:nvPr>
            <p:ph type="title" hasCustomPrompt="1"/>
            <p:custDataLst>
              <p:tags r:id="rId9"/>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Tree>
    <p:extLst>
      <p:ext uri="{BB962C8B-B14F-4D97-AF65-F5344CB8AC3E}">
        <p14:creationId xmlns:p14="http://schemas.microsoft.com/office/powerpoint/2010/main" val="396857108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FCAE743-8D35-B039-25F1-1AECC6325DB2}"/>
              </a:ext>
            </a:extLst>
          </p:cNvPr>
          <p:cNvGraphicFramePr>
            <a:graphicFrameLocks noChangeAspect="1"/>
          </p:cNvGraphicFramePr>
          <p:nvPr userDrawn="1">
            <p:custDataLst>
              <p:tags r:id="rId1"/>
            </p:custDataLst>
            <p:extLst>
              <p:ext uri="{D42A27DB-BD31-4B8C-83A1-F6EECF244321}">
                <p14:modId xmlns:p14="http://schemas.microsoft.com/office/powerpoint/2010/main" val="140858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8" imgH="479" progId="TCLayout.ActiveDocument.1">
                  <p:embed/>
                </p:oleObj>
              </mc:Choice>
              <mc:Fallback>
                <p:oleObj name="think-cell Folie" r:id="rId5" imgW="478" imgH="479" progId="TCLayout.ActiveDocument.1">
                  <p:embed/>
                  <p:pic>
                    <p:nvPicPr>
                      <p:cNvPr id="3" name="think-cell data - do not delete" hidden="1">
                        <a:extLst>
                          <a:ext uri="{FF2B5EF4-FFF2-40B4-BE49-F238E27FC236}">
                            <a16:creationId xmlns:a16="http://schemas.microsoft.com/office/drawing/2014/main" id="{3FCAE743-8D35-B039-25F1-1AECC6325D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ubtitle" hidden="1">
            <a:extLst>
              <a:ext uri="{FF2B5EF4-FFF2-40B4-BE49-F238E27FC236}">
                <a16:creationId xmlns:a16="http://schemas.microsoft.com/office/drawing/2014/main" id="{8D89C7E6-37F5-4005-B8BE-658A5ADDE295}"/>
              </a:ext>
            </a:extLst>
          </p:cNvPr>
          <p:cNvSpPr>
            <a:spLocks noGrp="1"/>
          </p:cNvSpPr>
          <p:nvPr>
            <p:ph type="body" sz="quarter" idx="22" hasCustomPrompt="1"/>
            <p:custDataLst>
              <p:tags r:id="rId2"/>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7" name="Title" hidden="1">
            <a:extLst>
              <a:ext uri="{FF2B5EF4-FFF2-40B4-BE49-F238E27FC236}">
                <a16:creationId xmlns:a16="http://schemas.microsoft.com/office/drawing/2014/main" id="{0FA13130-E22F-4F71-97DB-A64E7A175EC6}"/>
              </a:ext>
            </a:extLst>
          </p:cNvPr>
          <p:cNvSpPr>
            <a:spLocks noGrp="1"/>
          </p:cNvSpPr>
          <p:nvPr>
            <p:ph type="title" hasCustomPrompt="1"/>
            <p:custDataLst>
              <p:tags r:id="rId3"/>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Tree>
    <p:extLst>
      <p:ext uri="{BB962C8B-B14F-4D97-AF65-F5344CB8AC3E}">
        <p14:creationId xmlns:p14="http://schemas.microsoft.com/office/powerpoint/2010/main" val="56008918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7362A3D-5ADA-637E-4000-E04856EBAB23}"/>
              </a:ext>
            </a:extLst>
          </p:cNvPr>
          <p:cNvGraphicFramePr>
            <a:graphicFrameLocks noChangeAspect="1"/>
          </p:cNvGraphicFramePr>
          <p:nvPr userDrawn="1">
            <p:custDataLst>
              <p:tags r:id="rId1"/>
            </p:custDataLst>
            <p:extLst>
              <p:ext uri="{D42A27DB-BD31-4B8C-83A1-F6EECF244321}">
                <p14:modId xmlns:p14="http://schemas.microsoft.com/office/powerpoint/2010/main" val="1133847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8" imgH="479" progId="TCLayout.ActiveDocument.1">
                  <p:embed/>
                </p:oleObj>
              </mc:Choice>
              <mc:Fallback>
                <p:oleObj name="think-cell Folie" r:id="rId4" imgW="478" imgH="479" progId="TCLayout.ActiveDocument.1">
                  <p:embed/>
                  <p:pic>
                    <p:nvPicPr>
                      <p:cNvPr id="3" name="think-cell data - do not delete" hidden="1">
                        <a:extLst>
                          <a:ext uri="{FF2B5EF4-FFF2-40B4-BE49-F238E27FC236}">
                            <a16:creationId xmlns:a16="http://schemas.microsoft.com/office/drawing/2014/main" id="{87362A3D-5ADA-637E-4000-E04856EBAB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hidden="1">
            <a:extLst>
              <a:ext uri="{FF2B5EF4-FFF2-40B4-BE49-F238E27FC236}">
                <a16:creationId xmlns:a16="http://schemas.microsoft.com/office/drawing/2014/main" id="{26FB2E4B-5D1B-4250-844C-3D50DE4A9F69}"/>
              </a:ext>
            </a:extLst>
          </p:cNvPr>
          <p:cNvSpPr>
            <a:spLocks noGrp="1"/>
          </p:cNvSpPr>
          <p:nvPr>
            <p:ph type="title" hasCustomPrompt="1"/>
            <p:custDataLst>
              <p:tags r:id="rId2"/>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Tree>
    <p:extLst>
      <p:ext uri="{BB962C8B-B14F-4D97-AF65-F5344CB8AC3E}">
        <p14:creationId xmlns:p14="http://schemas.microsoft.com/office/powerpoint/2010/main" val="96130847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ivider-Full Bleed Im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15EA089-1362-63A3-61B9-1466CC64BBF9}"/>
              </a:ext>
            </a:extLst>
          </p:cNvPr>
          <p:cNvGraphicFramePr>
            <a:graphicFrameLocks noChangeAspect="1"/>
          </p:cNvGraphicFramePr>
          <p:nvPr userDrawn="1">
            <p:custDataLst>
              <p:tags r:id="rId1"/>
            </p:custDataLst>
            <p:extLst>
              <p:ext uri="{D42A27DB-BD31-4B8C-83A1-F6EECF244321}">
                <p14:modId xmlns:p14="http://schemas.microsoft.com/office/powerpoint/2010/main" val="3487400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78" imgH="479" progId="TCLayout.ActiveDocument.1">
                  <p:embed/>
                </p:oleObj>
              </mc:Choice>
              <mc:Fallback>
                <p:oleObj name="think-cell Folie" r:id="rId6" imgW="478" imgH="479" progId="TCLayout.ActiveDocument.1">
                  <p:embed/>
                  <p:pic>
                    <p:nvPicPr>
                      <p:cNvPr id="3" name="think-cell data - do not delete" hidden="1">
                        <a:extLst>
                          <a:ext uri="{FF2B5EF4-FFF2-40B4-BE49-F238E27FC236}">
                            <a16:creationId xmlns:a16="http://schemas.microsoft.com/office/drawing/2014/main" id="{015EA089-1362-63A3-61B9-1466CC64BB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icture Placeholder 8" hidden="1">
            <a:extLst>
              <a:ext uri="{FF2B5EF4-FFF2-40B4-BE49-F238E27FC236}">
                <a16:creationId xmlns:a16="http://schemas.microsoft.com/office/drawing/2014/main" id="{2AA0174D-B09C-4960-94D1-79FD4D04BDFB}"/>
              </a:ext>
            </a:extLst>
          </p:cNvPr>
          <p:cNvSpPr>
            <a:spLocks noGrp="1"/>
          </p:cNvSpPr>
          <p:nvPr>
            <p:ph type="pic" sz="quarter" idx="11"/>
            <p:custDataLst>
              <p:tags r:id="rId2"/>
            </p:custDataLst>
          </p:nvPr>
        </p:nvSpPr>
        <p:spPr>
          <a:xfrm>
            <a:off x="0" y="0"/>
            <a:ext cx="12192000" cy="6858000"/>
          </a:xfrm>
          <a:prstGeom prst="rect">
            <a:avLst/>
          </a:prstGeom>
        </p:spPr>
        <p:txBody>
          <a:bodyPr/>
          <a:lstStyle>
            <a:lvl1pPr rtl="0">
              <a:defRPr>
                <a:solidFill>
                  <a:schemeClr val="bg1"/>
                </a:solidFill>
              </a:defRPr>
            </a:lvl1pPr>
          </a:lstStyle>
          <a:p>
            <a:r>
              <a:rPr lang="de-DE" noProof="0"/>
              <a:t>Click icon to add picture</a:t>
            </a:r>
          </a:p>
        </p:txBody>
      </p:sp>
      <p:sp>
        <p:nvSpPr>
          <p:cNvPr id="5" name="Title ( as Text PH)" hidden="1">
            <a:extLst>
              <a:ext uri="{FF2B5EF4-FFF2-40B4-BE49-F238E27FC236}">
                <a16:creationId xmlns:a16="http://schemas.microsoft.com/office/drawing/2014/main" id="{E696C364-9ED6-42C4-8FC2-1F9C6CB1656D}"/>
              </a:ext>
            </a:extLst>
          </p:cNvPr>
          <p:cNvSpPr>
            <a:spLocks noGrp="1"/>
          </p:cNvSpPr>
          <p:nvPr>
            <p:ph type="body" sz="quarter" idx="12" hasCustomPrompt="1"/>
            <p:custDataLst>
              <p:tags r:id="rId3"/>
            </p:custDataLst>
          </p:nvPr>
        </p:nvSpPr>
        <p:spPr>
          <a:xfrm>
            <a:off x="478220" y="366547"/>
            <a:ext cx="5465380" cy="484791"/>
          </a:xfrm>
        </p:spPr>
        <p:txBody>
          <a:bodyPr>
            <a:noAutofit/>
          </a:bodyPr>
          <a:lstStyle>
            <a:lvl1pPr rtl="0">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de-DE"/>
              <a:t>Edit Master text styles</a:t>
            </a:r>
          </a:p>
        </p:txBody>
      </p:sp>
      <p:sp>
        <p:nvSpPr>
          <p:cNvPr id="6" name="Subtitle ( as Text PH)" hidden="1">
            <a:extLst>
              <a:ext uri="{FF2B5EF4-FFF2-40B4-BE49-F238E27FC236}">
                <a16:creationId xmlns:a16="http://schemas.microsoft.com/office/drawing/2014/main" id="{AD421831-C244-4DE0-8DE2-755D7D7315B9}"/>
              </a:ext>
            </a:extLst>
          </p:cNvPr>
          <p:cNvSpPr>
            <a:spLocks noGrp="1"/>
          </p:cNvSpPr>
          <p:nvPr>
            <p:ph type="body" sz="quarter" idx="13" hasCustomPrompt="1"/>
            <p:custDataLst>
              <p:tags r:id="rId4"/>
            </p:custDataLst>
          </p:nvPr>
        </p:nvSpPr>
        <p:spPr>
          <a:xfrm>
            <a:off x="478220" y="851339"/>
            <a:ext cx="5465380" cy="863162"/>
          </a:xfrm>
        </p:spPr>
        <p:txBody>
          <a:bodyPr>
            <a:noAutofit/>
          </a:bodyPr>
          <a:lstStyle>
            <a:lvl1pPr rtl="0">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de-DE"/>
              <a:t>Edit Master text styles</a:t>
            </a:r>
          </a:p>
        </p:txBody>
      </p:sp>
    </p:spTree>
    <p:extLst>
      <p:ext uri="{BB962C8B-B14F-4D97-AF65-F5344CB8AC3E}">
        <p14:creationId xmlns:p14="http://schemas.microsoft.com/office/powerpoint/2010/main" val="180680773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AFA8EC-ABFB-15CE-69B3-1CECB16EF478}"/>
              </a:ext>
            </a:extLst>
          </p:cNvPr>
          <p:cNvGraphicFramePr>
            <a:graphicFrameLocks noChangeAspect="1"/>
          </p:cNvGraphicFramePr>
          <p:nvPr userDrawn="1">
            <p:custDataLst>
              <p:tags r:id="rId1"/>
            </p:custDataLst>
            <p:extLst>
              <p:ext uri="{D42A27DB-BD31-4B8C-83A1-F6EECF244321}">
                <p14:modId xmlns:p14="http://schemas.microsoft.com/office/powerpoint/2010/main" val="1161271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78" imgH="479" progId="TCLayout.ActiveDocument.1">
                  <p:embed/>
                </p:oleObj>
              </mc:Choice>
              <mc:Fallback>
                <p:oleObj name="think-cell Folie" r:id="rId6" imgW="478" imgH="479" progId="TCLayout.ActiveDocument.1">
                  <p:embed/>
                  <p:pic>
                    <p:nvPicPr>
                      <p:cNvPr id="3" name="think-cell data - do not delete" hidden="1">
                        <a:extLst>
                          <a:ext uri="{FF2B5EF4-FFF2-40B4-BE49-F238E27FC236}">
                            <a16:creationId xmlns:a16="http://schemas.microsoft.com/office/drawing/2014/main" id="{DBAFA8EC-ABFB-15CE-69B3-1CECB16EF4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Content Placeholder" hidden="1"/>
          <p:cNvSpPr>
            <a:spLocks noGrp="1"/>
          </p:cNvSpPr>
          <p:nvPr>
            <p:ph idx="1" hasCustomPrompt="1"/>
            <p:custDataLst>
              <p:tags r:id="rId2"/>
            </p:custDataLst>
          </p:nvPr>
        </p:nvSpPr>
        <p:spPr>
          <a:xfrm>
            <a:off x="461823" y="1714500"/>
            <a:ext cx="11277600" cy="4648200"/>
          </a:xfrm>
          <a:prstGeom prst="rect">
            <a:avLst/>
          </a:prstGeom>
        </p:spPr>
        <p:txBody>
          <a:bodyPr vert="horz" lIns="0" tIns="0" rIns="0" bIns="0" rtlCol="0">
            <a:noAutofit/>
          </a:bodyPr>
          <a:lstStyle>
            <a:lvl1pPr rtl="0">
              <a:defRPr sz="1200"/>
            </a:lvl1pPr>
            <a:lvl2pPr rtl="0">
              <a:defRPr sz="1200"/>
            </a:lvl2pPr>
            <a:lvl3pPr rtl="0">
              <a:defRPr sz="1200"/>
            </a:lvl3pPr>
            <a:lvl4pPr rtl="0">
              <a:defRPr sz="1200"/>
            </a:lvl4pPr>
            <a:lvl5pPr rtl="0">
              <a:defRPr sz="1200"/>
            </a:lvl5p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5" name="Text Subtitle" hidden="1">
            <a:extLst>
              <a:ext uri="{FF2B5EF4-FFF2-40B4-BE49-F238E27FC236}">
                <a16:creationId xmlns:a16="http://schemas.microsoft.com/office/drawing/2014/main" id="{259C2253-8D87-4928-94C4-A4D186A7A8BD}"/>
              </a:ext>
            </a:extLst>
          </p:cNvPr>
          <p:cNvSpPr>
            <a:spLocks noGrp="1"/>
          </p:cNvSpPr>
          <p:nvPr>
            <p:ph type="body" sz="quarter" idx="22" hasCustomPrompt="1"/>
            <p:custDataLst>
              <p:tags r:id="rId3"/>
            </p:custDataLst>
          </p:nvPr>
        </p:nvSpPr>
        <p:spPr>
          <a:xfrm>
            <a:off x="463295" y="682940"/>
            <a:ext cx="11277600" cy="757255"/>
          </a:xfrm>
          <a:prstGeom prst="rect">
            <a:avLst/>
          </a:prstGeom>
        </p:spPr>
        <p:txBody>
          <a:bodyPr lIns="0" tIns="0" rIns="0" bIns="0">
            <a:noAutofit/>
          </a:bodyPr>
          <a:lstStyle>
            <a:lvl1pPr marL="0" indent="0" rtl="0">
              <a:buNone/>
              <a:defRPr sz="1800" b="0">
                <a:solidFill>
                  <a:schemeClr val="tx2"/>
                </a:solidFill>
              </a:defRPr>
            </a:lvl1pPr>
          </a:lstStyle>
          <a:p>
            <a:pPr lvl="0"/>
            <a:r>
              <a:rPr lang="de-DE"/>
              <a:t>Click to add subtitle</a:t>
            </a:r>
          </a:p>
        </p:txBody>
      </p:sp>
      <p:sp>
        <p:nvSpPr>
          <p:cNvPr id="6" name="Title" hidden="1">
            <a:extLst>
              <a:ext uri="{FF2B5EF4-FFF2-40B4-BE49-F238E27FC236}">
                <a16:creationId xmlns:a16="http://schemas.microsoft.com/office/drawing/2014/main" id="{96593EEB-1CDC-4080-8C11-602DEAE1026D}"/>
              </a:ext>
            </a:extLst>
          </p:cNvPr>
          <p:cNvSpPr>
            <a:spLocks noGrp="1"/>
          </p:cNvSpPr>
          <p:nvPr>
            <p:ph type="title" hasCustomPrompt="1"/>
            <p:custDataLst>
              <p:tags r:id="rId4"/>
            </p:custDataLst>
          </p:nvPr>
        </p:nvSpPr>
        <p:spPr>
          <a:xfrm>
            <a:off x="463295" y="345992"/>
            <a:ext cx="11277600" cy="334099"/>
          </a:xfrm>
          <a:prstGeom prst="rect">
            <a:avLst/>
          </a:prstGeom>
        </p:spPr>
        <p:txBody>
          <a:bodyPr vert="horz" lIns="0" tIns="0" rIns="0" bIns="0" rtlCol="0" anchor="t" anchorCtr="0">
            <a:noAutofit/>
          </a:bodyPr>
          <a:lstStyle>
            <a:lvl1pPr rtl="0">
              <a:defRPr sz="2100">
                <a:latin typeface="+mj-lt"/>
              </a:defRPr>
            </a:lvl1pPr>
          </a:lstStyle>
          <a:p>
            <a:r>
              <a:rPr lang="de-DE"/>
              <a:t>Click to add title</a:t>
            </a:r>
          </a:p>
        </p:txBody>
      </p:sp>
    </p:spTree>
    <p:extLst>
      <p:ext uri="{BB962C8B-B14F-4D97-AF65-F5344CB8AC3E}">
        <p14:creationId xmlns:p14="http://schemas.microsoft.com/office/powerpoint/2010/main" val="193069467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image" Target="../media/image7.emf"/><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oleObject" Target="../embeddings/oleObject2.bin"/><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tags" Target="../tags/tag3.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theme" Target="../theme/theme3.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image" Target="../media/image1.emf"/><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41" Type="http://schemas.openxmlformats.org/officeDocument/2006/relationships/oleObject" Target="../embeddings/oleObject5.bin"/><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tags" Target="../tags/tag6.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8" Type="http://schemas.openxmlformats.org/officeDocument/2006/relationships/slideLayout" Target="../slideLayouts/slideLayout36.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slideLayout" Target="../slideLayouts/slideLayout113.xml"/><Relationship Id="rId50" Type="http://schemas.openxmlformats.org/officeDocument/2006/relationships/theme" Target="../theme/theme4.xml"/><Relationship Id="rId55" Type="http://schemas.openxmlformats.org/officeDocument/2006/relationships/tags" Target="../tags/tag53.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3" Type="http://schemas.openxmlformats.org/officeDocument/2006/relationships/tags" Target="../tags/tag51.xml"/><Relationship Id="rId58" Type="http://schemas.openxmlformats.org/officeDocument/2006/relationships/oleObject" Target="../embeddings/oleObject34.bin"/><Relationship Id="rId5" Type="http://schemas.openxmlformats.org/officeDocument/2006/relationships/slideLayout" Target="../slideLayouts/slideLayout71.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slideLayout" Target="../slideLayouts/slideLayout114.xml"/><Relationship Id="rId56" Type="http://schemas.openxmlformats.org/officeDocument/2006/relationships/tags" Target="../tags/tag54.xml"/><Relationship Id="rId8" Type="http://schemas.openxmlformats.org/officeDocument/2006/relationships/slideLayout" Target="../slideLayouts/slideLayout74.xml"/><Relationship Id="rId51" Type="http://schemas.openxmlformats.org/officeDocument/2006/relationships/tags" Target="../tags/tag49.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slideLayout" Target="../slideLayouts/slideLayout112.xml"/><Relationship Id="rId59" Type="http://schemas.openxmlformats.org/officeDocument/2006/relationships/image" Target="../media/image36.emf"/><Relationship Id="rId20" Type="http://schemas.openxmlformats.org/officeDocument/2006/relationships/slideLayout" Target="../slideLayouts/slideLayout86.xml"/><Relationship Id="rId41" Type="http://schemas.openxmlformats.org/officeDocument/2006/relationships/slideLayout" Target="../slideLayouts/slideLayout107.xml"/><Relationship Id="rId54" Type="http://schemas.openxmlformats.org/officeDocument/2006/relationships/tags" Target="../tags/tag5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49" Type="http://schemas.openxmlformats.org/officeDocument/2006/relationships/slideLayout" Target="../slideLayouts/slideLayout115.xml"/><Relationship Id="rId57" Type="http://schemas.openxmlformats.org/officeDocument/2006/relationships/tags" Target="../tags/tag55.xml"/><Relationship Id="rId10" Type="http://schemas.openxmlformats.org/officeDocument/2006/relationships/slideLayout" Target="../slideLayouts/slideLayout76.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52" Type="http://schemas.openxmlformats.org/officeDocument/2006/relationships/tags" Target="../tags/tag50.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342.xml"/><Relationship Id="rId3" Type="http://schemas.openxmlformats.org/officeDocument/2006/relationships/slideLayout" Target="../slideLayouts/slideLayout118.xml"/><Relationship Id="rId7" Type="http://schemas.openxmlformats.org/officeDocument/2006/relationships/theme" Target="../theme/theme5.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5" Type="http://schemas.openxmlformats.org/officeDocument/2006/relationships/slideLayout" Target="../slideLayouts/slideLayout120.xml"/><Relationship Id="rId10" Type="http://schemas.openxmlformats.org/officeDocument/2006/relationships/image" Target="../media/image44.emf"/><Relationship Id="rId4" Type="http://schemas.openxmlformats.org/officeDocument/2006/relationships/slideLayout" Target="../slideLayouts/slideLayout119.xml"/><Relationship Id="rId9" Type="http://schemas.openxmlformats.org/officeDocument/2006/relationships/oleObject" Target="../embeddings/oleObject83.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9" Type="http://schemas.openxmlformats.org/officeDocument/2006/relationships/slideLayout" Target="../slideLayouts/slideLayout160.xml"/><Relationship Id="rId21" Type="http://schemas.openxmlformats.org/officeDocument/2006/relationships/slideLayout" Target="../slideLayouts/slideLayout142.xml"/><Relationship Id="rId34" Type="http://schemas.openxmlformats.org/officeDocument/2006/relationships/slideLayout" Target="../slideLayouts/slideLayout155.xml"/><Relationship Id="rId42" Type="http://schemas.openxmlformats.org/officeDocument/2006/relationships/slideLayout" Target="../slideLayouts/slideLayout163.xml"/><Relationship Id="rId47" Type="http://schemas.openxmlformats.org/officeDocument/2006/relationships/slideLayout" Target="../slideLayouts/slideLayout168.xml"/><Relationship Id="rId50" Type="http://schemas.openxmlformats.org/officeDocument/2006/relationships/tags" Target="../tags/tag347.xml"/><Relationship Id="rId7" Type="http://schemas.openxmlformats.org/officeDocument/2006/relationships/slideLayout" Target="../slideLayouts/slideLayout12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9" Type="http://schemas.openxmlformats.org/officeDocument/2006/relationships/slideLayout" Target="../slideLayouts/slideLayout150.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40" Type="http://schemas.openxmlformats.org/officeDocument/2006/relationships/slideLayout" Target="../slideLayouts/slideLayout161.xml"/><Relationship Id="rId45" Type="http://schemas.openxmlformats.org/officeDocument/2006/relationships/slideLayout" Target="../slideLayouts/slideLayout166.xml"/><Relationship Id="rId53" Type="http://schemas.openxmlformats.org/officeDocument/2006/relationships/image" Target="../media/image7.emf"/><Relationship Id="rId5" Type="http://schemas.openxmlformats.org/officeDocument/2006/relationships/slideLayout" Target="../slideLayouts/slideLayout12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4" Type="http://schemas.openxmlformats.org/officeDocument/2006/relationships/slideLayout" Target="../slideLayouts/slideLayout165.xml"/><Relationship Id="rId52" Type="http://schemas.openxmlformats.org/officeDocument/2006/relationships/oleObject" Target="../embeddings/oleObject87.bin"/><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43" Type="http://schemas.openxmlformats.org/officeDocument/2006/relationships/slideLayout" Target="../slideLayouts/slideLayout164.xml"/><Relationship Id="rId48" Type="http://schemas.openxmlformats.org/officeDocument/2006/relationships/theme" Target="../theme/theme6.xml"/><Relationship Id="rId8" Type="http://schemas.openxmlformats.org/officeDocument/2006/relationships/slideLayout" Target="../slideLayouts/slideLayout129.xml"/><Relationship Id="rId51" Type="http://schemas.openxmlformats.org/officeDocument/2006/relationships/tags" Target="../tags/tag348.xml"/><Relationship Id="rId3" Type="http://schemas.openxmlformats.org/officeDocument/2006/relationships/slideLayout" Target="../slideLayouts/slideLayout124.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slideLayout" Target="../slideLayouts/slideLayout159.xml"/><Relationship Id="rId46" Type="http://schemas.openxmlformats.org/officeDocument/2006/relationships/slideLayout" Target="../slideLayouts/slideLayout167.xml"/><Relationship Id="rId20" Type="http://schemas.openxmlformats.org/officeDocument/2006/relationships/slideLayout" Target="../slideLayouts/slideLayout141.xml"/><Relationship Id="rId41" Type="http://schemas.openxmlformats.org/officeDocument/2006/relationships/slideLayout" Target="../slideLayouts/slideLayout162.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49" Type="http://schemas.openxmlformats.org/officeDocument/2006/relationships/tags" Target="../tags/tag3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572674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4" name="Object 3" hidden="1"/>
                      <p:cNvPicPr/>
                      <p:nvPr/>
                    </p:nvPicPr>
                    <p:blipFill>
                      <a:blip r:embed="rId11"/>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553866880"/>
      </p:ext>
    </p:extLst>
  </p:cSld>
  <p:clrMap bg1="lt1" tx1="dk1" bg2="lt2" tx2="dk2" accent1="accent1" accent2="accent2" accent3="accent3" accent4="accent4" accent5="accent5" accent6="accent6" hlink="hlink" folHlink="folHlink"/>
  <p:sldLayoutIdLst>
    <p:sldLayoutId id="2147484378" r:id="rId1"/>
    <p:sldLayoutId id="2147484328" r:id="rId2"/>
    <p:sldLayoutId id="2147484319" r:id="rId3"/>
    <p:sldLayoutId id="2147484379" r:id="rId4"/>
    <p:sldLayoutId id="2147484326" r:id="rId5"/>
    <p:sldLayoutId id="2147484380" r:id="rId6"/>
    <p:sldLayoutId id="2147484321" r:id="rId7"/>
  </p:sldLayoutIdLst>
  <p:transition>
    <p:fade/>
  </p:transition>
  <p:hf hdr="0" dt="0"/>
  <p:txStyles>
    <p:titleStyle>
      <a:lvl1pPr algn="l" defTabSz="914400" rtl="0" eaLnBrk="1" latinLnBrk="0" hangingPunct="1">
        <a:spcBef>
          <a:spcPct val="0"/>
        </a:spcBef>
        <a:buNone/>
        <a:defRPr sz="2100" b="1"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12">
          <p15:clr>
            <a:srgbClr val="F26B43"/>
          </p15:clr>
        </p15:guide>
        <p15:guide id="57" pos="3624">
          <p15:clr>
            <a:srgbClr val="F26B43"/>
          </p15:clr>
        </p15:guide>
        <p15:guide id="58" pos="3528">
          <p15:clr>
            <a:srgbClr val="F26B43"/>
          </p15:clr>
        </p15:guide>
        <p15:guide id="59" pos="3576">
          <p15:clr>
            <a:srgbClr val="F26B43"/>
          </p15:clr>
        </p15:guide>
        <p15:guide id="64" orient="horz" pos="192">
          <p15:clr>
            <a:srgbClr val="F26B43"/>
          </p15:clr>
        </p15:guide>
        <p15:guide id="65" orient="horz" pos="1056">
          <p15:clr>
            <a:srgbClr val="F26B43"/>
          </p15:clr>
        </p15:guide>
        <p15:guide id="66" orient="horz" pos="2160">
          <p15:clr>
            <a:srgbClr val="F26B43"/>
          </p15:clr>
        </p15:guide>
        <p15:guide id="67" orient="horz" pos="408">
          <p15:clr>
            <a:srgbClr val="F26B43"/>
          </p15:clr>
        </p15:guide>
        <p15:guide id="68" pos="6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CB9B49-815A-5FD4-3EFB-0FA51722BD14}"/>
              </a:ext>
            </a:extLst>
          </p:cNvPr>
          <p:cNvGraphicFramePr>
            <a:graphicFrameLocks noChangeAspect="1"/>
          </p:cNvGraphicFramePr>
          <p:nvPr userDrawn="1">
            <p:custDataLst>
              <p:tags r:id="rId23"/>
            </p:custDataLst>
            <p:extLst>
              <p:ext uri="{D42A27DB-BD31-4B8C-83A1-F6EECF244321}">
                <p14:modId xmlns:p14="http://schemas.microsoft.com/office/powerpoint/2010/main" val="2997601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6" progId="TCLayout.ActiveDocument.1">
                  <p:embed/>
                </p:oleObj>
              </mc:Choice>
              <mc:Fallback>
                <p:oleObj name="think-cell Folie" r:id="rId24" imgW="395" imgH="396" progId="TCLayout.ActiveDocument.1">
                  <p:embed/>
                  <p:pic>
                    <p:nvPicPr>
                      <p:cNvPr id="7" name="think-cell data - do not delete" hidden="1">
                        <a:extLst>
                          <a:ext uri="{FF2B5EF4-FFF2-40B4-BE49-F238E27FC236}">
                            <a16:creationId xmlns:a16="http://schemas.microsoft.com/office/drawing/2014/main" id="{01CB9B49-815A-5FD4-3EFB-0FA51722BD14}"/>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8C2762C-EB70-7EB4-B6A5-05388E739381}"/>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F52192F2-60B2-4ECA-6DEB-07D3E11962C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a:extLst>
              <a:ext uri="{FF2B5EF4-FFF2-40B4-BE49-F238E27FC236}">
                <a16:creationId xmlns:a16="http://schemas.microsoft.com/office/drawing/2014/main" id="{06141A29-0B66-6BBB-9B60-294E19EA88EE}"/>
              </a:ext>
            </a:extLst>
          </p:cNvPr>
          <p:cNvSpPr txBox="1"/>
          <p:nvPr userDrawn="1"/>
        </p:nvSpPr>
        <p:spPr>
          <a:xfrm>
            <a:off x="501649" y="6477004"/>
            <a:ext cx="5355168" cy="103875"/>
          </a:xfrm>
          <a:prstGeom prst="rect">
            <a:avLst/>
          </a:prstGeom>
          <a:noFill/>
        </p:spPr>
        <p:txBody>
          <a:bodyPr wrap="square" lIns="0" tIns="0" rIns="0" bIns="0" rtlCol="0">
            <a:spAutoFit/>
          </a:bodyPr>
          <a:lstStyle/>
          <a:p>
            <a:pPr>
              <a:spcBef>
                <a:spcPts val="450"/>
              </a:spcBef>
              <a:buSzPct val="100000"/>
              <a:buFont typeface="Arial"/>
              <a:buNone/>
            </a:pPr>
            <a:r>
              <a:rPr lang="en-US" sz="675">
                <a:solidFill>
                  <a:prstClr val="white"/>
                </a:solidFill>
                <a:latin typeface="Open Sans" panose="020B0606030504020204" pitchFamily="34" charset="0"/>
                <a:ea typeface="Open Sans" panose="020B0606030504020204" pitchFamily="34" charset="0"/>
                <a:cs typeface="Open Sans" panose="020B0606030504020204" pitchFamily="34" charset="0"/>
              </a:rPr>
              <a:t>© Deloitte Consulting</a:t>
            </a:r>
          </a:p>
        </p:txBody>
      </p:sp>
      <p:sp>
        <p:nvSpPr>
          <p:cNvPr id="5" name="Slide Number Placeholder 5">
            <a:extLst>
              <a:ext uri="{FF2B5EF4-FFF2-40B4-BE49-F238E27FC236}">
                <a16:creationId xmlns:a16="http://schemas.microsoft.com/office/drawing/2014/main" id="{F43B363E-963D-6330-ECB5-A73064BA2A40}"/>
              </a:ext>
            </a:extLst>
          </p:cNvPr>
          <p:cNvSpPr txBox="1">
            <a:spLocks/>
          </p:cNvSpPr>
          <p:nvPr userDrawn="1"/>
        </p:nvSpPr>
        <p:spPr>
          <a:xfrm>
            <a:off x="11206480" y="6478936"/>
            <a:ext cx="503633" cy="2063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9269588-443E-4F50-A122-58F9558EB5F2}" type="slidenum">
              <a:rPr lang="en-US" smtClean="0">
                <a:solidFill>
                  <a:prstClr val="white"/>
                </a:solidFill>
                <a:latin typeface="Open Sans" panose="020B0606030504020204" pitchFamily="34" charset="0"/>
                <a:ea typeface="Open Sans" panose="020B0606030504020204" pitchFamily="34" charset="0"/>
                <a:cs typeface="Open Sans" panose="020B0606030504020204" pitchFamily="34" charset="0"/>
              </a:rPr>
              <a:pPr/>
              <a:t>‹#›</a:t>
            </a:fld>
            <a:endParaRPr lang="en-US">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1536196"/>
      </p:ext>
    </p:extLst>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 id="2147484407" r:id="rId11"/>
    <p:sldLayoutId id="2147484408" r:id="rId12"/>
    <p:sldLayoutId id="2147484409" r:id="rId13"/>
    <p:sldLayoutId id="2147484410" r:id="rId14"/>
    <p:sldLayoutId id="2147484411" r:id="rId15"/>
    <p:sldLayoutId id="2147484412" r:id="rId16"/>
    <p:sldLayoutId id="2147484413" r:id="rId17"/>
    <p:sldLayoutId id="2147484415" r:id="rId18"/>
    <p:sldLayoutId id="2147484416" r:id="rId19"/>
    <p:sldLayoutId id="2147484421" r:id="rId20"/>
    <p:sldLayoutId id="2147484419" r:id="rId21"/>
  </p:sldLayoutIdLst>
  <p:txStyles>
    <p:titleStyle>
      <a:lvl1pPr algn="l" defTabSz="914400" rtl="0" eaLnBrk="1" latinLnBrk="0" hangingPunct="1">
        <a:lnSpc>
          <a:spcPct val="90000"/>
        </a:lnSpc>
        <a:spcBef>
          <a:spcPct val="0"/>
        </a:spcBef>
        <a:buNone/>
        <a:defRPr sz="24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System Font Regular"/>
        <a:buChar char="⏤"/>
        <a:defRPr sz="16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System Font Regular"/>
        <a:buChar char="・"/>
        <a:defRPr sz="14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System Font Regular"/>
        <a:buChar char="◦"/>
        <a:defRPr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2439153144"/>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1" imgW="270" imgH="270" progId="TCLayout.ActiveDocument.1">
                  <p:embed/>
                </p:oleObj>
              </mc:Choice>
              <mc:Fallback>
                <p:oleObj name="think-cell Folie" r:id="rId41" imgW="270" imgH="270" progId="TCLayout.ActiveDocument.1">
                  <p:embed/>
                  <p:pic>
                    <p:nvPicPr>
                      <p:cNvPr id="4" name="Object 3" hidden="1"/>
                      <p:cNvPicPr/>
                      <p:nvPr/>
                    </p:nvPicPr>
                    <p:blipFill>
                      <a:blip r:embed="rId42"/>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rtl="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rtl="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rtl="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rtl="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rtl="0">
              <a:spcBef>
                <a:spcPts val="600"/>
              </a:spcBef>
              <a:buSzPct val="100000"/>
              <a:buFont typeface="Arial"/>
              <a:buChar char="•"/>
            </a:pPr>
            <a:endParaRPr lang="en-US" sz="1800">
              <a:solidFill>
                <a:srgbClr val="313131"/>
              </a:solidFill>
            </a:endParaRPr>
          </a:p>
        </p:txBody>
      </p:sp>
    </p:spTree>
    <p:extLst>
      <p:ext uri="{BB962C8B-B14F-4D97-AF65-F5344CB8AC3E}">
        <p14:creationId xmlns:p14="http://schemas.microsoft.com/office/powerpoint/2010/main" val="2661300871"/>
      </p:ext>
    </p:extLst>
  </p:cSld>
  <p:clrMap bg1="lt1" tx1="dk1" bg2="lt2" tx2="dk2" accent1="accent1" accent2="accent2" accent3="accent3" accent4="accent4" accent5="accent5" accent6="accent6" hlink="hlink" folHlink="folHlink"/>
  <p:sldLayoutIdLst>
    <p:sldLayoutId id="2147484534" r:id="rId1"/>
    <p:sldLayoutId id="2147484535" r:id="rId2"/>
    <p:sldLayoutId id="2147484536" r:id="rId3"/>
    <p:sldLayoutId id="2147484537" r:id="rId4"/>
    <p:sldLayoutId id="2147484538" r:id="rId5"/>
    <p:sldLayoutId id="2147484539" r:id="rId6"/>
    <p:sldLayoutId id="2147484540" r:id="rId7"/>
    <p:sldLayoutId id="2147484541" r:id="rId8"/>
    <p:sldLayoutId id="2147484542" r:id="rId9"/>
    <p:sldLayoutId id="2147484543" r:id="rId10"/>
    <p:sldLayoutId id="2147484544" r:id="rId11"/>
    <p:sldLayoutId id="2147484545" r:id="rId12"/>
    <p:sldLayoutId id="2147484546" r:id="rId13"/>
    <p:sldLayoutId id="2147484547" r:id="rId14"/>
    <p:sldLayoutId id="2147484548" r:id="rId15"/>
    <p:sldLayoutId id="2147484549" r:id="rId16"/>
    <p:sldLayoutId id="2147484550" r:id="rId17"/>
    <p:sldLayoutId id="2147484551" r:id="rId18"/>
    <p:sldLayoutId id="2147484552" r:id="rId19"/>
    <p:sldLayoutId id="2147484553" r:id="rId20"/>
    <p:sldLayoutId id="2147484554" r:id="rId21"/>
    <p:sldLayoutId id="2147484555" r:id="rId22"/>
    <p:sldLayoutId id="2147484556" r:id="rId23"/>
    <p:sldLayoutId id="2147484557" r:id="rId24"/>
    <p:sldLayoutId id="2147484558" r:id="rId25"/>
    <p:sldLayoutId id="2147484559" r:id="rId26"/>
    <p:sldLayoutId id="2147484560" r:id="rId27"/>
    <p:sldLayoutId id="2147484561" r:id="rId28"/>
    <p:sldLayoutId id="2147484562" r:id="rId29"/>
    <p:sldLayoutId id="2147484563" r:id="rId30"/>
    <p:sldLayoutId id="2147484564" r:id="rId31"/>
    <p:sldLayoutId id="2147484565" r:id="rId32"/>
    <p:sldLayoutId id="2147484566" r:id="rId33"/>
    <p:sldLayoutId id="2147484567" r:id="rId34"/>
    <p:sldLayoutId id="2147484568" r:id="rId35"/>
    <p:sldLayoutId id="2147484569" r:id="rId36"/>
    <p:sldLayoutId id="2147484570" r:id="rId37"/>
    <p:sldLayoutId id="2147484573" r:id="rId38"/>
  </p:sldLayoutIdLst>
  <p:transition>
    <p:fade/>
  </p:transition>
  <p:hf hdr="0" dt="0"/>
  <p:txStyles>
    <p:titleStyle>
      <a:lvl1pPr algn="l" defTabSz="685800" rtl="0" eaLnBrk="1" latinLnBrk="0" hangingPunct="1">
        <a:spcBef>
          <a:spcPct val="0"/>
        </a:spcBef>
        <a:buNone/>
        <a:defRPr sz="28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951CC77-6A61-3EEC-C3EA-ABDF1FE1B695}"/>
              </a:ext>
            </a:extLst>
          </p:cNvPr>
          <p:cNvGraphicFramePr>
            <a:graphicFrameLocks noChangeAspect="1"/>
          </p:cNvGraphicFramePr>
          <p:nvPr userDrawn="1">
            <p:custDataLst>
              <p:tags r:id="rId51"/>
            </p:custDataLst>
            <p:extLst>
              <p:ext uri="{D42A27DB-BD31-4B8C-83A1-F6EECF244321}">
                <p14:modId xmlns:p14="http://schemas.microsoft.com/office/powerpoint/2010/main" val="685285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8" imgW="408" imgH="408" progId="TCLayout.ActiveDocument.1">
                  <p:embed/>
                </p:oleObj>
              </mc:Choice>
              <mc:Fallback>
                <p:oleObj name="think-cell Folie" r:id="rId58" imgW="408" imgH="408" progId="TCLayout.ActiveDocument.1">
                  <p:embed/>
                  <p:pic>
                    <p:nvPicPr>
                      <p:cNvPr id="7" name="think-cell data - do not delete" hidden="1">
                        <a:extLst>
                          <a:ext uri="{FF2B5EF4-FFF2-40B4-BE49-F238E27FC236}">
                            <a16:creationId xmlns:a16="http://schemas.microsoft.com/office/drawing/2014/main" id="{3951CC77-6A61-3EEC-C3EA-ABDF1FE1B695}"/>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 name="Title Placeholder 1" hidden="1"/>
          <p:cNvSpPr>
            <a:spLocks noGrp="1"/>
          </p:cNvSpPr>
          <p:nvPr>
            <p:ph type="title"/>
            <p:custDataLst>
              <p:tags r:id="rId52"/>
            </p:custDataLst>
          </p:nvPr>
        </p:nvSpPr>
        <p:spPr bwMode="gray">
          <a:xfrm>
            <a:off x="457200" y="345664"/>
            <a:ext cx="11281285" cy="340136"/>
          </a:xfrm>
          <a:prstGeom prst="rect">
            <a:avLst/>
          </a:prstGeom>
        </p:spPr>
        <p:txBody>
          <a:bodyPr vert="horz" lIns="0" tIns="0" rIns="0" bIns="0" rtlCol="0" anchor="t" anchorCtr="0">
            <a:noAutofit/>
          </a:bodyPr>
          <a:lstStyle/>
          <a:p>
            <a:r>
              <a:rPr lang="de-DE" noProof="0"/>
              <a:t>Click to edit Master title style</a:t>
            </a:r>
          </a:p>
        </p:txBody>
      </p:sp>
      <p:sp>
        <p:nvSpPr>
          <p:cNvPr id="18" name="Copyright" hidden="1"/>
          <p:cNvSpPr txBox="1"/>
          <p:nvPr>
            <p:custDataLst>
              <p:tags r:id="rId53"/>
            </p:custDataLst>
          </p:nvPr>
        </p:nvSpPr>
        <p:spPr>
          <a:xfrm>
            <a:off x="457200" y="6515063"/>
            <a:ext cx="5355168" cy="138499"/>
          </a:xfrm>
          <a:prstGeom prst="rect">
            <a:avLst/>
          </a:prstGeom>
          <a:noFill/>
        </p:spPr>
        <p:txBody>
          <a:bodyPr wrap="square" lIns="0" tIns="0" rIns="0" bIns="0" rtlCol="0">
            <a:spAutoFit/>
          </a:bodyPr>
          <a:lstStyle/>
          <a:p>
            <a:pPr marL="0" indent="0" rtl="0">
              <a:spcBef>
                <a:spcPts val="450"/>
              </a:spcBef>
              <a:buSzPct val="100000"/>
              <a:buFont typeface="Arial"/>
              <a:buNone/>
            </a:pPr>
            <a:r>
              <a:rPr lang="de-DE" sz="900" noProof="0">
                <a:solidFill>
                  <a:schemeClr val="tx1"/>
                </a:solidFill>
                <a:latin typeface="Calibri" panose="020F0502020204030204" pitchFamily="34" charset="0"/>
                <a:cs typeface="Calibri" panose="020F0502020204030204" pitchFamily="34" charset="0"/>
              </a:rPr>
              <a:t>Deloitte 2025</a:t>
            </a:r>
          </a:p>
        </p:txBody>
      </p:sp>
      <p:sp>
        <p:nvSpPr>
          <p:cNvPr id="19" name="Text Placeholder 18" hidden="1"/>
          <p:cNvSpPr>
            <a:spLocks noGrp="1"/>
          </p:cNvSpPr>
          <p:nvPr>
            <p:ph type="body" idx="1"/>
            <p:custDataLst>
              <p:tags r:id="rId54"/>
            </p:custDataLst>
          </p:nvPr>
        </p:nvSpPr>
        <p:spPr>
          <a:xfrm>
            <a:off x="460887" y="1714500"/>
            <a:ext cx="11277599" cy="4648200"/>
          </a:xfrm>
          <a:prstGeom prst="rect">
            <a:avLst/>
          </a:prstGeom>
        </p:spPr>
        <p:txBody>
          <a:bodyPr vert="horz" lIns="0" tIns="0" rIns="0" bIns="0" rtlCol="0">
            <a:normAutofit/>
          </a:body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3" name="TextBox 2"/>
          <p:cNvSpPr txBox="1"/>
          <p:nvPr/>
        </p:nvSpPr>
        <p:spPr>
          <a:xfrm>
            <a:off x="11426826" y="6519673"/>
            <a:ext cx="307975" cy="138499"/>
          </a:xfrm>
          <a:prstGeom prst="rect">
            <a:avLst/>
          </a:prstGeom>
          <a:noFill/>
        </p:spPr>
        <p:txBody>
          <a:bodyPr wrap="square" lIns="0" tIns="0" rIns="0" bIns="0" rtlCol="0">
            <a:spAutoFit/>
          </a:bodyPr>
          <a:lstStyle/>
          <a:p>
            <a:pPr marL="0" indent="0" algn="r" rtl="0">
              <a:spcBef>
                <a:spcPts val="450"/>
              </a:spcBef>
              <a:buSzPct val="100000"/>
              <a:buFont typeface="Arial"/>
              <a:buNone/>
            </a:pPr>
            <a:fld id="{C58DF478-B544-4ED8-9ED4-6A2648E2D233}" type="slidenum">
              <a:rPr lang="de-DE" sz="900" noProof="0" smtClean="0">
                <a:solidFill>
                  <a:schemeClr val="tx1"/>
                </a:solidFill>
                <a:latin typeface="Calibri" panose="020F0502020204030204" pitchFamily="34" charset="0"/>
                <a:cs typeface="Calibri" panose="020F0502020204030204" pitchFamily="34" charset="0"/>
              </a:rPr>
              <a:pPr marL="0" indent="0" algn="r" rtl="0">
                <a:spcBef>
                  <a:spcPts val="450"/>
                </a:spcBef>
                <a:buSzPct val="100000"/>
                <a:buFont typeface="Arial"/>
                <a:buNone/>
              </a:pPr>
              <a:t>‹#›</a:t>
            </a:fld>
            <a:endParaRPr lang="de-DE" sz="900" noProof="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AF3F685E-75BA-4AAC-8247-5B8C55DC34A1}"/>
              </a:ext>
            </a:extLst>
          </p:cNvPr>
          <p:cNvSpPr/>
          <p:nvPr>
            <p:custDataLst>
              <p:tags r:id="rId55"/>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lvl="0" algn="ctr" rtl="0">
              <a:lnSpc>
                <a:spcPct val="106000"/>
              </a:lnSpc>
              <a:buFont typeface="Wingdings 2" pitchFamily="18" charset="2"/>
              <a:buNone/>
            </a:pPr>
            <a:endParaRPr lang="de-DE" sz="1600" b="1">
              <a:solidFill>
                <a:schemeClr val="bg1"/>
              </a:solidFill>
            </a:endParaRPr>
          </a:p>
        </p:txBody>
      </p:sp>
      <p:sp>
        <p:nvSpPr>
          <p:cNvPr id="4" name="empower - DO NOT DELETE!!!" hidden="1">
            <a:extLst>
              <a:ext uri="{FF2B5EF4-FFF2-40B4-BE49-F238E27FC236}">
                <a16:creationId xmlns:a16="http://schemas.microsoft.com/office/drawing/2014/main" id="{010D3BDB-9505-4DFA-9DF5-8ABBE694D4C1}"/>
              </a:ext>
            </a:extLst>
          </p:cNvPr>
          <p:cNvSpPr/>
          <p:nvPr>
            <p:custDataLst>
              <p:tags r:id="rId56"/>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lvl="0" algn="ctr" rtl="0">
              <a:lnSpc>
                <a:spcPct val="106000"/>
              </a:lnSpc>
              <a:buFont typeface="Wingdings 2" pitchFamily="18" charset="2"/>
              <a:buNone/>
            </a:pPr>
            <a:endParaRPr lang="de-DE" sz="1600" b="1">
              <a:solidFill>
                <a:schemeClr val="bg1"/>
              </a:solidFill>
            </a:endParaRPr>
          </a:p>
        </p:txBody>
      </p:sp>
      <p:sp>
        <p:nvSpPr>
          <p:cNvPr id="6" name="Textfeld 5" hidden="1">
            <a:extLst>
              <a:ext uri="{FF2B5EF4-FFF2-40B4-BE49-F238E27FC236}">
                <a16:creationId xmlns:a16="http://schemas.microsoft.com/office/drawing/2014/main" id="{4CB5F3F8-34C6-DCC7-3854-4EA400E71D56}"/>
              </a:ext>
            </a:extLst>
          </p:cNvPr>
          <p:cNvSpPr txBox="1"/>
          <p:nvPr userDrawn="1">
            <p:custDataLst>
              <p:tags r:id="rId57"/>
            </p:custDataLst>
          </p:nvPr>
        </p:nvSpPr>
        <p:spPr>
          <a:xfrm>
            <a:off x="7937500" y="6515063"/>
            <a:ext cx="3489326" cy="138499"/>
          </a:xfrm>
          <a:prstGeom prst="rect">
            <a:avLst/>
          </a:prstGeom>
          <a:noFill/>
        </p:spPr>
        <p:txBody>
          <a:bodyPr wrap="square" lIns="0" tIns="0" rIns="0" bIns="0" rtlCol="0">
            <a:spAutoFit/>
          </a:bodyPr>
          <a:lstStyle/>
          <a:p>
            <a:pPr marL="0" indent="0" algn="r" rtl="0">
              <a:spcBef>
                <a:spcPts val="600"/>
              </a:spcBef>
              <a:buSzPct val="100000"/>
              <a:buFont typeface="Arial"/>
              <a:buNone/>
            </a:pPr>
            <a:r>
              <a:rPr lang="de-DE" sz="900">
                <a:solidFill>
                  <a:srgbClr val="313131"/>
                </a:solidFill>
              </a:rPr>
              <a:t>XXXXX GmbH | RFI Projekt PEAK ERP-Transformation mit S/4HANA</a:t>
            </a:r>
          </a:p>
        </p:txBody>
      </p:sp>
      <p:sp>
        <p:nvSpPr>
          <p:cNvPr id="8" name="TextBox 7">
            <a:extLst>
              <a:ext uri="{FF2B5EF4-FFF2-40B4-BE49-F238E27FC236}">
                <a16:creationId xmlns:a16="http://schemas.microsoft.com/office/drawing/2014/main" id="{D5357A4A-FB4F-799A-4A2F-3732083FF1BD}"/>
              </a:ext>
            </a:extLst>
          </p:cNvPr>
          <p:cNvSpPr txBox="1"/>
          <p:nvPr userDrawn="1"/>
        </p:nvSpPr>
        <p:spPr>
          <a:xfrm>
            <a:off x="501649" y="6519673"/>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de-DE" sz="900" noProof="0">
                <a:solidFill>
                  <a:schemeClr val="tx1"/>
                </a:solidFill>
                <a:latin typeface="Calibri" panose="020F0502020204030204" pitchFamily="34" charset="0"/>
                <a:cs typeface="Calibri" panose="020F0502020204030204" pitchFamily="34" charset="0"/>
              </a:rPr>
              <a:t>Deloitte 2025</a:t>
            </a:r>
          </a:p>
        </p:txBody>
      </p:sp>
    </p:spTree>
    <p:extLst>
      <p:ext uri="{BB962C8B-B14F-4D97-AF65-F5344CB8AC3E}">
        <p14:creationId xmlns:p14="http://schemas.microsoft.com/office/powerpoint/2010/main" val="3936662170"/>
      </p:ext>
    </p:extLst>
  </p:cSld>
  <p:clrMap bg1="lt1" tx1="dk1" bg2="lt2" tx2="dk2" accent1="accent1" accent2="accent2" accent3="accent3" accent4="accent4" accent5="accent5" accent6="accent6" hlink="hlink" folHlink="folHlink"/>
  <p:sldLayoutIdLst>
    <p:sldLayoutId id="2147484586" r:id="rId1"/>
    <p:sldLayoutId id="2147484587" r:id="rId2"/>
    <p:sldLayoutId id="2147484588" r:id="rId3"/>
    <p:sldLayoutId id="2147484589" r:id="rId4"/>
    <p:sldLayoutId id="2147484590" r:id="rId5"/>
    <p:sldLayoutId id="2147484591" r:id="rId6"/>
    <p:sldLayoutId id="2147484592" r:id="rId7"/>
    <p:sldLayoutId id="2147484593" r:id="rId8"/>
    <p:sldLayoutId id="2147484594" r:id="rId9"/>
    <p:sldLayoutId id="2147484595" r:id="rId10"/>
    <p:sldLayoutId id="2147484596" r:id="rId11"/>
    <p:sldLayoutId id="2147484597" r:id="rId12"/>
    <p:sldLayoutId id="2147484598" r:id="rId13"/>
    <p:sldLayoutId id="2147484599" r:id="rId14"/>
    <p:sldLayoutId id="2147484600" r:id="rId15"/>
    <p:sldLayoutId id="2147484601" r:id="rId16"/>
    <p:sldLayoutId id="2147484602" r:id="rId17"/>
    <p:sldLayoutId id="2147484603" r:id="rId18"/>
    <p:sldLayoutId id="2147484604" r:id="rId19"/>
    <p:sldLayoutId id="2147484605" r:id="rId20"/>
    <p:sldLayoutId id="2147484606" r:id="rId21"/>
    <p:sldLayoutId id="2147484607" r:id="rId22"/>
    <p:sldLayoutId id="2147484608" r:id="rId23"/>
    <p:sldLayoutId id="2147484609" r:id="rId24"/>
    <p:sldLayoutId id="2147484610" r:id="rId25"/>
    <p:sldLayoutId id="2147484611" r:id="rId26"/>
    <p:sldLayoutId id="2147484612" r:id="rId27"/>
    <p:sldLayoutId id="2147484613" r:id="rId28"/>
    <p:sldLayoutId id="2147484614" r:id="rId29"/>
    <p:sldLayoutId id="2147484615" r:id="rId30"/>
    <p:sldLayoutId id="2147484616" r:id="rId31"/>
    <p:sldLayoutId id="2147484617" r:id="rId32"/>
    <p:sldLayoutId id="2147484618" r:id="rId33"/>
    <p:sldLayoutId id="2147484619" r:id="rId34"/>
    <p:sldLayoutId id="2147484620" r:id="rId35"/>
    <p:sldLayoutId id="2147484621" r:id="rId36"/>
    <p:sldLayoutId id="2147484622" r:id="rId37"/>
    <p:sldLayoutId id="2147484623" r:id="rId38"/>
    <p:sldLayoutId id="2147484624" r:id="rId39"/>
    <p:sldLayoutId id="2147484625" r:id="rId40"/>
    <p:sldLayoutId id="2147484626" r:id="rId41"/>
    <p:sldLayoutId id="2147484627" r:id="rId42"/>
    <p:sldLayoutId id="2147484628" r:id="rId43"/>
    <p:sldLayoutId id="2147484629" r:id="rId44"/>
    <p:sldLayoutId id="2147484630" r:id="rId45"/>
    <p:sldLayoutId id="2147484631" r:id="rId46"/>
    <p:sldLayoutId id="2147484632" r:id="rId47"/>
    <p:sldLayoutId id="2147484633" r:id="rId48"/>
    <p:sldLayoutId id="2147484634" r:id="rId49"/>
  </p:sldLayoutIdLst>
  <p:transition>
    <p:fade/>
  </p:transition>
  <p:hf sldNum="0" hdr="0" ft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267300" indent="0" algn="l" defTabSz="685800" rtl="0" eaLnBrk="1" latinLnBrk="0" hangingPunct="1">
        <a:spcBef>
          <a:spcPts val="0"/>
        </a:spcBef>
        <a:spcAft>
          <a:spcPts val="750"/>
        </a:spcAft>
        <a:buFont typeface="Verdana" panose="020B0604030504040204" pitchFamily="34" charset="0"/>
        <a:buNone/>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6">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5">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E3CB29-D02D-4000-882B-9B74E7DBAC06}"/>
              </a:ext>
            </a:extLst>
          </p:cNvPr>
          <p:cNvGraphicFramePr>
            <a:graphicFrameLocks noChangeAspect="1"/>
          </p:cNvGraphicFramePr>
          <p:nvPr userDrawn="1">
            <p:custDataLst>
              <p:tags r:id="rId8"/>
            </p:custDataLst>
            <p:extLst>
              <p:ext uri="{D42A27DB-BD31-4B8C-83A1-F6EECF244321}">
                <p14:modId xmlns:p14="http://schemas.microsoft.com/office/powerpoint/2010/main" val="3177895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532" imgH="532" progId="TCLayout.ActiveDocument.1">
                  <p:embed/>
                </p:oleObj>
              </mc:Choice>
              <mc:Fallback>
                <p:oleObj name="think-cell Folie" r:id="rId9" imgW="532" imgH="532" progId="TCLayout.ActiveDocument.1">
                  <p:embed/>
                  <p:pic>
                    <p:nvPicPr>
                      <p:cNvPr id="5" name="think-cell data - do not delete" hidden="1">
                        <a:extLst>
                          <a:ext uri="{FF2B5EF4-FFF2-40B4-BE49-F238E27FC236}">
                            <a16:creationId xmlns:a16="http://schemas.microsoft.com/office/drawing/2014/main" id="{75E3CB29-D02D-4000-882B-9B74E7DBAC0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8C2762C-EB70-7EB4-B6A5-05388E739381}"/>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F52192F2-60B2-4ECA-6DEB-07D3E11962C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6D34C9F5-F9E2-F062-3B0A-A49AD3DA4DDD}"/>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7" name="Copyright">
            <a:extLst>
              <a:ext uri="{FF2B5EF4-FFF2-40B4-BE49-F238E27FC236}">
                <a16:creationId xmlns:a16="http://schemas.microsoft.com/office/drawing/2014/main" id="{2A337BB6-EB5B-FAA6-381B-0464AF7E2436}"/>
              </a:ext>
            </a:extLst>
          </p:cNvPr>
          <p:cNvSpPr txBox="1"/>
          <p:nvPr userDrawn="1"/>
        </p:nvSpPr>
        <p:spPr>
          <a:xfrm>
            <a:off x="457200" y="6519672"/>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Aptos" panose="020B0004020202020204" pitchFamily="34" charset="0"/>
                <a:cs typeface="Calibri" panose="020F0502020204030204" pitchFamily="34" charset="0"/>
              </a:rPr>
              <a:t>Deloitte Consulting: AI@SAP Center of Excellence</a:t>
            </a:r>
          </a:p>
        </p:txBody>
      </p:sp>
    </p:spTree>
    <p:extLst>
      <p:ext uri="{BB962C8B-B14F-4D97-AF65-F5344CB8AC3E}">
        <p14:creationId xmlns:p14="http://schemas.microsoft.com/office/powerpoint/2010/main" val="2656812900"/>
      </p:ext>
    </p:extLst>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Lst>
  <p:hf hdr="0" dt="0"/>
  <p:txStyles>
    <p:titleStyle>
      <a:lvl1pPr algn="l" defTabSz="914400" rtl="0" eaLnBrk="1" latinLnBrk="0" hangingPunct="1">
        <a:lnSpc>
          <a:spcPct val="90000"/>
        </a:lnSpc>
        <a:spcBef>
          <a:spcPct val="0"/>
        </a:spcBef>
        <a:buNone/>
        <a:defRPr sz="24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System Font Regular"/>
        <a:buChar char="⏤"/>
        <a:defRPr sz="16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System Font Regular"/>
        <a:buChar char="・"/>
        <a:defRPr sz="14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System Font Regular"/>
        <a:buChar char="◦"/>
        <a:defRPr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D231F7-E891-4D2C-8589-977351864B19}"/>
              </a:ext>
            </a:extLst>
          </p:cNvPr>
          <p:cNvGraphicFramePr>
            <a:graphicFrameLocks noChangeAspect="1"/>
          </p:cNvGraphicFramePr>
          <p:nvPr userDrawn="1">
            <p:custDataLst>
              <p:tags r:id="rId49"/>
            </p:custDataLst>
            <p:extLst>
              <p:ext uri="{D42A27DB-BD31-4B8C-83A1-F6EECF244321}">
                <p14:modId xmlns:p14="http://schemas.microsoft.com/office/powerpoint/2010/main" val="1474609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2" imgW="592" imgH="595" progId="TCLayout.ActiveDocument.1">
                  <p:embed/>
                </p:oleObj>
              </mc:Choice>
              <mc:Fallback>
                <p:oleObj name="think-cell Folie" r:id="rId52" imgW="592" imgH="595" progId="TCLayout.ActiveDocument.1">
                  <p:embed/>
                  <p:pic>
                    <p:nvPicPr>
                      <p:cNvPr id="7" name="Object 6" hidden="1">
                        <a:extLst>
                          <a:ext uri="{FF2B5EF4-FFF2-40B4-BE49-F238E27FC236}">
                            <a16:creationId xmlns:a16="http://schemas.microsoft.com/office/drawing/2014/main" id="{EBD231F7-E891-4D2C-8589-977351864B19}"/>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5" name="empower - DO NOT DELETE!!!">
            <a:extLst>
              <a:ext uri="{FF2B5EF4-FFF2-40B4-BE49-F238E27FC236}">
                <a16:creationId xmlns:a16="http://schemas.microsoft.com/office/drawing/2014/main" id="{AF3F685E-75BA-4AAC-8247-5B8C55DC34A1}"/>
              </a:ext>
            </a:extLst>
          </p:cNvPr>
          <p:cNvSpPr/>
          <p:nvPr>
            <p:custDataLst>
              <p:tags r:id="rId50"/>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en-US" sz="1600" b="1">
              <a:solidFill>
                <a:schemeClr val="bg1"/>
              </a:solidFill>
            </a:endParaRPr>
          </a:p>
        </p:txBody>
      </p:sp>
      <p:sp>
        <p:nvSpPr>
          <p:cNvPr id="4" name="empower - DO NOT DELETE!!!" hidden="1">
            <a:extLst>
              <a:ext uri="{FF2B5EF4-FFF2-40B4-BE49-F238E27FC236}">
                <a16:creationId xmlns:a16="http://schemas.microsoft.com/office/drawing/2014/main" id="{010D3BDB-9505-4DFA-9DF5-8ABBE694D4C1}"/>
              </a:ext>
            </a:extLst>
          </p:cNvPr>
          <p:cNvSpPr/>
          <p:nvPr>
            <p:custDataLst>
              <p:tags r:id="rId51"/>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952725437"/>
      </p:ext>
    </p:extLst>
  </p:cSld>
  <p:clrMap bg1="lt1" tx1="dk1" bg2="lt2" tx2="dk2" accent1="accent1" accent2="accent2" accent3="accent3" accent4="accent4" accent5="accent5" accent6="accent6" hlink="hlink" folHlink="folHlink"/>
  <p:sldLayoutIdLst>
    <p:sldLayoutId id="2147484643" r:id="rId1"/>
    <p:sldLayoutId id="2147484644" r:id="rId2"/>
    <p:sldLayoutId id="2147484645" r:id="rId3"/>
    <p:sldLayoutId id="2147484646" r:id="rId4"/>
    <p:sldLayoutId id="2147484647" r:id="rId5"/>
    <p:sldLayoutId id="2147484648" r:id="rId6"/>
    <p:sldLayoutId id="2147484649" r:id="rId7"/>
    <p:sldLayoutId id="2147484650" r:id="rId8"/>
    <p:sldLayoutId id="2147484651" r:id="rId9"/>
    <p:sldLayoutId id="2147484652" r:id="rId10"/>
    <p:sldLayoutId id="2147484653" r:id="rId11"/>
    <p:sldLayoutId id="2147484654" r:id="rId12"/>
    <p:sldLayoutId id="2147484655" r:id="rId13"/>
    <p:sldLayoutId id="2147484656" r:id="rId14"/>
    <p:sldLayoutId id="2147484657" r:id="rId15"/>
    <p:sldLayoutId id="2147484658" r:id="rId16"/>
    <p:sldLayoutId id="2147484659" r:id="rId17"/>
    <p:sldLayoutId id="2147484660" r:id="rId18"/>
    <p:sldLayoutId id="2147484661" r:id="rId19"/>
    <p:sldLayoutId id="2147484662" r:id="rId20"/>
    <p:sldLayoutId id="2147484663" r:id="rId21"/>
    <p:sldLayoutId id="2147484664" r:id="rId22"/>
    <p:sldLayoutId id="2147484665" r:id="rId23"/>
    <p:sldLayoutId id="2147484666" r:id="rId24"/>
    <p:sldLayoutId id="2147484667" r:id="rId25"/>
    <p:sldLayoutId id="2147484668" r:id="rId26"/>
    <p:sldLayoutId id="2147484669" r:id="rId27"/>
    <p:sldLayoutId id="2147484670" r:id="rId28"/>
    <p:sldLayoutId id="2147484671" r:id="rId29"/>
    <p:sldLayoutId id="2147484672" r:id="rId30"/>
    <p:sldLayoutId id="2147484673" r:id="rId31"/>
    <p:sldLayoutId id="2147484674" r:id="rId32"/>
    <p:sldLayoutId id="2147484675" r:id="rId33"/>
    <p:sldLayoutId id="2147484676" r:id="rId34"/>
    <p:sldLayoutId id="2147484677" r:id="rId35"/>
    <p:sldLayoutId id="2147484678" r:id="rId36"/>
    <p:sldLayoutId id="2147484679" r:id="rId37"/>
    <p:sldLayoutId id="2147484680" r:id="rId38"/>
    <p:sldLayoutId id="2147484681" r:id="rId39"/>
    <p:sldLayoutId id="2147484682" r:id="rId40"/>
    <p:sldLayoutId id="2147484683" r:id="rId41"/>
    <p:sldLayoutId id="2147484684" r:id="rId42"/>
    <p:sldLayoutId id="2147484685" r:id="rId43"/>
    <p:sldLayoutId id="2147484686" r:id="rId44"/>
    <p:sldLayoutId id="2147484687" r:id="rId45"/>
    <p:sldLayoutId id="2147484688" r:id="rId46"/>
    <p:sldLayoutId id="2147484689" r:id="rId47"/>
  </p:sldLayoutIdLst>
  <p:transition>
    <p:fade/>
  </p:transition>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267300" indent="0" algn="l" defTabSz="685800" rtl="0" eaLnBrk="1" latinLnBrk="0" hangingPunct="1">
        <a:spcBef>
          <a:spcPts val="0"/>
        </a:spcBef>
        <a:spcAft>
          <a:spcPts val="750"/>
        </a:spcAft>
        <a:buFont typeface="Verdana" panose="020B0604030504040204" pitchFamily="34" charset="0"/>
        <a:buNone/>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6">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0.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59.pn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54.png"/><Relationship Id="rId11" Type="http://schemas.openxmlformats.org/officeDocument/2006/relationships/image" Target="../media/image10.png"/><Relationship Id="rId5" Type="http://schemas.openxmlformats.org/officeDocument/2006/relationships/image" Target="../media/image53.png"/><Relationship Id="rId15" Type="http://schemas.openxmlformats.org/officeDocument/2006/relationships/image" Target="../media/image62.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jpeg"/><Relationship Id="rId14" Type="http://schemas.openxmlformats.org/officeDocument/2006/relationships/image" Target="../media/image61.png"/></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6.xml"/><Relationship Id="rId5" Type="http://schemas.openxmlformats.org/officeDocument/2006/relationships/image" Target="../media/image59.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6.xml"/><Relationship Id="rId6" Type="http://schemas.openxmlformats.org/officeDocument/2006/relationships/image" Target="../media/image71.png"/><Relationship Id="rId5" Type="http://schemas.openxmlformats.org/officeDocument/2006/relationships/image" Target="../media/image59.pn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152.xml"/><Relationship Id="rId1" Type="http://schemas.openxmlformats.org/officeDocument/2006/relationships/tags" Target="../tags/tag369.xml"/><Relationship Id="rId5" Type="http://schemas.openxmlformats.org/officeDocument/2006/relationships/image" Target="../media/image72.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6.xml"/><Relationship Id="rId5" Type="http://schemas.openxmlformats.org/officeDocument/2006/relationships/image" Target="../media/image59.pn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8.bin"/><Relationship Id="rId7" Type="http://schemas.openxmlformats.org/officeDocument/2006/relationships/image" Target="../media/image75.png"/><Relationship Id="rId2" Type="http://schemas.openxmlformats.org/officeDocument/2006/relationships/slideLayout" Target="../slideLayouts/slideLayout152.xml"/><Relationship Id="rId1" Type="http://schemas.openxmlformats.org/officeDocument/2006/relationships/tags" Target="../tags/tag370.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6.jpeg"/><Relationship Id="rId1" Type="http://schemas.openxmlformats.org/officeDocument/2006/relationships/slideLayout" Target="../slideLayouts/slideLayout66.xml"/><Relationship Id="rId4" Type="http://schemas.openxmlformats.org/officeDocument/2006/relationships/image" Target="../media/image59.png"/></Relationships>
</file>

<file path=ppt/slides/_rels/slide16.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7.xml"/><Relationship Id="rId7" Type="http://schemas.openxmlformats.org/officeDocument/2006/relationships/image" Target="../media/image78.svg"/><Relationship Id="rId2" Type="http://schemas.openxmlformats.org/officeDocument/2006/relationships/slideLayout" Target="../slideLayouts/slideLayout118.xml"/><Relationship Id="rId1" Type="http://schemas.openxmlformats.org/officeDocument/2006/relationships/tags" Target="../tags/tag371.xml"/><Relationship Id="rId6" Type="http://schemas.openxmlformats.org/officeDocument/2006/relationships/image" Target="../media/image77.png"/><Relationship Id="rId5" Type="http://schemas.openxmlformats.org/officeDocument/2006/relationships/image" Target="../media/image34.emf"/><Relationship Id="rId4" Type="http://schemas.openxmlformats.org/officeDocument/2006/relationships/oleObject" Target="../embeddings/oleObject89.bin"/><Relationship Id="rId9" Type="http://schemas.openxmlformats.org/officeDocument/2006/relationships/image" Target="../media/image80.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image" Target="../media/image51.png"/><Relationship Id="rId7"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62.png"/><Relationship Id="rId4" Type="http://schemas.openxmlformats.org/officeDocument/2006/relationships/image" Target="../media/image53.png"/><Relationship Id="rId9" Type="http://schemas.openxmlformats.org/officeDocument/2006/relationships/image" Target="../media/image58.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8.xml"/><Relationship Id="rId5" Type="http://schemas.openxmlformats.org/officeDocument/2006/relationships/image" Target="../media/image53.png"/><Relationship Id="rId4" Type="http://schemas.openxmlformats.org/officeDocument/2006/relationships/image" Target="../media/image59.png"/></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3" Type="http://schemas.openxmlformats.org/officeDocument/2006/relationships/image" Target="../media/image10.png"/><Relationship Id="rId7" Type="http://schemas.openxmlformats.org/officeDocument/2006/relationships/diagramLayout" Target="../diagrams/layout1.xml"/><Relationship Id="rId12" Type="http://schemas.openxmlformats.org/officeDocument/2006/relationships/diagramLayout" Target="../diagrams/layout2.xml"/><Relationship Id="rId17" Type="http://schemas.openxmlformats.org/officeDocument/2006/relationships/image" Target="../media/image64.png"/><Relationship Id="rId2" Type="http://schemas.openxmlformats.org/officeDocument/2006/relationships/notesSlide" Target="../notesSlides/notesSlide4.xml"/><Relationship Id="rId16" Type="http://schemas.openxmlformats.org/officeDocument/2006/relationships/image" Target="../media/image63.png"/><Relationship Id="rId1" Type="http://schemas.openxmlformats.org/officeDocument/2006/relationships/slideLayout" Target="../slideLayouts/slideLayout38.xml"/><Relationship Id="rId6" Type="http://schemas.openxmlformats.org/officeDocument/2006/relationships/diagramData" Target="../diagrams/data1.xml"/><Relationship Id="rId11" Type="http://schemas.openxmlformats.org/officeDocument/2006/relationships/diagramData" Target="../diagrams/data2.xml"/><Relationship Id="rId5" Type="http://schemas.openxmlformats.org/officeDocument/2006/relationships/image" Target="../media/image53.png"/><Relationship Id="rId15" Type="http://schemas.microsoft.com/office/2007/relationships/diagramDrawing" Target="../diagrams/drawing2.xml"/><Relationship Id="rId10" Type="http://schemas.microsoft.com/office/2007/relationships/diagramDrawing" Target="../diagrams/drawing1.xml"/><Relationship Id="rId4" Type="http://schemas.openxmlformats.org/officeDocument/2006/relationships/image" Target="../media/image59.png"/><Relationship Id="rId9" Type="http://schemas.openxmlformats.org/officeDocument/2006/relationships/diagramColors" Target="../diagrams/colors1.xml"/><Relationship Id="rId14" Type="http://schemas.openxmlformats.org/officeDocument/2006/relationships/diagramColors" Target="../diagrams/colors2.xml"/></Relationships>
</file>

<file path=ppt/slides/_rels/slide5.xml.rels><?xml version="1.0" encoding="UTF-8" standalone="yes"?>
<Relationships xmlns="http://schemas.openxmlformats.org/package/2006/relationships"><Relationship Id="rId3" Type="http://schemas.openxmlformats.org/officeDocument/2006/relationships/image" Target="../media/image65.jpeg"/><Relationship Id="rId7"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0.png"/><Relationship Id="rId5" Type="http://schemas.openxmlformats.org/officeDocument/2006/relationships/image" Target="../media/image67.jpeg"/><Relationship Id="rId4" Type="http://schemas.openxmlformats.org/officeDocument/2006/relationships/image" Target="../media/image66.png"/></Relationships>
</file>

<file path=ppt/slides/_rels/slide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6.xml"/><Relationship Id="rId1" Type="http://schemas.openxmlformats.org/officeDocument/2006/relationships/slideLayout" Target="../slideLayouts/slideLayout81.xml"/><Relationship Id="rId6" Type="http://schemas.openxmlformats.org/officeDocument/2006/relationships/hyperlink" Target="https://deudeloitte.sharepoint.com/sites/SAPAICenterofExcellenceCoE/Shared%20Documents/General/06%20-%20G2M,%20Marketing%20&amp;%20Communication/BAP%20GTM/Sapphire%20Deloitte/202505_BAP%20Mockup_Process%20Map_V1.xlsx?web=1" TargetMode="External"/><Relationship Id="rId5" Type="http://schemas.openxmlformats.org/officeDocument/2006/relationships/image" Target="../media/image59.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8.png"/><Relationship Id="rId1" Type="http://schemas.openxmlformats.org/officeDocument/2006/relationships/slideLayout" Target="../slideLayouts/slideLayout66.xml"/><Relationship Id="rId4" Type="http://schemas.openxmlformats.org/officeDocument/2006/relationships/image" Target="../media/image59.png"/></Relationships>
</file>

<file path=ppt/slides/_rels/slide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6.xml"/><Relationship Id="rId5" Type="http://schemas.openxmlformats.org/officeDocument/2006/relationships/image" Target="../media/image59.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9.png"/><Relationship Id="rId1" Type="http://schemas.openxmlformats.org/officeDocument/2006/relationships/slideLayout" Target="../slideLayouts/slideLayout66.xml"/><Relationship Id="rId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56BB8-2192-D78D-D56A-601D5DA539A0}"/>
            </a:ext>
          </a:extLst>
        </p:cNvPr>
        <p:cNvGrpSpPr/>
        <p:nvPr/>
      </p:nvGrpSpPr>
      <p:grpSpPr>
        <a:xfrm>
          <a:off x="0" y="0"/>
          <a:ext cx="0" cy="0"/>
          <a:chOff x="0" y="0"/>
          <a:chExt cx="0" cy="0"/>
        </a:xfrm>
      </p:grpSpPr>
      <p:sp>
        <p:nvSpPr>
          <p:cNvPr id="3111" name="Rectangle 3110">
            <a:extLst>
              <a:ext uri="{FF2B5EF4-FFF2-40B4-BE49-F238E27FC236}">
                <a16:creationId xmlns:a16="http://schemas.microsoft.com/office/drawing/2014/main" id="{650C822C-F677-50C0-BFC6-B65A865DEF60}"/>
              </a:ext>
            </a:extLst>
          </p:cNvPr>
          <p:cNvSpPr/>
          <p:nvPr/>
        </p:nvSpPr>
        <p:spPr>
          <a:xfrm>
            <a:off x="0" y="-44202"/>
            <a:ext cx="12192000" cy="10860815"/>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30" name="Rectangle 1029">
            <a:extLst>
              <a:ext uri="{FF2B5EF4-FFF2-40B4-BE49-F238E27FC236}">
                <a16:creationId xmlns:a16="http://schemas.microsoft.com/office/drawing/2014/main" id="{DFDC3D57-0E82-5B4D-C692-43D5196EA0F4}"/>
              </a:ext>
            </a:extLst>
          </p:cNvPr>
          <p:cNvSpPr/>
          <p:nvPr/>
        </p:nvSpPr>
        <p:spPr>
          <a:xfrm>
            <a:off x="0" y="1411371"/>
            <a:ext cx="12192000" cy="269370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35" name="Picture 1034">
            <a:extLst>
              <a:ext uri="{FF2B5EF4-FFF2-40B4-BE49-F238E27FC236}">
                <a16:creationId xmlns:a16="http://schemas.microsoft.com/office/drawing/2014/main" id="{795B8688-AAE8-E0BC-C36B-817FED38A8F5}"/>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914161" y="2043358"/>
            <a:ext cx="5132971" cy="2662301"/>
          </a:xfrm>
          <a:prstGeom prst="rect">
            <a:avLst/>
          </a:prstGeom>
        </p:spPr>
      </p:pic>
      <p:sp>
        <p:nvSpPr>
          <p:cNvPr id="2" name="Rectangle 1">
            <a:extLst>
              <a:ext uri="{FF2B5EF4-FFF2-40B4-BE49-F238E27FC236}">
                <a16:creationId xmlns:a16="http://schemas.microsoft.com/office/drawing/2014/main" id="{00EB479B-3BE8-A049-1C95-44B3D0A240A1}"/>
              </a:ext>
            </a:extLst>
          </p:cNvPr>
          <p:cNvSpPr/>
          <p:nvPr/>
        </p:nvSpPr>
        <p:spPr>
          <a:xfrm>
            <a:off x="-1" y="5489152"/>
            <a:ext cx="11915246" cy="462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Picture 14">
            <a:extLst>
              <a:ext uri="{FF2B5EF4-FFF2-40B4-BE49-F238E27FC236}">
                <a16:creationId xmlns:a16="http://schemas.microsoft.com/office/drawing/2014/main" id="{8D0EBD9C-B7C3-494C-0B8D-2A938F0B32A7}"/>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23540" y="1228005"/>
            <a:ext cx="3222548" cy="3222548"/>
          </a:xfrm>
          <a:prstGeom prst="rect">
            <a:avLst/>
          </a:prstGeom>
        </p:spPr>
      </p:pic>
      <p:grpSp>
        <p:nvGrpSpPr>
          <p:cNvPr id="24" name="Group 23">
            <a:extLst>
              <a:ext uri="{FF2B5EF4-FFF2-40B4-BE49-F238E27FC236}">
                <a16:creationId xmlns:a16="http://schemas.microsoft.com/office/drawing/2014/main" id="{24C3AF57-A82A-E944-A98D-9C63A6CB548E}"/>
              </a:ext>
            </a:extLst>
          </p:cNvPr>
          <p:cNvGrpSpPr/>
          <p:nvPr/>
        </p:nvGrpSpPr>
        <p:grpSpPr>
          <a:xfrm>
            <a:off x="-1" y="4150794"/>
            <a:ext cx="12192005" cy="2707206"/>
            <a:chOff x="712048" y="4356203"/>
            <a:chExt cx="21774405" cy="2311104"/>
          </a:xfrm>
        </p:grpSpPr>
        <p:sp>
          <p:nvSpPr>
            <p:cNvPr id="1031" name="Rectangle: Rounded Corners 1030">
              <a:extLst>
                <a:ext uri="{FF2B5EF4-FFF2-40B4-BE49-F238E27FC236}">
                  <a16:creationId xmlns:a16="http://schemas.microsoft.com/office/drawing/2014/main" id="{89613A42-2E3E-C2E2-3786-6AA655CA8C33}"/>
                </a:ext>
              </a:extLst>
            </p:cNvPr>
            <p:cNvSpPr/>
            <p:nvPr/>
          </p:nvSpPr>
          <p:spPr>
            <a:xfrm>
              <a:off x="712048"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600" b="1">
                  <a:solidFill>
                    <a:srgbClr val="FFFFFF"/>
                  </a:solidFill>
                </a:rPr>
                <a:t>Agents</a:t>
              </a:r>
              <a:endParaRPr lang="en-US" sz="1400">
                <a:solidFill>
                  <a:srgbClr val="FFFFFF"/>
                </a:solidFill>
              </a:endParaRPr>
            </a:p>
            <a:p>
              <a:pPr algn="ctr">
                <a:spcAft>
                  <a:spcPts val="600"/>
                </a:spcAft>
              </a:pPr>
              <a:r>
                <a:rPr lang="en-US" sz="1400">
                  <a:solidFill>
                    <a:srgbClr val="FFFFFF"/>
                  </a:solidFill>
                </a:rPr>
                <a:t>Description of all the available agents</a:t>
              </a:r>
              <a:endParaRPr lang="en-US" sz="1400"/>
            </a:p>
          </p:txBody>
        </p:sp>
        <p:sp>
          <p:nvSpPr>
            <p:cNvPr id="1033" name="Rectangle: Rounded Corners 1032">
              <a:extLst>
                <a:ext uri="{FF2B5EF4-FFF2-40B4-BE49-F238E27FC236}">
                  <a16:creationId xmlns:a16="http://schemas.microsoft.com/office/drawing/2014/main" id="{6E6A0C21-7C7E-CA11-CEC4-5655D21466FE}"/>
                </a:ext>
              </a:extLst>
            </p:cNvPr>
            <p:cNvSpPr/>
            <p:nvPr/>
          </p:nvSpPr>
          <p:spPr>
            <a:xfrm>
              <a:off x="4356189"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600" b="1">
                  <a:solidFill>
                    <a:schemeClr val="bg1"/>
                  </a:solidFill>
                </a:rPr>
                <a:t>Process Map</a:t>
              </a:r>
            </a:p>
            <a:p>
              <a:pPr algn="ctr">
                <a:spcAft>
                  <a:spcPts val="600"/>
                </a:spcAft>
              </a:pPr>
              <a:r>
                <a:rPr lang="en-US" sz="1400">
                  <a:solidFill>
                    <a:schemeClr val="bg1"/>
                  </a:solidFill>
                </a:rPr>
                <a:t>Learn how agents could help you</a:t>
              </a:r>
            </a:p>
          </p:txBody>
        </p:sp>
        <p:sp>
          <p:nvSpPr>
            <p:cNvPr id="1034" name="Rectangle: Rounded Corners 1033">
              <a:extLst>
                <a:ext uri="{FF2B5EF4-FFF2-40B4-BE49-F238E27FC236}">
                  <a16:creationId xmlns:a16="http://schemas.microsoft.com/office/drawing/2014/main" id="{C222ADBC-B361-14AE-3F26-EC74FD132A44}"/>
                </a:ext>
              </a:extLst>
            </p:cNvPr>
            <p:cNvSpPr/>
            <p:nvPr/>
          </p:nvSpPr>
          <p:spPr>
            <a:xfrm>
              <a:off x="8000330"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400">
                  <a:solidFill>
                    <a:schemeClr val="bg1"/>
                  </a:solidFill>
                </a:rPr>
                <a:t> </a:t>
              </a:r>
              <a:r>
                <a:rPr lang="en-US" sz="1600" b="1">
                  <a:solidFill>
                    <a:schemeClr val="bg1"/>
                  </a:solidFill>
                </a:rPr>
                <a:t>Agent Launchpad</a:t>
              </a:r>
              <a:endParaRPr lang="en-US" sz="1400" b="1">
                <a:solidFill>
                  <a:schemeClr val="bg1"/>
                </a:solidFill>
              </a:endParaRPr>
            </a:p>
            <a:p>
              <a:pPr algn="ctr">
                <a:spcAft>
                  <a:spcPts val="600"/>
                </a:spcAft>
              </a:pPr>
              <a:r>
                <a:rPr lang="en-US" sz="1400">
                  <a:solidFill>
                    <a:schemeClr val="bg1"/>
                  </a:solidFill>
                  <a:ea typeface="Open Sans"/>
                  <a:cs typeface="Open Sans"/>
                </a:rPr>
                <a:t>Use your agents</a:t>
              </a:r>
              <a:endParaRPr lang="en-US" sz="1600">
                <a:solidFill>
                  <a:schemeClr val="bg1"/>
                </a:solidFill>
                <a:ea typeface="Open Sans"/>
                <a:cs typeface="Open Sans"/>
              </a:endParaRPr>
            </a:p>
          </p:txBody>
        </p:sp>
        <p:sp>
          <p:nvSpPr>
            <p:cNvPr id="1037" name="Rectangle: Rounded Corners 1036">
              <a:extLst>
                <a:ext uri="{FF2B5EF4-FFF2-40B4-BE49-F238E27FC236}">
                  <a16:creationId xmlns:a16="http://schemas.microsoft.com/office/drawing/2014/main" id="{4EDD4197-79E4-4062-1673-8E1D9BF4B409}"/>
                </a:ext>
              </a:extLst>
            </p:cNvPr>
            <p:cNvSpPr/>
            <p:nvPr/>
          </p:nvSpPr>
          <p:spPr>
            <a:xfrm>
              <a:off x="15288612"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600" b="1">
                  <a:solidFill>
                    <a:schemeClr val="bg1"/>
                  </a:solidFill>
                </a:rPr>
                <a:t>Joule</a:t>
              </a:r>
            </a:p>
            <a:p>
              <a:pPr algn="ctr">
                <a:spcAft>
                  <a:spcPts val="600"/>
                </a:spcAft>
              </a:pPr>
              <a:r>
                <a:rPr lang="en-US" sz="1400">
                  <a:solidFill>
                    <a:schemeClr val="bg1"/>
                  </a:solidFill>
                </a:rPr>
                <a:t>BAP &amp; Joule are working together</a:t>
              </a:r>
            </a:p>
          </p:txBody>
        </p:sp>
        <p:sp>
          <p:nvSpPr>
            <p:cNvPr id="1038" name="Rectangle: Rounded Corners 1037">
              <a:extLst>
                <a:ext uri="{FF2B5EF4-FFF2-40B4-BE49-F238E27FC236}">
                  <a16:creationId xmlns:a16="http://schemas.microsoft.com/office/drawing/2014/main" id="{D01411EA-616B-1AEF-290B-A56B708B74ED}"/>
                </a:ext>
              </a:extLst>
            </p:cNvPr>
            <p:cNvSpPr/>
            <p:nvPr/>
          </p:nvSpPr>
          <p:spPr>
            <a:xfrm>
              <a:off x="18932754"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600" b="1">
                  <a:solidFill>
                    <a:schemeClr val="bg1"/>
                  </a:solidFill>
                </a:rPr>
                <a:t>Zora</a:t>
              </a:r>
            </a:p>
            <a:p>
              <a:pPr algn="ctr">
                <a:spcAft>
                  <a:spcPts val="600"/>
                </a:spcAft>
              </a:pPr>
              <a:r>
                <a:rPr lang="en-US" sz="1400">
                  <a:solidFill>
                    <a:schemeClr val="bg1"/>
                  </a:solidFill>
                </a:rPr>
                <a:t>Learn about Deloitte Zora</a:t>
              </a:r>
            </a:p>
          </p:txBody>
        </p:sp>
        <p:sp>
          <p:nvSpPr>
            <p:cNvPr id="10" name="Rectangle: Rounded Corners 1037">
              <a:extLst>
                <a:ext uri="{FF2B5EF4-FFF2-40B4-BE49-F238E27FC236}">
                  <a16:creationId xmlns:a16="http://schemas.microsoft.com/office/drawing/2014/main" id="{B985C3A5-0ECB-0D3E-0D5E-BE56543FE391}"/>
                </a:ext>
              </a:extLst>
            </p:cNvPr>
            <p:cNvSpPr/>
            <p:nvPr/>
          </p:nvSpPr>
          <p:spPr>
            <a:xfrm>
              <a:off x="11644471"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600" b="1">
                  <a:solidFill>
                    <a:schemeClr val="bg1"/>
                  </a:solidFill>
                </a:rPr>
                <a:t>Consultant in the Loop</a:t>
              </a:r>
            </a:p>
            <a:p>
              <a:pPr algn="ctr">
                <a:spcAft>
                  <a:spcPts val="600"/>
                </a:spcAft>
              </a:pPr>
              <a:r>
                <a:rPr lang="en-US" sz="2000"/>
                <a:t> </a:t>
              </a:r>
              <a:r>
                <a:rPr lang="en-US" sz="1400"/>
                <a:t>Smarter Decisions. Human Support. </a:t>
              </a:r>
              <a:endParaRPr lang="en-US" sz="1400" b="1">
                <a:solidFill>
                  <a:schemeClr val="bg1"/>
                </a:solidFill>
              </a:endParaRPr>
            </a:p>
          </p:txBody>
        </p:sp>
      </p:grpSp>
      <p:pic>
        <p:nvPicPr>
          <p:cNvPr id="1026" name="Picture 2" descr="Banner">
            <a:extLst>
              <a:ext uri="{FF2B5EF4-FFF2-40B4-BE49-F238E27FC236}">
                <a16:creationId xmlns:a16="http://schemas.microsoft.com/office/drawing/2014/main" id="{C4E0DAA6-18C1-C6BB-2E40-4D6ED3E1F743}"/>
              </a:ext>
            </a:extLst>
          </p:cNvPr>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405944" y="4181885"/>
            <a:ext cx="1343140" cy="109119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66CA608-3292-46EA-0F53-1B34D9A8FBE0}"/>
              </a:ext>
            </a:extLst>
          </p:cNvPr>
          <p:cNvPicPr>
            <a:picLocks noChangeAspect="1"/>
          </p:cNvPicPr>
          <p:nvPr/>
        </p:nvPicPr>
        <p:blipFill>
          <a:blip r:embed="rId6"/>
          <a:srcRect t="4576" b="24006"/>
          <a:stretch/>
        </p:blipFill>
        <p:spPr>
          <a:xfrm>
            <a:off x="4359330" y="4493468"/>
            <a:ext cx="1504958" cy="709478"/>
          </a:xfrm>
          <a:prstGeom prst="roundRect">
            <a:avLst>
              <a:gd name="adj" fmla="val 0"/>
            </a:avLst>
          </a:prstGeom>
          <a:ln>
            <a:noFill/>
          </a:ln>
          <a:effectLst>
            <a:glow rad="63500">
              <a:schemeClr val="accent1">
                <a:satMod val="175000"/>
                <a:alpha val="40000"/>
              </a:schemeClr>
            </a:glow>
            <a:outerShdw blurRad="50800" dist="38100" dir="2700000" algn="tl" rotWithShape="0">
              <a:prstClr val="black">
                <a:alpha val="40000"/>
              </a:prstClr>
            </a:outerShdw>
          </a:effectLst>
        </p:spPr>
      </p:pic>
      <p:pic>
        <p:nvPicPr>
          <p:cNvPr id="1028" name="Picture 4">
            <a:extLst>
              <a:ext uri="{FF2B5EF4-FFF2-40B4-BE49-F238E27FC236}">
                <a16:creationId xmlns:a16="http://schemas.microsoft.com/office/drawing/2014/main" id="{90F3F899-E05A-166A-C01E-C9FFEC7EFFDD}"/>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0644331" y="4264552"/>
            <a:ext cx="1046316" cy="111782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61346462-811D-1E01-1AFF-AFAB3949516C}"/>
              </a:ext>
            </a:extLst>
          </p:cNvPr>
          <p:cNvPicPr>
            <a:picLocks noChangeAspect="1"/>
          </p:cNvPicPr>
          <p:nvPr/>
        </p:nvPicPr>
        <p:blipFill>
          <a:blip r:embed="rId8"/>
          <a:srcRect l="8751" t="6370" r="7396" b="5353"/>
          <a:stretch/>
        </p:blipFill>
        <p:spPr>
          <a:xfrm>
            <a:off x="8582064" y="4284599"/>
            <a:ext cx="1083718" cy="1075118"/>
          </a:xfrm>
          <a:prstGeom prst="ellipse">
            <a:avLst/>
          </a:prstGeom>
        </p:spPr>
      </p:pic>
      <p:pic>
        <p:nvPicPr>
          <p:cNvPr id="3077" name="Picture 5" descr="COVID-19 sector heatmaps: Understand business impact | Deloitte Singapore |  About Deloitte">
            <a:extLst>
              <a:ext uri="{FF2B5EF4-FFF2-40B4-BE49-F238E27FC236}">
                <a16:creationId xmlns:a16="http://schemas.microsoft.com/office/drawing/2014/main" id="{550AB257-95AC-9841-A969-54AB2F277430}"/>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2428004" y="4248000"/>
            <a:ext cx="1085636" cy="108563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Banner">
            <a:extLst>
              <a:ext uri="{FF2B5EF4-FFF2-40B4-BE49-F238E27FC236}">
                <a16:creationId xmlns:a16="http://schemas.microsoft.com/office/drawing/2014/main" id="{AB28FB14-6605-1EC2-49EF-AF0504460618}"/>
              </a:ext>
            </a:extLst>
          </p:cNvPr>
          <p:cNvPicPr>
            <a:picLocks noChangeAspect="1" noChangeArrowheads="1"/>
          </p:cNvPicPr>
          <p:nvPr/>
        </p:nvPicPr>
        <p:blipFill rotWithShape="1">
          <a:blip r:embed="rId10" cstate="email">
            <a:extLst>
              <a:ext uri="{28A0092B-C50C-407E-A947-70E740481C1C}">
                <a14:useLocalDpi xmlns:a14="http://schemas.microsoft.com/office/drawing/2010/main" val="0"/>
              </a:ext>
            </a:extLst>
          </a:blip>
          <a:srcRect/>
          <a:stretch/>
        </p:blipFill>
        <p:spPr bwMode="auto">
          <a:xfrm>
            <a:off x="6571884" y="4300004"/>
            <a:ext cx="1056662" cy="1056662"/>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D3530A6C-D9DF-7BCD-E79F-161A58B4730A}"/>
              </a:ext>
            </a:extLst>
          </p:cNvPr>
          <p:cNvGrpSpPr/>
          <p:nvPr/>
        </p:nvGrpSpPr>
        <p:grpSpPr>
          <a:xfrm>
            <a:off x="0" y="-44202"/>
            <a:ext cx="12192000" cy="1400325"/>
            <a:chOff x="0" y="-44202"/>
            <a:chExt cx="12192000" cy="1400325"/>
          </a:xfrm>
        </p:grpSpPr>
        <p:sp>
          <p:nvSpPr>
            <p:cNvPr id="59" name="Rectangle 58">
              <a:extLst>
                <a:ext uri="{FF2B5EF4-FFF2-40B4-BE49-F238E27FC236}">
                  <a16:creationId xmlns:a16="http://schemas.microsoft.com/office/drawing/2014/main" id="{CB880FB4-0872-021A-2971-AED1DCD86D1C}"/>
                </a:ext>
              </a:extLst>
            </p:cNvPr>
            <p:cNvSpPr/>
            <p:nvPr/>
          </p:nvSpPr>
          <p:spPr>
            <a:xfrm>
              <a:off x="0" y="-44202"/>
              <a:ext cx="12192000" cy="140032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u="sng"/>
            </a:p>
          </p:txBody>
        </p:sp>
        <p:pic>
          <p:nvPicPr>
            <p:cNvPr id="60" name="Picture 59">
              <a:extLst>
                <a:ext uri="{FF2B5EF4-FFF2-40B4-BE49-F238E27FC236}">
                  <a16:creationId xmlns:a16="http://schemas.microsoft.com/office/drawing/2014/main" id="{733F8F66-FFFE-E5A5-300D-E456D9939A45}"/>
                </a:ext>
              </a:extLst>
            </p:cNvPr>
            <p:cNvPicPr>
              <a:picLocks noChangeAspect="1"/>
            </p:cNvPicPr>
            <p:nvPr/>
          </p:nvPicPr>
          <p:blipFill>
            <a:blip r:embed="rId11" cstate="screen">
              <a:extLst>
                <a:ext uri="{28A0092B-C50C-407E-A947-70E740481C1C}">
                  <a14:useLocalDpi xmlns:a14="http://schemas.microsoft.com/office/drawing/2010/main"/>
                </a:ext>
              </a:extLst>
            </a:blip>
            <a:srcRect l="12359" t="29466" r="11827" b="27443"/>
            <a:stretch/>
          </p:blipFill>
          <p:spPr>
            <a:xfrm>
              <a:off x="130505" y="139288"/>
              <a:ext cx="2777795" cy="640511"/>
            </a:xfrm>
            <a:prstGeom prst="rect">
              <a:avLst/>
            </a:prstGeom>
          </p:spPr>
        </p:pic>
        <p:sp>
          <p:nvSpPr>
            <p:cNvPr id="22" name="Rectangle 21">
              <a:extLst>
                <a:ext uri="{FF2B5EF4-FFF2-40B4-BE49-F238E27FC236}">
                  <a16:creationId xmlns:a16="http://schemas.microsoft.com/office/drawing/2014/main" id="{31D64174-E795-9114-DCD0-06DCF69EE2EE}"/>
                </a:ext>
              </a:extLst>
            </p:cNvPr>
            <p:cNvSpPr/>
            <p:nvPr/>
          </p:nvSpPr>
          <p:spPr>
            <a:xfrm>
              <a:off x="11178857" y="732541"/>
              <a:ext cx="534147" cy="161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rPr>
                <a:t>My Site</a:t>
              </a:r>
            </a:p>
          </p:txBody>
        </p:sp>
        <p:sp>
          <p:nvSpPr>
            <p:cNvPr id="16" name="Rectangle 15">
              <a:extLst>
                <a:ext uri="{FF2B5EF4-FFF2-40B4-BE49-F238E27FC236}">
                  <a16:creationId xmlns:a16="http://schemas.microsoft.com/office/drawing/2014/main" id="{0C71A762-6E58-62D3-5F7A-4CC65DA3824A}"/>
                </a:ext>
              </a:extLst>
            </p:cNvPr>
            <p:cNvSpPr/>
            <p:nvPr/>
          </p:nvSpPr>
          <p:spPr>
            <a:xfrm>
              <a:off x="10332551" y="922777"/>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Chat with a consultant</a:t>
              </a:r>
            </a:p>
          </p:txBody>
        </p:sp>
        <p:pic>
          <p:nvPicPr>
            <p:cNvPr id="14" name="Picture 4" descr="Banner">
              <a:extLst>
                <a:ext uri="{FF2B5EF4-FFF2-40B4-BE49-F238E27FC236}">
                  <a16:creationId xmlns:a16="http://schemas.microsoft.com/office/drawing/2014/main" id="{F47334B0-220B-117D-0B23-B39AE8BEC2A6}"/>
                </a:ext>
              </a:extLst>
            </p:cNvPr>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10381697" y="66195"/>
              <a:ext cx="1594320" cy="895532"/>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Speech Bubble: Rectangle 7">
            <a:extLst>
              <a:ext uri="{FF2B5EF4-FFF2-40B4-BE49-F238E27FC236}">
                <a16:creationId xmlns:a16="http://schemas.microsoft.com/office/drawing/2014/main" id="{2F7594F2-61F8-AA0B-7143-EE394E4950BC}"/>
              </a:ext>
            </a:extLst>
          </p:cNvPr>
          <p:cNvSpPr/>
          <p:nvPr/>
        </p:nvSpPr>
        <p:spPr>
          <a:xfrm>
            <a:off x="12598655" y="66195"/>
            <a:ext cx="3990159" cy="3222548"/>
          </a:xfrm>
          <a:prstGeom prst="wedgeRectCallout">
            <a:avLst>
              <a:gd name="adj1" fmla="val -57208"/>
              <a:gd name="adj2" fmla="val 4403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err="1"/>
              <a:t>When</a:t>
            </a:r>
            <a:r>
              <a:rPr lang="de-DE"/>
              <a:t> </a:t>
            </a:r>
            <a:r>
              <a:rPr lang="de-DE" err="1"/>
              <a:t>you</a:t>
            </a:r>
            <a:r>
              <a:rPr lang="de-DE"/>
              <a:t> </a:t>
            </a:r>
            <a:r>
              <a:rPr lang="de-DE" err="1"/>
              <a:t>click</a:t>
            </a:r>
            <a:r>
              <a:rPr lang="de-DE"/>
              <a:t> on About BAP, </a:t>
            </a:r>
            <a:r>
              <a:rPr lang="de-DE" err="1"/>
              <a:t>it</a:t>
            </a:r>
            <a:r>
              <a:rPr lang="de-DE"/>
              <a:t> will </a:t>
            </a:r>
            <a:r>
              <a:rPr lang="de-DE" err="1"/>
              <a:t>stay</a:t>
            </a:r>
            <a:r>
              <a:rPr lang="de-DE"/>
              <a:t> in the same </a:t>
            </a:r>
            <a:r>
              <a:rPr lang="de-DE" err="1"/>
              <a:t>page</a:t>
            </a:r>
            <a:r>
              <a:rPr lang="de-DE"/>
              <a:t> but </a:t>
            </a:r>
            <a:r>
              <a:rPr lang="de-DE" err="1"/>
              <a:t>show</a:t>
            </a:r>
            <a:r>
              <a:rPr lang="de-DE"/>
              <a:t> the </a:t>
            </a:r>
            <a:r>
              <a:rPr lang="de-DE" err="1"/>
              <a:t>description</a:t>
            </a:r>
            <a:r>
              <a:rPr lang="de-DE"/>
              <a:t> </a:t>
            </a:r>
            <a:r>
              <a:rPr lang="de-DE" err="1"/>
              <a:t>of</a:t>
            </a:r>
            <a:r>
              <a:rPr lang="de-DE"/>
              <a:t> BAP </a:t>
            </a:r>
            <a:r>
              <a:rPr lang="de-DE" err="1"/>
              <a:t>below</a:t>
            </a:r>
            <a:r>
              <a:rPr lang="de-DE"/>
              <a:t> the </a:t>
            </a:r>
            <a:r>
              <a:rPr lang="de-DE" err="1"/>
              <a:t>overview</a:t>
            </a:r>
            <a:r>
              <a:rPr lang="de-DE"/>
              <a:t> (</a:t>
            </a:r>
            <a:r>
              <a:rPr lang="de-DE" err="1"/>
              <a:t>please</a:t>
            </a:r>
            <a:r>
              <a:rPr lang="de-DE"/>
              <a:t> </a:t>
            </a:r>
            <a:r>
              <a:rPr lang="de-DE" err="1"/>
              <a:t>see</a:t>
            </a:r>
            <a:r>
              <a:rPr lang="de-DE"/>
              <a:t> </a:t>
            </a:r>
            <a:r>
              <a:rPr lang="de-DE" err="1"/>
              <a:t>slide</a:t>
            </a:r>
            <a:r>
              <a:rPr lang="de-DE"/>
              <a:t> 2) </a:t>
            </a:r>
          </a:p>
        </p:txBody>
      </p:sp>
      <p:sp>
        <p:nvSpPr>
          <p:cNvPr id="9" name="Rectangle 8">
            <a:extLst>
              <a:ext uri="{FF2B5EF4-FFF2-40B4-BE49-F238E27FC236}">
                <a16:creationId xmlns:a16="http://schemas.microsoft.com/office/drawing/2014/main" id="{174C6D8B-7D51-7D7F-E41C-D06A473A72C1}"/>
              </a:ext>
            </a:extLst>
          </p:cNvPr>
          <p:cNvSpPr/>
          <p:nvPr/>
        </p:nvSpPr>
        <p:spPr>
          <a:xfrm>
            <a:off x="3295591" y="2129147"/>
            <a:ext cx="8417413" cy="131086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600"/>
              </a:spcAft>
            </a:pPr>
            <a:r>
              <a:rPr lang="en-US" sz="2400" b="1">
                <a:solidFill>
                  <a:schemeClr val="accent1"/>
                </a:solidFill>
              </a:rPr>
              <a:t>Deloitte Business Agents Platform </a:t>
            </a:r>
          </a:p>
          <a:p>
            <a:pPr>
              <a:spcAft>
                <a:spcPts val="600"/>
              </a:spcAft>
            </a:pPr>
            <a:r>
              <a:rPr lang="en-US"/>
              <a:t>Get ahead of the AI curve - One-stop access into the world of AI for SAP </a:t>
            </a:r>
          </a:p>
        </p:txBody>
      </p:sp>
      <p:pic>
        <p:nvPicPr>
          <p:cNvPr id="17" name="Picture 16">
            <a:extLst>
              <a:ext uri="{FF2B5EF4-FFF2-40B4-BE49-F238E27FC236}">
                <a16:creationId xmlns:a16="http://schemas.microsoft.com/office/drawing/2014/main" id="{253107CC-961A-60F1-BC9C-7BE65CD8F93C}"/>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10175739" y="3408220"/>
            <a:ext cx="562348" cy="562348"/>
          </a:xfrm>
          <a:prstGeom prst="rect">
            <a:avLst/>
          </a:prstGeom>
        </p:spPr>
      </p:pic>
      <p:sp>
        <p:nvSpPr>
          <p:cNvPr id="19" name="Rectangle 18">
            <a:extLst>
              <a:ext uri="{FF2B5EF4-FFF2-40B4-BE49-F238E27FC236}">
                <a16:creationId xmlns:a16="http://schemas.microsoft.com/office/drawing/2014/main" id="{30D704BF-F488-A2DA-0A02-DE676D88E845}"/>
              </a:ext>
            </a:extLst>
          </p:cNvPr>
          <p:cNvSpPr/>
          <p:nvPr/>
        </p:nvSpPr>
        <p:spPr>
          <a:xfrm>
            <a:off x="3490956" y="3471775"/>
            <a:ext cx="1174830" cy="23657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900"/>
              <a:t>About BAP</a:t>
            </a:r>
          </a:p>
        </p:txBody>
      </p:sp>
      <p:pic>
        <p:nvPicPr>
          <p:cNvPr id="3" name="Picture 2">
            <a:extLst>
              <a:ext uri="{FF2B5EF4-FFF2-40B4-BE49-F238E27FC236}">
                <a16:creationId xmlns:a16="http://schemas.microsoft.com/office/drawing/2014/main" id="{069CB48D-DDEB-0A93-0F44-FF224CD96291}"/>
              </a:ext>
            </a:extLst>
          </p:cNvPr>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11121613" y="1362000"/>
            <a:ext cx="1016239" cy="1016239"/>
          </a:xfrm>
          <a:prstGeom prst="rect">
            <a:avLst/>
          </a:prstGeom>
        </p:spPr>
      </p:pic>
      <p:sp>
        <p:nvSpPr>
          <p:cNvPr id="6" name="Rectangle 5">
            <a:extLst>
              <a:ext uri="{FF2B5EF4-FFF2-40B4-BE49-F238E27FC236}">
                <a16:creationId xmlns:a16="http://schemas.microsoft.com/office/drawing/2014/main" id="{47FBD3E6-CC96-60F1-22C5-9381F595A964}"/>
              </a:ext>
            </a:extLst>
          </p:cNvPr>
          <p:cNvSpPr/>
          <p:nvPr/>
        </p:nvSpPr>
        <p:spPr>
          <a:xfrm>
            <a:off x="-1" y="6919475"/>
            <a:ext cx="12192000" cy="492456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oup 12">
            <a:extLst>
              <a:ext uri="{FF2B5EF4-FFF2-40B4-BE49-F238E27FC236}">
                <a16:creationId xmlns:a16="http://schemas.microsoft.com/office/drawing/2014/main" id="{15ADE293-7D59-4D75-397E-BE6D3991E41D}"/>
              </a:ext>
            </a:extLst>
          </p:cNvPr>
          <p:cNvGrpSpPr/>
          <p:nvPr/>
        </p:nvGrpSpPr>
        <p:grpSpPr>
          <a:xfrm>
            <a:off x="9799513" y="10447878"/>
            <a:ext cx="1644965" cy="268487"/>
            <a:chOff x="2486919" y="2034525"/>
            <a:chExt cx="1501302" cy="245039"/>
          </a:xfrm>
        </p:grpSpPr>
        <p:sp>
          <p:nvSpPr>
            <p:cNvPr id="20" name="TextBox 19">
              <a:extLst>
                <a:ext uri="{FF2B5EF4-FFF2-40B4-BE49-F238E27FC236}">
                  <a16:creationId xmlns:a16="http://schemas.microsoft.com/office/drawing/2014/main" id="{E22DAF51-939D-8F8B-D742-495F69C0A674}"/>
                </a:ext>
              </a:extLst>
            </p:cNvPr>
            <p:cNvSpPr txBox="1"/>
            <p:nvPr/>
          </p:nvSpPr>
          <p:spPr>
            <a:xfrm>
              <a:off x="2486919" y="2043647"/>
              <a:ext cx="897524" cy="224717"/>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Powered by</a:t>
              </a:r>
              <a:endParaRPr kumimoji="0" lang="en-CA" sz="1600" b="0" i="0" u="none" strike="noStrike" kern="1200" cap="none" spc="0" normalizeH="0" baseline="0" noProof="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21" name="Picture 2" descr="SAP – Wikipedia">
              <a:extLst>
                <a:ext uri="{FF2B5EF4-FFF2-40B4-BE49-F238E27FC236}">
                  <a16:creationId xmlns:a16="http://schemas.microsoft.com/office/drawing/2014/main" id="{E7E035AE-3C27-FD61-0A44-3B5AD7BA757F}"/>
                </a:ext>
              </a:extLst>
            </p:cNvPr>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3493193" y="2034525"/>
              <a:ext cx="495028" cy="245039"/>
            </a:xfrm>
            <a:prstGeom prst="rect">
              <a:avLst/>
            </a:prstGeom>
            <a:noFill/>
            <a:extLst>
              <a:ext uri="{909E8E84-426E-40DD-AFC4-6F175D3DCCD1}">
                <a14:hiddenFill xmlns:a14="http://schemas.microsoft.com/office/drawing/2010/main">
                  <a:solidFill>
                    <a:srgbClr val="FFFFFF"/>
                  </a:solidFill>
                </a14:hiddenFill>
              </a:ext>
            </a:extLst>
          </p:spPr>
        </p:pic>
      </p:grpSp>
      <p:sp>
        <p:nvSpPr>
          <p:cNvPr id="1048" name="Rectangle 1047">
            <a:extLst>
              <a:ext uri="{FF2B5EF4-FFF2-40B4-BE49-F238E27FC236}">
                <a16:creationId xmlns:a16="http://schemas.microsoft.com/office/drawing/2014/main" id="{40E4B491-6A2E-788B-F913-246BA7A205A6}"/>
              </a:ext>
            </a:extLst>
          </p:cNvPr>
          <p:cNvSpPr/>
          <p:nvPr/>
        </p:nvSpPr>
        <p:spPr bwMode="gray">
          <a:xfrm>
            <a:off x="493437" y="7212672"/>
            <a:ext cx="4831503" cy="279281"/>
          </a:xfrm>
          <a:prstGeom prst="rect">
            <a:avLst/>
          </a:prstGeom>
          <a:noFill/>
          <a:ln w="19050" algn="ctr">
            <a:noFill/>
            <a:miter lim="800000"/>
            <a:headEnd/>
            <a:tailEnd/>
          </a:ln>
        </p:spPr>
        <p:txBody>
          <a:bodyPr wrap="square" lIns="0" tIns="88900" rIns="88900" bIns="88900" rtlCol="0" anchor="ctr"/>
          <a:lstStyle/>
          <a:p>
            <a:pPr>
              <a:lnSpc>
                <a:spcPct val="106000"/>
              </a:lnSpc>
              <a:defRPr/>
            </a:pPr>
            <a:r>
              <a:rPr kumimoji="0" lang="en-US" sz="2000" b="1" i="0" u="none" strike="noStrike" kern="1200" cap="all" spc="0" normalizeH="0" baseline="0" noProof="0">
                <a:ln>
                  <a:noFill/>
                </a:ln>
                <a:solidFill>
                  <a:srgbClr val="86BC25"/>
                </a:solidFill>
                <a:effectLst/>
                <a:uLnTx/>
                <a:uFillTx/>
                <a:ea typeface="Calibri"/>
                <a:cs typeface="Calibri"/>
              </a:rPr>
              <a:t>Get ahead of the AI</a:t>
            </a:r>
            <a:r>
              <a:rPr lang="en-US" sz="2000" b="1" cap="all">
                <a:solidFill>
                  <a:srgbClr val="86BC25"/>
                </a:solidFill>
                <a:ea typeface="Calibri"/>
                <a:cs typeface="Calibri"/>
              </a:rPr>
              <a:t> </a:t>
            </a:r>
            <a:r>
              <a:rPr kumimoji="0" lang="en-US" sz="2000" b="1" i="0" u="none" strike="noStrike" kern="1200" cap="all" spc="0" normalizeH="0" baseline="0" noProof="0">
                <a:ln>
                  <a:noFill/>
                </a:ln>
                <a:solidFill>
                  <a:srgbClr val="86BC25"/>
                </a:solidFill>
                <a:effectLst/>
                <a:uLnTx/>
                <a:uFillTx/>
                <a:ea typeface="Calibri"/>
                <a:cs typeface="Calibri"/>
              </a:rPr>
              <a:t>curve</a:t>
            </a:r>
            <a:endParaRPr lang="en-US">
              <a:ea typeface="Calibri"/>
              <a:cs typeface="Calibri"/>
            </a:endParaRPr>
          </a:p>
        </p:txBody>
      </p:sp>
      <p:sp>
        <p:nvSpPr>
          <p:cNvPr id="1049" name="TextBox 1048">
            <a:extLst>
              <a:ext uri="{FF2B5EF4-FFF2-40B4-BE49-F238E27FC236}">
                <a16:creationId xmlns:a16="http://schemas.microsoft.com/office/drawing/2014/main" id="{C79DF717-BAC5-72A0-3309-FB0A625F8519}"/>
              </a:ext>
            </a:extLst>
          </p:cNvPr>
          <p:cNvSpPr txBox="1"/>
          <p:nvPr/>
        </p:nvSpPr>
        <p:spPr>
          <a:xfrm>
            <a:off x="805072" y="11190471"/>
            <a:ext cx="8019613" cy="49244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Experience the power of AI from one centralized SAP based platform and leverage AI for your sustainable success.</a:t>
            </a:r>
          </a:p>
        </p:txBody>
      </p:sp>
      <p:sp>
        <p:nvSpPr>
          <p:cNvPr id="1051" name="Oval 1050">
            <a:extLst>
              <a:ext uri="{FF2B5EF4-FFF2-40B4-BE49-F238E27FC236}">
                <a16:creationId xmlns:a16="http://schemas.microsoft.com/office/drawing/2014/main" id="{9117BCD8-D9AC-5B22-D54D-0B58F38ACA56}"/>
              </a:ext>
            </a:extLst>
          </p:cNvPr>
          <p:cNvSpPr/>
          <p:nvPr/>
        </p:nvSpPr>
        <p:spPr bwMode="gray">
          <a:xfrm>
            <a:off x="554446" y="7760190"/>
            <a:ext cx="360000" cy="360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1</a:t>
            </a:r>
          </a:p>
        </p:txBody>
      </p:sp>
      <p:sp>
        <p:nvSpPr>
          <p:cNvPr id="1052" name="TextBox 1051">
            <a:extLst>
              <a:ext uri="{FF2B5EF4-FFF2-40B4-BE49-F238E27FC236}">
                <a16:creationId xmlns:a16="http://schemas.microsoft.com/office/drawing/2014/main" id="{57963F61-E48B-85EA-1CD3-EAA91F3ED90C}"/>
              </a:ext>
            </a:extLst>
          </p:cNvPr>
          <p:cNvSpPr txBox="1"/>
          <p:nvPr/>
        </p:nvSpPr>
        <p:spPr>
          <a:xfrm>
            <a:off x="1079794" y="7738186"/>
            <a:ext cx="77448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One-Stop AI Agent Access </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for all relevant SAP AI topics</a:t>
            </a:r>
            <a:endParaRPr kumimoji="0" lang="en-US" sz="1400" b="0"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endParaRPr>
          </a:p>
        </p:txBody>
      </p:sp>
      <p:sp>
        <p:nvSpPr>
          <p:cNvPr id="1053" name="Oval 1052">
            <a:extLst>
              <a:ext uri="{FF2B5EF4-FFF2-40B4-BE49-F238E27FC236}">
                <a16:creationId xmlns:a16="http://schemas.microsoft.com/office/drawing/2014/main" id="{0F29F740-F86F-3E70-BF69-D0A67EECD7AB}"/>
              </a:ext>
            </a:extLst>
          </p:cNvPr>
          <p:cNvSpPr/>
          <p:nvPr/>
        </p:nvSpPr>
        <p:spPr bwMode="gray">
          <a:xfrm>
            <a:off x="564005" y="8752936"/>
            <a:ext cx="360000" cy="360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3</a:t>
            </a:r>
          </a:p>
        </p:txBody>
      </p:sp>
      <p:sp>
        <p:nvSpPr>
          <p:cNvPr id="1054" name="TextBox 1053">
            <a:extLst>
              <a:ext uri="{FF2B5EF4-FFF2-40B4-BE49-F238E27FC236}">
                <a16:creationId xmlns:a16="http://schemas.microsoft.com/office/drawing/2014/main" id="{8F888E26-C9DF-2933-BB22-409BF68A2487}"/>
              </a:ext>
            </a:extLst>
          </p:cNvPr>
          <p:cNvSpPr txBox="1"/>
          <p:nvPr/>
        </p:nvSpPr>
        <p:spPr>
          <a:xfrm>
            <a:off x="1064373" y="8716110"/>
            <a:ext cx="77603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100% SAP technology </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allows easy integration and implementation into your IT landscape while relying on established security standards and access rights</a:t>
            </a:r>
          </a:p>
        </p:txBody>
      </p:sp>
      <p:sp>
        <p:nvSpPr>
          <p:cNvPr id="1055" name="Oval 1054">
            <a:extLst>
              <a:ext uri="{FF2B5EF4-FFF2-40B4-BE49-F238E27FC236}">
                <a16:creationId xmlns:a16="http://schemas.microsoft.com/office/drawing/2014/main" id="{7498EA6D-9B1A-3F3D-0FA5-335022AFE8F0}"/>
              </a:ext>
            </a:extLst>
          </p:cNvPr>
          <p:cNvSpPr/>
          <p:nvPr/>
        </p:nvSpPr>
        <p:spPr bwMode="gray">
          <a:xfrm>
            <a:off x="561972" y="9528911"/>
            <a:ext cx="360000" cy="360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4</a:t>
            </a:r>
          </a:p>
        </p:txBody>
      </p:sp>
      <p:sp>
        <p:nvSpPr>
          <p:cNvPr id="1056" name="TextBox 1055">
            <a:extLst>
              <a:ext uri="{FF2B5EF4-FFF2-40B4-BE49-F238E27FC236}">
                <a16:creationId xmlns:a16="http://schemas.microsoft.com/office/drawing/2014/main" id="{A2699A58-F8DD-9D6F-95DA-D0FD5572C9DC}"/>
              </a:ext>
            </a:extLst>
          </p:cNvPr>
          <p:cNvSpPr txBox="1"/>
          <p:nvPr/>
        </p:nvSpPr>
        <p:spPr>
          <a:xfrm>
            <a:off x="1050856" y="9504752"/>
            <a:ext cx="777382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Measure, monitor,</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 </a:t>
            </a: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orchestrate and scale </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your AI Agent solutions and deliver insights on returns, success and adoption to prioritize further investments</a:t>
            </a:r>
          </a:p>
        </p:txBody>
      </p:sp>
      <p:sp>
        <p:nvSpPr>
          <p:cNvPr id="1057" name="Oval 1056">
            <a:extLst>
              <a:ext uri="{FF2B5EF4-FFF2-40B4-BE49-F238E27FC236}">
                <a16:creationId xmlns:a16="http://schemas.microsoft.com/office/drawing/2014/main" id="{7454A840-51CB-01C4-F6F6-B63AFFF51968}"/>
              </a:ext>
            </a:extLst>
          </p:cNvPr>
          <p:cNvSpPr/>
          <p:nvPr/>
        </p:nvSpPr>
        <p:spPr bwMode="gray">
          <a:xfrm>
            <a:off x="564005" y="10336728"/>
            <a:ext cx="360000" cy="360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5</a:t>
            </a:r>
          </a:p>
        </p:txBody>
      </p:sp>
      <p:sp>
        <p:nvSpPr>
          <p:cNvPr id="1058" name="TextBox 1057">
            <a:extLst>
              <a:ext uri="{FF2B5EF4-FFF2-40B4-BE49-F238E27FC236}">
                <a16:creationId xmlns:a16="http://schemas.microsoft.com/office/drawing/2014/main" id="{1A53E4DE-3E94-A2EB-16D3-E94FDD752C4E}"/>
              </a:ext>
            </a:extLst>
          </p:cNvPr>
          <p:cNvSpPr txBox="1"/>
          <p:nvPr/>
        </p:nvSpPr>
        <p:spPr>
          <a:xfrm>
            <a:off x="1064373" y="10293393"/>
            <a:ext cx="77603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Regulatory compliance </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with EU’s AI ACT and US National AI Initiative ACT and internal regulations for your used LLMs and Agents</a:t>
            </a:r>
          </a:p>
        </p:txBody>
      </p:sp>
      <p:sp>
        <p:nvSpPr>
          <p:cNvPr id="1059" name="Oval 1058">
            <a:extLst>
              <a:ext uri="{FF2B5EF4-FFF2-40B4-BE49-F238E27FC236}">
                <a16:creationId xmlns:a16="http://schemas.microsoft.com/office/drawing/2014/main" id="{A97CB2E0-D47A-8C02-2292-5EA8E0995D93}"/>
              </a:ext>
            </a:extLst>
          </p:cNvPr>
          <p:cNvSpPr/>
          <p:nvPr/>
        </p:nvSpPr>
        <p:spPr bwMode="gray">
          <a:xfrm>
            <a:off x="564005" y="8192140"/>
            <a:ext cx="360000" cy="360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2</a:t>
            </a:r>
          </a:p>
        </p:txBody>
      </p:sp>
      <p:sp>
        <p:nvSpPr>
          <p:cNvPr id="1060" name="TextBox 1059">
            <a:extLst>
              <a:ext uri="{FF2B5EF4-FFF2-40B4-BE49-F238E27FC236}">
                <a16:creationId xmlns:a16="http://schemas.microsoft.com/office/drawing/2014/main" id="{0BACDADB-CFDE-DFDC-FD8B-EE23EEFCE880}"/>
              </a:ext>
            </a:extLst>
          </p:cNvPr>
          <p:cNvSpPr txBox="1"/>
          <p:nvPr/>
        </p:nvSpPr>
        <p:spPr>
          <a:xfrm>
            <a:off x="1079794" y="8127255"/>
            <a:ext cx="774489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Flexible customer focused platform </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makes it easy to develop new SAP agents in a established framework</a:t>
            </a:r>
            <a:endParaRPr kumimoji="0" lang="en-US" sz="1400" b="0"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endParaRPr>
          </a:p>
        </p:txBody>
      </p:sp>
      <p:grpSp>
        <p:nvGrpSpPr>
          <p:cNvPr id="4" name="Group 3">
            <a:extLst>
              <a:ext uri="{FF2B5EF4-FFF2-40B4-BE49-F238E27FC236}">
                <a16:creationId xmlns:a16="http://schemas.microsoft.com/office/drawing/2014/main" id="{EDDAA6B2-E044-3A1E-B8FC-B67D7516E774}"/>
              </a:ext>
            </a:extLst>
          </p:cNvPr>
          <p:cNvGrpSpPr/>
          <p:nvPr/>
        </p:nvGrpSpPr>
        <p:grpSpPr>
          <a:xfrm>
            <a:off x="9760972" y="8141340"/>
            <a:ext cx="1667169" cy="1997134"/>
            <a:chOff x="5262621" y="3336237"/>
            <a:chExt cx="1667169" cy="1997134"/>
          </a:xfrm>
        </p:grpSpPr>
        <p:grpSp>
          <p:nvGrpSpPr>
            <p:cNvPr id="1062" name="Group 4">
              <a:extLst>
                <a:ext uri="{FF2B5EF4-FFF2-40B4-BE49-F238E27FC236}">
                  <a16:creationId xmlns:a16="http://schemas.microsoft.com/office/drawing/2014/main" id="{AA67A278-180B-E082-D812-7EC9179BFC0C}"/>
                </a:ext>
              </a:extLst>
            </p:cNvPr>
            <p:cNvGrpSpPr>
              <a:grpSpLocks noChangeAspect="1"/>
            </p:cNvGrpSpPr>
            <p:nvPr/>
          </p:nvGrpSpPr>
          <p:grpSpPr bwMode="auto">
            <a:xfrm>
              <a:off x="6112072" y="3336237"/>
              <a:ext cx="817718" cy="1997134"/>
              <a:chOff x="3899" y="1111"/>
              <a:chExt cx="1049" cy="2562"/>
            </a:xfrm>
          </p:grpSpPr>
          <p:sp>
            <p:nvSpPr>
              <p:cNvPr id="3080" name="Freeform 5">
                <a:extLst>
                  <a:ext uri="{FF2B5EF4-FFF2-40B4-BE49-F238E27FC236}">
                    <a16:creationId xmlns:a16="http://schemas.microsoft.com/office/drawing/2014/main" id="{E51E55A3-EA2E-D524-AE32-B53DA3DB3FC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1" name="Line 6">
                <a:extLst>
                  <a:ext uri="{FF2B5EF4-FFF2-40B4-BE49-F238E27FC236}">
                    <a16:creationId xmlns:a16="http://schemas.microsoft.com/office/drawing/2014/main" id="{093664D1-DE96-0EA1-0638-995A6CC91D2D}"/>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2" name="Freeform 7">
                <a:extLst>
                  <a:ext uri="{FF2B5EF4-FFF2-40B4-BE49-F238E27FC236}">
                    <a16:creationId xmlns:a16="http://schemas.microsoft.com/office/drawing/2014/main" id="{F31F214C-4BD7-9E58-E6DD-7FA52EA4F76B}"/>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3" name="Freeform 8">
                <a:extLst>
                  <a:ext uri="{FF2B5EF4-FFF2-40B4-BE49-F238E27FC236}">
                    <a16:creationId xmlns:a16="http://schemas.microsoft.com/office/drawing/2014/main" id="{E4F3C0E9-88E6-71CA-457D-5B0E9775C672}"/>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4" name="Freeform 9">
                <a:extLst>
                  <a:ext uri="{FF2B5EF4-FFF2-40B4-BE49-F238E27FC236}">
                    <a16:creationId xmlns:a16="http://schemas.microsoft.com/office/drawing/2014/main" id="{AA485D17-AF6D-83AF-7F85-3856E3B9BBE6}"/>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5" name="Freeform 10">
                <a:extLst>
                  <a:ext uri="{FF2B5EF4-FFF2-40B4-BE49-F238E27FC236}">
                    <a16:creationId xmlns:a16="http://schemas.microsoft.com/office/drawing/2014/main" id="{9B389ABD-35B9-62D4-9478-713348F2D638}"/>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6" name="Freeform 11">
                <a:extLst>
                  <a:ext uri="{FF2B5EF4-FFF2-40B4-BE49-F238E27FC236}">
                    <a16:creationId xmlns:a16="http://schemas.microsoft.com/office/drawing/2014/main" id="{343C2637-A936-4350-7A0A-AEC39087DD54}"/>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7" name="Freeform 12">
                <a:extLst>
                  <a:ext uri="{FF2B5EF4-FFF2-40B4-BE49-F238E27FC236}">
                    <a16:creationId xmlns:a16="http://schemas.microsoft.com/office/drawing/2014/main" id="{F0D0C474-6A13-43A4-0279-98F80B750D2B}"/>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8" name="Freeform 13">
                <a:extLst>
                  <a:ext uri="{FF2B5EF4-FFF2-40B4-BE49-F238E27FC236}">
                    <a16:creationId xmlns:a16="http://schemas.microsoft.com/office/drawing/2014/main" id="{DC9BBB57-EF73-ACFD-3AB7-AA3D7ACB320A}"/>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9" name="Freeform 14">
                <a:extLst>
                  <a:ext uri="{FF2B5EF4-FFF2-40B4-BE49-F238E27FC236}">
                    <a16:creationId xmlns:a16="http://schemas.microsoft.com/office/drawing/2014/main" id="{27B4C020-7DF4-FB12-3CC4-28EB68DDEC85}"/>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0" name="Line 15">
                <a:extLst>
                  <a:ext uri="{FF2B5EF4-FFF2-40B4-BE49-F238E27FC236}">
                    <a16:creationId xmlns:a16="http://schemas.microsoft.com/office/drawing/2014/main" id="{21F90E85-E954-2D1E-A938-F573EA28ECC8}"/>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1" name="Freeform 16">
                <a:extLst>
                  <a:ext uri="{FF2B5EF4-FFF2-40B4-BE49-F238E27FC236}">
                    <a16:creationId xmlns:a16="http://schemas.microsoft.com/office/drawing/2014/main" id="{DAC1184A-2746-5A5A-61CD-377AF580E341}"/>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2" name="Freeform 17">
                <a:extLst>
                  <a:ext uri="{FF2B5EF4-FFF2-40B4-BE49-F238E27FC236}">
                    <a16:creationId xmlns:a16="http://schemas.microsoft.com/office/drawing/2014/main" id="{BD51BE2C-F9FC-CE59-2270-DE7722F4A38C}"/>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3" name="Freeform 18">
                <a:extLst>
                  <a:ext uri="{FF2B5EF4-FFF2-40B4-BE49-F238E27FC236}">
                    <a16:creationId xmlns:a16="http://schemas.microsoft.com/office/drawing/2014/main" id="{F13F975A-4557-9D36-D0F3-AD2E3850ACC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4" name="Freeform 19">
                <a:extLst>
                  <a:ext uri="{FF2B5EF4-FFF2-40B4-BE49-F238E27FC236}">
                    <a16:creationId xmlns:a16="http://schemas.microsoft.com/office/drawing/2014/main" id="{EC7853D5-B397-F147-8DEB-E057A0B876AC}"/>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5" name="Freeform 20">
                <a:extLst>
                  <a:ext uri="{FF2B5EF4-FFF2-40B4-BE49-F238E27FC236}">
                    <a16:creationId xmlns:a16="http://schemas.microsoft.com/office/drawing/2014/main" id="{9824CFDD-942E-A896-8613-45ABD8FF38D2}"/>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6" name="Freeform 21">
                <a:extLst>
                  <a:ext uri="{FF2B5EF4-FFF2-40B4-BE49-F238E27FC236}">
                    <a16:creationId xmlns:a16="http://schemas.microsoft.com/office/drawing/2014/main" id="{7837F343-7AEA-A539-D5EF-831FF0B03BCE}"/>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7" name="Freeform 22">
                <a:extLst>
                  <a:ext uri="{FF2B5EF4-FFF2-40B4-BE49-F238E27FC236}">
                    <a16:creationId xmlns:a16="http://schemas.microsoft.com/office/drawing/2014/main" id="{CCDDBE74-3F78-81AA-6A1B-AFD0206A7737}"/>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8" name="Freeform 23">
                <a:extLst>
                  <a:ext uri="{FF2B5EF4-FFF2-40B4-BE49-F238E27FC236}">
                    <a16:creationId xmlns:a16="http://schemas.microsoft.com/office/drawing/2014/main" id="{B3061A29-E8EE-F138-5C3D-EAEDB8C17B71}"/>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9" name="Freeform 24">
                <a:extLst>
                  <a:ext uri="{FF2B5EF4-FFF2-40B4-BE49-F238E27FC236}">
                    <a16:creationId xmlns:a16="http://schemas.microsoft.com/office/drawing/2014/main" id="{857A0F4C-50D3-084E-0255-1A23233AD8F0}"/>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0" name="Freeform 25">
                <a:extLst>
                  <a:ext uri="{FF2B5EF4-FFF2-40B4-BE49-F238E27FC236}">
                    <a16:creationId xmlns:a16="http://schemas.microsoft.com/office/drawing/2014/main" id="{0409FB6E-9EA6-2276-A895-03646AE9F7D2}"/>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1" name="Freeform 26">
                <a:extLst>
                  <a:ext uri="{FF2B5EF4-FFF2-40B4-BE49-F238E27FC236}">
                    <a16:creationId xmlns:a16="http://schemas.microsoft.com/office/drawing/2014/main" id="{EF64FB31-8D25-1B89-9D75-B73E440B3082}"/>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2" name="Freeform 27">
                <a:extLst>
                  <a:ext uri="{FF2B5EF4-FFF2-40B4-BE49-F238E27FC236}">
                    <a16:creationId xmlns:a16="http://schemas.microsoft.com/office/drawing/2014/main" id="{E9EEE799-0800-152C-E62D-988EBE665593}"/>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3" name="Freeform 28">
                <a:extLst>
                  <a:ext uri="{FF2B5EF4-FFF2-40B4-BE49-F238E27FC236}">
                    <a16:creationId xmlns:a16="http://schemas.microsoft.com/office/drawing/2014/main" id="{7AF715AB-C899-379A-570D-08B2D84FB84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4" name="Freeform 29">
                <a:extLst>
                  <a:ext uri="{FF2B5EF4-FFF2-40B4-BE49-F238E27FC236}">
                    <a16:creationId xmlns:a16="http://schemas.microsoft.com/office/drawing/2014/main" id="{B149EB50-0CE1-6075-3F58-DA01D8CF420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5" name="Freeform 30">
                <a:extLst>
                  <a:ext uri="{FF2B5EF4-FFF2-40B4-BE49-F238E27FC236}">
                    <a16:creationId xmlns:a16="http://schemas.microsoft.com/office/drawing/2014/main" id="{5EDBDF2F-EEBC-D6EE-5650-FB43F4EFDA69}"/>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6" name="Freeform 31">
                <a:extLst>
                  <a:ext uri="{FF2B5EF4-FFF2-40B4-BE49-F238E27FC236}">
                    <a16:creationId xmlns:a16="http://schemas.microsoft.com/office/drawing/2014/main" id="{8AA80559-98E5-CC89-F904-BAD356AB3BCD}"/>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7" name="Freeform 32">
                <a:extLst>
                  <a:ext uri="{FF2B5EF4-FFF2-40B4-BE49-F238E27FC236}">
                    <a16:creationId xmlns:a16="http://schemas.microsoft.com/office/drawing/2014/main" id="{6A16CBE4-AF35-EC04-C4ED-8E99B444937F}"/>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8" name="Freeform 33">
                <a:extLst>
                  <a:ext uri="{FF2B5EF4-FFF2-40B4-BE49-F238E27FC236}">
                    <a16:creationId xmlns:a16="http://schemas.microsoft.com/office/drawing/2014/main" id="{5ED3DD8C-8DC1-7CA1-8608-52D4FF42E1B1}"/>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9" name="Line 34">
                <a:extLst>
                  <a:ext uri="{FF2B5EF4-FFF2-40B4-BE49-F238E27FC236}">
                    <a16:creationId xmlns:a16="http://schemas.microsoft.com/office/drawing/2014/main" id="{E51F50E6-1D90-1CC2-E0A6-28318EC8C19F}"/>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10" name="Freeform 35">
                <a:extLst>
                  <a:ext uri="{FF2B5EF4-FFF2-40B4-BE49-F238E27FC236}">
                    <a16:creationId xmlns:a16="http://schemas.microsoft.com/office/drawing/2014/main" id="{2995B791-1428-8219-1589-3DEB0CDD788C}"/>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063" name="Group 4">
              <a:extLst>
                <a:ext uri="{FF2B5EF4-FFF2-40B4-BE49-F238E27FC236}">
                  <a16:creationId xmlns:a16="http://schemas.microsoft.com/office/drawing/2014/main" id="{A8B63B2C-6787-544B-EA71-34A606B18C78}"/>
                </a:ext>
              </a:extLst>
            </p:cNvPr>
            <p:cNvGrpSpPr>
              <a:grpSpLocks noChangeAspect="1"/>
            </p:cNvGrpSpPr>
            <p:nvPr/>
          </p:nvGrpSpPr>
          <p:grpSpPr bwMode="auto">
            <a:xfrm flipH="1">
              <a:off x="5262621" y="3336237"/>
              <a:ext cx="817718" cy="1997134"/>
              <a:chOff x="3899" y="1111"/>
              <a:chExt cx="1049" cy="2562"/>
            </a:xfrm>
          </p:grpSpPr>
          <p:sp>
            <p:nvSpPr>
              <p:cNvPr id="1064" name="Freeform 5">
                <a:extLst>
                  <a:ext uri="{FF2B5EF4-FFF2-40B4-BE49-F238E27FC236}">
                    <a16:creationId xmlns:a16="http://schemas.microsoft.com/office/drawing/2014/main" id="{EE2BB6C0-1E3E-227E-CE79-9D237E5ECE34}"/>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65" name="Line 6">
                <a:extLst>
                  <a:ext uri="{FF2B5EF4-FFF2-40B4-BE49-F238E27FC236}">
                    <a16:creationId xmlns:a16="http://schemas.microsoft.com/office/drawing/2014/main" id="{FC3C60B6-85A7-6C4C-5819-92F190A548CE}"/>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66" name="Freeform 7">
                <a:extLst>
                  <a:ext uri="{FF2B5EF4-FFF2-40B4-BE49-F238E27FC236}">
                    <a16:creationId xmlns:a16="http://schemas.microsoft.com/office/drawing/2014/main" id="{08DEA037-3137-33F0-54CF-59C8B1BE7C57}"/>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67" name="Freeform 8">
                <a:extLst>
                  <a:ext uri="{FF2B5EF4-FFF2-40B4-BE49-F238E27FC236}">
                    <a16:creationId xmlns:a16="http://schemas.microsoft.com/office/drawing/2014/main" id="{87DD7DED-B4CF-E286-8B6C-E8861247F241}"/>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68" name="Freeform 9">
                <a:extLst>
                  <a:ext uri="{FF2B5EF4-FFF2-40B4-BE49-F238E27FC236}">
                    <a16:creationId xmlns:a16="http://schemas.microsoft.com/office/drawing/2014/main" id="{A23A88DF-14AC-35B5-7EDD-93206FE2A7A5}"/>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69" name="Freeform 10">
                <a:extLst>
                  <a:ext uri="{FF2B5EF4-FFF2-40B4-BE49-F238E27FC236}">
                    <a16:creationId xmlns:a16="http://schemas.microsoft.com/office/drawing/2014/main" id="{6C7249C0-EAF8-CAF7-23A0-F40DDD56580A}"/>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0" name="Freeform 11">
                <a:extLst>
                  <a:ext uri="{FF2B5EF4-FFF2-40B4-BE49-F238E27FC236}">
                    <a16:creationId xmlns:a16="http://schemas.microsoft.com/office/drawing/2014/main" id="{4A6A669F-C11A-68BD-443D-FEC97C74F8FC}"/>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1" name="Freeform 12">
                <a:extLst>
                  <a:ext uri="{FF2B5EF4-FFF2-40B4-BE49-F238E27FC236}">
                    <a16:creationId xmlns:a16="http://schemas.microsoft.com/office/drawing/2014/main" id="{2132FF8A-C627-F977-920C-45B399159830}"/>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2" name="Freeform 13">
                <a:extLst>
                  <a:ext uri="{FF2B5EF4-FFF2-40B4-BE49-F238E27FC236}">
                    <a16:creationId xmlns:a16="http://schemas.microsoft.com/office/drawing/2014/main" id="{5A12C9A9-37FB-41FC-0F42-38D03E5E1F7D}"/>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3" name="Freeform 14">
                <a:extLst>
                  <a:ext uri="{FF2B5EF4-FFF2-40B4-BE49-F238E27FC236}">
                    <a16:creationId xmlns:a16="http://schemas.microsoft.com/office/drawing/2014/main" id="{C7834541-453E-AF8C-0A2C-27D12A800644}"/>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4" name="Line 15">
                <a:extLst>
                  <a:ext uri="{FF2B5EF4-FFF2-40B4-BE49-F238E27FC236}">
                    <a16:creationId xmlns:a16="http://schemas.microsoft.com/office/drawing/2014/main" id="{749E028B-37A5-E491-2215-45ED12849D21}"/>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5" name="Freeform 16">
                <a:extLst>
                  <a:ext uri="{FF2B5EF4-FFF2-40B4-BE49-F238E27FC236}">
                    <a16:creationId xmlns:a16="http://schemas.microsoft.com/office/drawing/2014/main" id="{6FD79C93-3C6F-2813-81B7-9BD0AB58E19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6" name="Freeform 17">
                <a:extLst>
                  <a:ext uri="{FF2B5EF4-FFF2-40B4-BE49-F238E27FC236}">
                    <a16:creationId xmlns:a16="http://schemas.microsoft.com/office/drawing/2014/main" id="{347498E4-9867-9438-4CCC-71430EDD7892}"/>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7" name="Freeform 18">
                <a:extLst>
                  <a:ext uri="{FF2B5EF4-FFF2-40B4-BE49-F238E27FC236}">
                    <a16:creationId xmlns:a16="http://schemas.microsoft.com/office/drawing/2014/main" id="{A44A41EF-4A3E-F993-8D95-945A5C0989C4}"/>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8" name="Freeform 19">
                <a:extLst>
                  <a:ext uri="{FF2B5EF4-FFF2-40B4-BE49-F238E27FC236}">
                    <a16:creationId xmlns:a16="http://schemas.microsoft.com/office/drawing/2014/main" id="{BF7B5F95-A640-04B2-B6F2-DEE22B5BDC28}"/>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9" name="Freeform 20">
                <a:extLst>
                  <a:ext uri="{FF2B5EF4-FFF2-40B4-BE49-F238E27FC236}">
                    <a16:creationId xmlns:a16="http://schemas.microsoft.com/office/drawing/2014/main" id="{4A68591E-B547-08FF-3FDC-AD03B9B9BE1C}"/>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0" name="Freeform 21">
                <a:extLst>
                  <a:ext uri="{FF2B5EF4-FFF2-40B4-BE49-F238E27FC236}">
                    <a16:creationId xmlns:a16="http://schemas.microsoft.com/office/drawing/2014/main" id="{A3B6C084-2F9E-03F5-7E30-838DCA8B99A1}"/>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1" name="Freeform 22">
                <a:extLst>
                  <a:ext uri="{FF2B5EF4-FFF2-40B4-BE49-F238E27FC236}">
                    <a16:creationId xmlns:a16="http://schemas.microsoft.com/office/drawing/2014/main" id="{38DFC0CE-25E5-C680-9663-7BBEE9EBDF7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2" name="Freeform 23">
                <a:extLst>
                  <a:ext uri="{FF2B5EF4-FFF2-40B4-BE49-F238E27FC236}">
                    <a16:creationId xmlns:a16="http://schemas.microsoft.com/office/drawing/2014/main" id="{2C2B71E5-83FB-8EA3-517D-ED6851A23252}"/>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3" name="Freeform 24">
                <a:extLst>
                  <a:ext uri="{FF2B5EF4-FFF2-40B4-BE49-F238E27FC236}">
                    <a16:creationId xmlns:a16="http://schemas.microsoft.com/office/drawing/2014/main" id="{90E42524-718F-7FD4-94CA-B5EFB4B48717}"/>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4" name="Freeform 25">
                <a:extLst>
                  <a:ext uri="{FF2B5EF4-FFF2-40B4-BE49-F238E27FC236}">
                    <a16:creationId xmlns:a16="http://schemas.microsoft.com/office/drawing/2014/main" id="{E276AF8D-8373-A251-7CA9-4EE3E9CB2386}"/>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5" name="Freeform 26">
                <a:extLst>
                  <a:ext uri="{FF2B5EF4-FFF2-40B4-BE49-F238E27FC236}">
                    <a16:creationId xmlns:a16="http://schemas.microsoft.com/office/drawing/2014/main" id="{29B38559-3808-00D9-285C-3ACCE03EF538}"/>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6" name="Freeform 27">
                <a:extLst>
                  <a:ext uri="{FF2B5EF4-FFF2-40B4-BE49-F238E27FC236}">
                    <a16:creationId xmlns:a16="http://schemas.microsoft.com/office/drawing/2014/main" id="{321B4F93-C496-02A2-35FD-AFF643C91FFC}"/>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7" name="Freeform 28">
                <a:extLst>
                  <a:ext uri="{FF2B5EF4-FFF2-40B4-BE49-F238E27FC236}">
                    <a16:creationId xmlns:a16="http://schemas.microsoft.com/office/drawing/2014/main" id="{61B379D8-5F7B-1443-A2DF-06D6022FFB0A}"/>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2" name="Freeform 29">
                <a:extLst>
                  <a:ext uri="{FF2B5EF4-FFF2-40B4-BE49-F238E27FC236}">
                    <a16:creationId xmlns:a16="http://schemas.microsoft.com/office/drawing/2014/main" id="{FE48F598-A7DE-91CA-976A-1CC56E4A9791}"/>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3" name="Freeform 30">
                <a:extLst>
                  <a:ext uri="{FF2B5EF4-FFF2-40B4-BE49-F238E27FC236}">
                    <a16:creationId xmlns:a16="http://schemas.microsoft.com/office/drawing/2014/main" id="{87110798-624F-5E18-09D4-9CEB15F1480C}"/>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4" name="Freeform 31">
                <a:extLst>
                  <a:ext uri="{FF2B5EF4-FFF2-40B4-BE49-F238E27FC236}">
                    <a16:creationId xmlns:a16="http://schemas.microsoft.com/office/drawing/2014/main" id="{15E53554-EFAF-D4BB-6335-41265CF9E146}"/>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5" name="Freeform 32">
                <a:extLst>
                  <a:ext uri="{FF2B5EF4-FFF2-40B4-BE49-F238E27FC236}">
                    <a16:creationId xmlns:a16="http://schemas.microsoft.com/office/drawing/2014/main" id="{5910214D-C292-FA63-09C1-FE839E61B1AF}"/>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6" name="Freeform 33">
                <a:extLst>
                  <a:ext uri="{FF2B5EF4-FFF2-40B4-BE49-F238E27FC236}">
                    <a16:creationId xmlns:a16="http://schemas.microsoft.com/office/drawing/2014/main" id="{EAF553BA-5C98-C1F5-4496-0AC7939FCBF9}"/>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8" name="Line 34">
                <a:extLst>
                  <a:ext uri="{FF2B5EF4-FFF2-40B4-BE49-F238E27FC236}">
                    <a16:creationId xmlns:a16="http://schemas.microsoft.com/office/drawing/2014/main" id="{58FA0FFB-CB5C-6F5A-E491-127DAD6890E8}"/>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9" name="Freeform 35">
                <a:extLst>
                  <a:ext uri="{FF2B5EF4-FFF2-40B4-BE49-F238E27FC236}">
                    <a16:creationId xmlns:a16="http://schemas.microsoft.com/office/drawing/2014/main" id="{C0D80D4B-FFBF-9C56-F3AD-E165243FD21C}"/>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sp>
        <p:nvSpPr>
          <p:cNvPr id="25" name="Speech Bubble: Rectangle 24">
            <a:extLst>
              <a:ext uri="{FF2B5EF4-FFF2-40B4-BE49-F238E27FC236}">
                <a16:creationId xmlns:a16="http://schemas.microsoft.com/office/drawing/2014/main" id="{606E82B2-4388-DD00-2874-A114DBD59CFE}"/>
              </a:ext>
            </a:extLst>
          </p:cNvPr>
          <p:cNvSpPr/>
          <p:nvPr/>
        </p:nvSpPr>
        <p:spPr>
          <a:xfrm>
            <a:off x="12579563" y="4129764"/>
            <a:ext cx="3990159" cy="3222548"/>
          </a:xfrm>
          <a:prstGeom prst="wedgeRectCallout">
            <a:avLst>
              <a:gd name="adj1" fmla="val -56844"/>
              <a:gd name="adj2" fmla="val -10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Click </a:t>
            </a:r>
            <a:r>
              <a:rPr lang="de-DE" err="1"/>
              <a:t>here</a:t>
            </a:r>
            <a:r>
              <a:rPr lang="de-DE"/>
              <a:t> and </a:t>
            </a:r>
            <a:r>
              <a:rPr lang="de-DE" err="1"/>
              <a:t>it</a:t>
            </a:r>
            <a:r>
              <a:rPr lang="de-DE"/>
              <a:t> will </a:t>
            </a:r>
            <a:r>
              <a:rPr lang="de-DE" err="1"/>
              <a:t>lead</a:t>
            </a:r>
            <a:r>
              <a:rPr lang="de-DE"/>
              <a:t> </a:t>
            </a:r>
            <a:r>
              <a:rPr lang="de-DE" err="1"/>
              <a:t>you</a:t>
            </a:r>
            <a:r>
              <a:rPr lang="de-DE"/>
              <a:t> </a:t>
            </a:r>
            <a:r>
              <a:rPr lang="de-DE" err="1"/>
              <a:t>to</a:t>
            </a:r>
            <a:r>
              <a:rPr lang="de-DE"/>
              <a:t> the </a:t>
            </a:r>
            <a:r>
              <a:rPr lang="de-DE" err="1"/>
              <a:t>following</a:t>
            </a:r>
            <a:r>
              <a:rPr lang="de-DE"/>
              <a:t> 6 </a:t>
            </a:r>
            <a:r>
              <a:rPr lang="de-DE" err="1"/>
              <a:t>sub</a:t>
            </a:r>
            <a:r>
              <a:rPr lang="de-DE"/>
              <a:t> </a:t>
            </a:r>
            <a:r>
              <a:rPr lang="de-DE" err="1"/>
              <a:t>pages</a:t>
            </a:r>
            <a:endParaRPr lang="de-DE"/>
          </a:p>
        </p:txBody>
      </p:sp>
    </p:spTree>
    <p:extLst>
      <p:ext uri="{BB962C8B-B14F-4D97-AF65-F5344CB8AC3E}">
        <p14:creationId xmlns:p14="http://schemas.microsoft.com/office/powerpoint/2010/main" val="89674710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CB9C6-4476-C473-8883-6E1383AF040B}"/>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A63162F5-1ABA-78BD-69A4-B17E926DA522}"/>
              </a:ext>
            </a:extLst>
          </p:cNvPr>
          <p:cNvSpPr/>
          <p:nvPr/>
        </p:nvSpPr>
        <p:spPr bwMode="gray">
          <a:xfrm>
            <a:off x="0" y="6502400"/>
            <a:ext cx="12192000" cy="171784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endParaRPr>
          </a:p>
        </p:txBody>
      </p:sp>
      <p:pic>
        <p:nvPicPr>
          <p:cNvPr id="1026" name="Picture 2">
            <a:extLst>
              <a:ext uri="{FF2B5EF4-FFF2-40B4-BE49-F238E27FC236}">
                <a16:creationId xmlns:a16="http://schemas.microsoft.com/office/drawing/2014/main" id="{1F5E50CD-B6DC-7456-01B4-5C92970CA9F0}"/>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905892" y="2403406"/>
            <a:ext cx="3038246" cy="303824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A67B1C6-384A-07EF-5406-F1D65CDEA194}"/>
              </a:ext>
            </a:extLst>
          </p:cNvPr>
          <p:cNvSpPr txBox="1"/>
          <p:nvPr/>
        </p:nvSpPr>
        <p:spPr>
          <a:xfrm>
            <a:off x="398206" y="2084097"/>
            <a:ext cx="8057536" cy="777136"/>
          </a:xfrm>
          <a:prstGeom prst="rect">
            <a:avLst/>
          </a:prstGeom>
          <a:noFill/>
        </p:spPr>
        <p:txBody>
          <a:bodyPr wrap="square">
            <a:spAutoFit/>
          </a:bodyPr>
          <a:lstStyle/>
          <a:p>
            <a:pPr algn="l">
              <a:spcAft>
                <a:spcPts val="1500"/>
              </a:spcAft>
              <a:buNone/>
            </a:pPr>
            <a:r>
              <a:rPr lang="en-US" b="1" i="0" err="1">
                <a:solidFill>
                  <a:schemeClr val="accent1"/>
                </a:solidFill>
                <a:effectLst/>
                <a:latin typeface="Arial" panose="020B0604020202020204" pitchFamily="34" charset="0"/>
              </a:rPr>
              <a:t>Atonomous</a:t>
            </a:r>
            <a:r>
              <a:rPr lang="en-US" b="1" i="0">
                <a:solidFill>
                  <a:schemeClr val="accent1"/>
                </a:solidFill>
                <a:effectLst/>
                <a:latin typeface="Arial" panose="020B0604020202020204" pitchFamily="34" charset="0"/>
              </a:rPr>
              <a:t> Data, </a:t>
            </a:r>
            <a:r>
              <a:rPr lang="en-US" b="1" i="0" err="1">
                <a:solidFill>
                  <a:schemeClr val="accent1"/>
                </a:solidFill>
                <a:effectLst/>
                <a:latin typeface="Arial" panose="020B0604020202020204" pitchFamily="34" charset="0"/>
              </a:rPr>
              <a:t>Intt</a:t>
            </a:r>
            <a:r>
              <a:rPr lang="en-US" b="1" i="0" err="1">
                <a:solidFill>
                  <a:schemeClr val="accent1"/>
                </a:solidFill>
                <a:effectLst/>
                <a:latin typeface="Arial" panose="020B0604020202020204" pitchFamily="34" charset="0"/>
                <a:sym typeface="Wingdings" panose="05000000000000000000" pitchFamily="2" charset="2"/>
              </a:rPr>
              <a:t>Ralf</a:t>
            </a:r>
            <a:r>
              <a:rPr lang="en-US" b="1" i="0">
                <a:solidFill>
                  <a:schemeClr val="accent1"/>
                </a:solidFill>
                <a:effectLst/>
                <a:latin typeface="Arial" panose="020B0604020202020204" pitchFamily="34" charset="0"/>
                <a:sym typeface="Wingdings" panose="05000000000000000000" pitchFamily="2" charset="2"/>
              </a:rPr>
              <a:t> / Andreas </a:t>
            </a:r>
            <a:r>
              <a:rPr lang="en-US" b="1" i="0">
                <a:solidFill>
                  <a:schemeClr val="accent1"/>
                </a:solidFill>
                <a:effectLst/>
                <a:latin typeface="Arial" panose="020B0604020202020204" pitchFamily="34" charset="0"/>
              </a:rPr>
              <a:t>   </a:t>
            </a:r>
          </a:p>
          <a:p>
            <a:pPr algn="l">
              <a:spcAft>
                <a:spcPts val="2250"/>
              </a:spcAft>
            </a:pPr>
            <a:r>
              <a:rPr lang="en-US" sz="1400" b="0" i="0">
                <a:solidFill>
                  <a:srgbClr val="FFFFFF"/>
                </a:solidFill>
                <a:effectLst/>
                <a:latin typeface="Arial" panose="020B0604020202020204" pitchFamily="34" charset="0"/>
              </a:rPr>
              <a:t>autonomous intelligence</a:t>
            </a:r>
          </a:p>
        </p:txBody>
      </p:sp>
      <p:pic>
        <p:nvPicPr>
          <p:cNvPr id="11" name="Picture 10">
            <a:extLst>
              <a:ext uri="{FF2B5EF4-FFF2-40B4-BE49-F238E27FC236}">
                <a16:creationId xmlns:a16="http://schemas.microsoft.com/office/drawing/2014/main" id="{416557F3-611E-BD46-8515-70A6390DBCBB}"/>
              </a:ext>
            </a:extLst>
          </p:cNvPr>
          <p:cNvPicPr>
            <a:picLocks noChangeAspect="1"/>
          </p:cNvPicPr>
          <p:nvPr/>
        </p:nvPicPr>
        <p:blipFill>
          <a:blip r:embed="rId3"/>
          <a:stretch>
            <a:fillRect/>
          </a:stretch>
        </p:blipFill>
        <p:spPr>
          <a:xfrm>
            <a:off x="9571216" y="5583610"/>
            <a:ext cx="1707598" cy="599476"/>
          </a:xfrm>
          <a:prstGeom prst="rect">
            <a:avLst/>
          </a:prstGeom>
        </p:spPr>
      </p:pic>
      <p:grpSp>
        <p:nvGrpSpPr>
          <p:cNvPr id="2" name="Group 1">
            <a:extLst>
              <a:ext uri="{FF2B5EF4-FFF2-40B4-BE49-F238E27FC236}">
                <a16:creationId xmlns:a16="http://schemas.microsoft.com/office/drawing/2014/main" id="{E25F5D90-BB8F-C4EC-3E33-A9F712A2A6D2}"/>
              </a:ext>
            </a:extLst>
          </p:cNvPr>
          <p:cNvGrpSpPr/>
          <p:nvPr/>
        </p:nvGrpSpPr>
        <p:grpSpPr>
          <a:xfrm>
            <a:off x="0" y="110963"/>
            <a:ext cx="12192000" cy="1508734"/>
            <a:chOff x="0" y="-1601723"/>
            <a:chExt cx="12192000" cy="1508734"/>
          </a:xfrm>
        </p:grpSpPr>
        <p:sp>
          <p:nvSpPr>
            <p:cNvPr id="3" name="Rectangle 2">
              <a:extLst>
                <a:ext uri="{FF2B5EF4-FFF2-40B4-BE49-F238E27FC236}">
                  <a16:creationId xmlns:a16="http://schemas.microsoft.com/office/drawing/2014/main" id="{44F44F07-0F61-78D7-6051-5768AF5DFA41}"/>
                </a:ext>
              </a:extLst>
            </p:cNvPr>
            <p:cNvSpPr/>
            <p:nvPr/>
          </p:nvSpPr>
          <p:spPr>
            <a:xfrm>
              <a:off x="0" y="-1601723"/>
              <a:ext cx="12192000" cy="15087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u="sng"/>
            </a:p>
          </p:txBody>
        </p:sp>
        <p:pic>
          <p:nvPicPr>
            <p:cNvPr id="4" name="Picture 3">
              <a:extLst>
                <a:ext uri="{FF2B5EF4-FFF2-40B4-BE49-F238E27FC236}">
                  <a16:creationId xmlns:a16="http://schemas.microsoft.com/office/drawing/2014/main" id="{D2C9E3CF-3C1F-0E4F-79BC-6FE96F447A55}"/>
                </a:ext>
              </a:extLst>
            </p:cNvPr>
            <p:cNvPicPr>
              <a:picLocks noChangeAspect="1"/>
            </p:cNvPicPr>
            <p:nvPr/>
          </p:nvPicPr>
          <p:blipFill>
            <a:blip r:embed="rId4" cstate="screen">
              <a:extLst>
                <a:ext uri="{28A0092B-C50C-407E-A947-70E740481C1C}">
                  <a14:useLocalDpi xmlns:a14="http://schemas.microsoft.com/office/drawing/2010/main"/>
                </a:ext>
              </a:extLst>
            </a:blip>
            <a:srcRect l="12359" t="29466" r="11827" b="27443"/>
            <a:stretch/>
          </p:blipFill>
          <p:spPr>
            <a:xfrm>
              <a:off x="130505" y="-1418233"/>
              <a:ext cx="2777795" cy="640511"/>
            </a:xfrm>
            <a:prstGeom prst="rect">
              <a:avLst/>
            </a:prstGeom>
          </p:spPr>
        </p:pic>
        <p:sp>
          <p:nvSpPr>
            <p:cNvPr id="5" name="Rectangle 4">
              <a:extLst>
                <a:ext uri="{FF2B5EF4-FFF2-40B4-BE49-F238E27FC236}">
                  <a16:creationId xmlns:a16="http://schemas.microsoft.com/office/drawing/2014/main" id="{375D2EB5-DAA7-CAC8-3EDF-EF5208137B6D}"/>
                </a:ext>
              </a:extLst>
            </p:cNvPr>
            <p:cNvSpPr/>
            <p:nvPr/>
          </p:nvSpPr>
          <p:spPr>
            <a:xfrm>
              <a:off x="11178857" y="-824980"/>
              <a:ext cx="534147" cy="161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rPr>
                <a:t>My Site</a:t>
              </a:r>
            </a:p>
          </p:txBody>
        </p:sp>
        <p:sp>
          <p:nvSpPr>
            <p:cNvPr id="6" name="Rectangle 5">
              <a:extLst>
                <a:ext uri="{FF2B5EF4-FFF2-40B4-BE49-F238E27FC236}">
                  <a16:creationId xmlns:a16="http://schemas.microsoft.com/office/drawing/2014/main" id="{CF391569-D1A4-FE78-B7C6-EFE5F76F39DB}"/>
                </a:ext>
              </a:extLst>
            </p:cNvPr>
            <p:cNvSpPr/>
            <p:nvPr/>
          </p:nvSpPr>
          <p:spPr>
            <a:xfrm>
              <a:off x="10332551" y="-634744"/>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hat with a consultant</a:t>
              </a:r>
            </a:p>
          </p:txBody>
        </p:sp>
        <p:pic>
          <p:nvPicPr>
            <p:cNvPr id="7" name="Picture 4" descr="Banner">
              <a:extLst>
                <a:ext uri="{FF2B5EF4-FFF2-40B4-BE49-F238E27FC236}">
                  <a16:creationId xmlns:a16="http://schemas.microsoft.com/office/drawing/2014/main" id="{7A589820-F212-2C6C-95A0-5DA901B2E1F3}"/>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381697" y="-1491326"/>
              <a:ext cx="1594320" cy="895532"/>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CEEC942C-0379-557C-31B3-5893D7C95BE7}"/>
              </a:ext>
            </a:extLst>
          </p:cNvPr>
          <p:cNvSpPr/>
          <p:nvPr/>
        </p:nvSpPr>
        <p:spPr>
          <a:xfrm flipV="1">
            <a:off x="0" y="1640591"/>
            <a:ext cx="12192001" cy="61174"/>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166335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09B49-BCED-BF63-B496-F423EB31E4A3}"/>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641DD556-99FD-AEE3-B2E3-36F3130A3E96}"/>
              </a:ext>
            </a:extLst>
          </p:cNvPr>
          <p:cNvSpPr/>
          <p:nvPr/>
        </p:nvSpPr>
        <p:spPr bwMode="gray">
          <a:xfrm>
            <a:off x="0" y="6502400"/>
            <a:ext cx="12192000" cy="171784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endParaRPr>
          </a:p>
        </p:txBody>
      </p:sp>
      <p:pic>
        <p:nvPicPr>
          <p:cNvPr id="1026" name="Picture 2">
            <a:extLst>
              <a:ext uri="{FF2B5EF4-FFF2-40B4-BE49-F238E27FC236}">
                <a16:creationId xmlns:a16="http://schemas.microsoft.com/office/drawing/2014/main" id="{EC678415-4A83-7870-4BF7-FAC56135FFD3}"/>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905892" y="2403406"/>
            <a:ext cx="3038246" cy="303824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977CFB4-4A98-5675-DF0E-6893656CB27A}"/>
              </a:ext>
            </a:extLst>
          </p:cNvPr>
          <p:cNvSpPr txBox="1"/>
          <p:nvPr/>
        </p:nvSpPr>
        <p:spPr>
          <a:xfrm>
            <a:off x="398206" y="2084097"/>
            <a:ext cx="8057536" cy="777136"/>
          </a:xfrm>
          <a:prstGeom prst="rect">
            <a:avLst/>
          </a:prstGeom>
          <a:noFill/>
        </p:spPr>
        <p:txBody>
          <a:bodyPr wrap="square">
            <a:spAutoFit/>
          </a:bodyPr>
          <a:lstStyle/>
          <a:p>
            <a:pPr algn="l">
              <a:spcAft>
                <a:spcPts val="1500"/>
              </a:spcAft>
              <a:buNone/>
            </a:pPr>
            <a:r>
              <a:rPr lang="en-US" b="1" i="0" err="1">
                <a:solidFill>
                  <a:schemeClr val="accent1"/>
                </a:solidFill>
                <a:effectLst/>
                <a:latin typeface="Arial" panose="020B0604020202020204" pitchFamily="34" charset="0"/>
              </a:rPr>
              <a:t>Intteligence</a:t>
            </a:r>
            <a:r>
              <a:rPr lang="en-US" b="1" i="0">
                <a:solidFill>
                  <a:schemeClr val="accent1"/>
                </a:solidFill>
                <a:effectLst/>
                <a:latin typeface="Arial" panose="020B0604020202020204" pitchFamily="34" charset="0"/>
              </a:rPr>
              <a:t> Good receipt </a:t>
            </a:r>
            <a:r>
              <a:rPr lang="en-US" b="1" i="0">
                <a:solidFill>
                  <a:schemeClr val="accent1"/>
                </a:solidFill>
                <a:effectLst/>
                <a:latin typeface="Arial" panose="020B0604020202020204" pitchFamily="34" charset="0"/>
                <a:sym typeface="Wingdings" panose="05000000000000000000" pitchFamily="2" charset="2"/>
              </a:rPr>
              <a:t> Ralf / Andreas </a:t>
            </a:r>
            <a:r>
              <a:rPr lang="en-US" b="1" i="0">
                <a:solidFill>
                  <a:schemeClr val="accent1"/>
                </a:solidFill>
                <a:effectLst/>
                <a:latin typeface="Arial" panose="020B0604020202020204" pitchFamily="34" charset="0"/>
              </a:rPr>
              <a:t>   </a:t>
            </a:r>
          </a:p>
          <a:p>
            <a:pPr algn="l">
              <a:spcAft>
                <a:spcPts val="2250"/>
              </a:spcAft>
            </a:pPr>
            <a:r>
              <a:rPr lang="en-US" sz="1400" b="0" i="0">
                <a:solidFill>
                  <a:srgbClr val="FFFFFF"/>
                </a:solidFill>
                <a:effectLst/>
                <a:latin typeface="Arial" panose="020B0604020202020204" pitchFamily="34" charset="0"/>
              </a:rPr>
              <a:t>autonomous intelligence</a:t>
            </a:r>
          </a:p>
        </p:txBody>
      </p:sp>
      <p:pic>
        <p:nvPicPr>
          <p:cNvPr id="11" name="Picture 10">
            <a:extLst>
              <a:ext uri="{FF2B5EF4-FFF2-40B4-BE49-F238E27FC236}">
                <a16:creationId xmlns:a16="http://schemas.microsoft.com/office/drawing/2014/main" id="{C614E688-DCEE-105F-E6CF-B2CC5FADE670}"/>
              </a:ext>
            </a:extLst>
          </p:cNvPr>
          <p:cNvPicPr>
            <a:picLocks noChangeAspect="1"/>
          </p:cNvPicPr>
          <p:nvPr/>
        </p:nvPicPr>
        <p:blipFill>
          <a:blip r:embed="rId3"/>
          <a:stretch>
            <a:fillRect/>
          </a:stretch>
        </p:blipFill>
        <p:spPr>
          <a:xfrm>
            <a:off x="9571216" y="5583610"/>
            <a:ext cx="1707598" cy="599476"/>
          </a:xfrm>
          <a:prstGeom prst="rect">
            <a:avLst/>
          </a:prstGeom>
        </p:spPr>
      </p:pic>
      <p:grpSp>
        <p:nvGrpSpPr>
          <p:cNvPr id="2" name="Group 1">
            <a:extLst>
              <a:ext uri="{FF2B5EF4-FFF2-40B4-BE49-F238E27FC236}">
                <a16:creationId xmlns:a16="http://schemas.microsoft.com/office/drawing/2014/main" id="{07D865EE-59C9-8E92-B977-03148443068F}"/>
              </a:ext>
            </a:extLst>
          </p:cNvPr>
          <p:cNvGrpSpPr/>
          <p:nvPr/>
        </p:nvGrpSpPr>
        <p:grpSpPr>
          <a:xfrm>
            <a:off x="0" y="110963"/>
            <a:ext cx="12192000" cy="1508734"/>
            <a:chOff x="0" y="-1601723"/>
            <a:chExt cx="12192000" cy="1508734"/>
          </a:xfrm>
        </p:grpSpPr>
        <p:sp>
          <p:nvSpPr>
            <p:cNvPr id="3" name="Rectangle 2">
              <a:extLst>
                <a:ext uri="{FF2B5EF4-FFF2-40B4-BE49-F238E27FC236}">
                  <a16:creationId xmlns:a16="http://schemas.microsoft.com/office/drawing/2014/main" id="{02EC4298-532A-059F-EDFA-7F32AB99A9F9}"/>
                </a:ext>
              </a:extLst>
            </p:cNvPr>
            <p:cNvSpPr/>
            <p:nvPr/>
          </p:nvSpPr>
          <p:spPr>
            <a:xfrm>
              <a:off x="0" y="-1601723"/>
              <a:ext cx="12192000" cy="15087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u="sng"/>
            </a:p>
          </p:txBody>
        </p:sp>
        <p:pic>
          <p:nvPicPr>
            <p:cNvPr id="4" name="Picture 3">
              <a:extLst>
                <a:ext uri="{FF2B5EF4-FFF2-40B4-BE49-F238E27FC236}">
                  <a16:creationId xmlns:a16="http://schemas.microsoft.com/office/drawing/2014/main" id="{7B77C8E0-D846-E2E8-DA01-B6B88B2D6464}"/>
                </a:ext>
              </a:extLst>
            </p:cNvPr>
            <p:cNvPicPr>
              <a:picLocks noChangeAspect="1"/>
            </p:cNvPicPr>
            <p:nvPr/>
          </p:nvPicPr>
          <p:blipFill>
            <a:blip r:embed="rId4" cstate="screen">
              <a:extLst>
                <a:ext uri="{28A0092B-C50C-407E-A947-70E740481C1C}">
                  <a14:useLocalDpi xmlns:a14="http://schemas.microsoft.com/office/drawing/2010/main"/>
                </a:ext>
              </a:extLst>
            </a:blip>
            <a:srcRect l="12359" t="29466" r="11827" b="27443"/>
            <a:stretch/>
          </p:blipFill>
          <p:spPr>
            <a:xfrm>
              <a:off x="130505" y="-1418233"/>
              <a:ext cx="2777795" cy="640511"/>
            </a:xfrm>
            <a:prstGeom prst="rect">
              <a:avLst/>
            </a:prstGeom>
          </p:spPr>
        </p:pic>
        <p:sp>
          <p:nvSpPr>
            <p:cNvPr id="5" name="Rectangle 4">
              <a:extLst>
                <a:ext uri="{FF2B5EF4-FFF2-40B4-BE49-F238E27FC236}">
                  <a16:creationId xmlns:a16="http://schemas.microsoft.com/office/drawing/2014/main" id="{47198FAC-F80E-73DA-E9F8-CA19D95B5D82}"/>
                </a:ext>
              </a:extLst>
            </p:cNvPr>
            <p:cNvSpPr/>
            <p:nvPr/>
          </p:nvSpPr>
          <p:spPr>
            <a:xfrm>
              <a:off x="11178857" y="-824980"/>
              <a:ext cx="534147" cy="161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rPr>
                <a:t>My Site</a:t>
              </a:r>
            </a:p>
          </p:txBody>
        </p:sp>
        <p:sp>
          <p:nvSpPr>
            <p:cNvPr id="6" name="Rectangle 5">
              <a:extLst>
                <a:ext uri="{FF2B5EF4-FFF2-40B4-BE49-F238E27FC236}">
                  <a16:creationId xmlns:a16="http://schemas.microsoft.com/office/drawing/2014/main" id="{DBB61A1F-7339-5E24-A5D1-1420A22332F9}"/>
                </a:ext>
              </a:extLst>
            </p:cNvPr>
            <p:cNvSpPr/>
            <p:nvPr/>
          </p:nvSpPr>
          <p:spPr>
            <a:xfrm>
              <a:off x="10332551" y="-634744"/>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hat with a consultant</a:t>
              </a:r>
            </a:p>
          </p:txBody>
        </p:sp>
        <p:pic>
          <p:nvPicPr>
            <p:cNvPr id="7" name="Picture 4" descr="Banner">
              <a:extLst>
                <a:ext uri="{FF2B5EF4-FFF2-40B4-BE49-F238E27FC236}">
                  <a16:creationId xmlns:a16="http://schemas.microsoft.com/office/drawing/2014/main" id="{0E5A2A33-5E9C-B320-8EA3-5BB106F5B67F}"/>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381697" y="-1491326"/>
              <a:ext cx="1594320" cy="895532"/>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B8FB420C-8B96-CC7A-8DF5-D9E39885A937}"/>
              </a:ext>
            </a:extLst>
          </p:cNvPr>
          <p:cNvSpPr/>
          <p:nvPr/>
        </p:nvSpPr>
        <p:spPr>
          <a:xfrm flipV="1">
            <a:off x="0" y="1640591"/>
            <a:ext cx="12192001" cy="61174"/>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Picture 9">
            <a:extLst>
              <a:ext uri="{FF2B5EF4-FFF2-40B4-BE49-F238E27FC236}">
                <a16:creationId xmlns:a16="http://schemas.microsoft.com/office/drawing/2014/main" id="{F1CEF109-B721-53D2-EFEE-2C94B81C2D39}"/>
              </a:ext>
            </a:extLst>
          </p:cNvPr>
          <p:cNvPicPr>
            <a:picLocks noChangeAspect="1"/>
          </p:cNvPicPr>
          <p:nvPr/>
        </p:nvPicPr>
        <p:blipFill>
          <a:blip r:embed="rId6"/>
          <a:stretch>
            <a:fillRect/>
          </a:stretch>
        </p:blipFill>
        <p:spPr>
          <a:xfrm>
            <a:off x="1108178" y="3243565"/>
            <a:ext cx="7572639" cy="4259609"/>
          </a:xfrm>
          <a:prstGeom prst="rect">
            <a:avLst/>
          </a:prstGeom>
        </p:spPr>
      </p:pic>
    </p:spTree>
    <p:extLst>
      <p:ext uri="{BB962C8B-B14F-4D97-AF65-F5344CB8AC3E}">
        <p14:creationId xmlns:p14="http://schemas.microsoft.com/office/powerpoint/2010/main" val="228504871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99615-A694-FF20-23CA-EDFAF245238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0E947F-483E-A4D5-6588-57C16AEDBB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ct 4" hidden="1">
                        <a:extLst>
                          <a:ext uri="{FF2B5EF4-FFF2-40B4-BE49-F238E27FC236}">
                            <a16:creationId xmlns:a16="http://schemas.microsoft.com/office/drawing/2014/main" id="{970E947F-483E-A4D5-6588-57C16AEDBB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4D3E12F-FE50-7EBA-6BA7-496B8AFA9D2B}"/>
              </a:ext>
            </a:extLst>
          </p:cNvPr>
          <p:cNvSpPr>
            <a:spLocks noGrp="1"/>
          </p:cNvSpPr>
          <p:nvPr>
            <p:ph type="body" sz="quarter" idx="22"/>
          </p:nvPr>
        </p:nvSpPr>
        <p:spPr>
          <a:xfrm>
            <a:off x="463295" y="682940"/>
            <a:ext cx="10279873" cy="757255"/>
          </a:xfrm>
        </p:spPr>
        <p:txBody>
          <a:bodyPr/>
          <a:lstStyle/>
          <a:p>
            <a:r>
              <a:rPr lang="en-US" i="1"/>
              <a:t>Embracing AI in Logistics: Integrating Document Information Extractor (DOX) service from SAP BTP into SAP S/4 HANA.</a:t>
            </a:r>
            <a:endParaRPr lang="en-US"/>
          </a:p>
        </p:txBody>
      </p:sp>
      <p:sp>
        <p:nvSpPr>
          <p:cNvPr id="3" name="Title 2">
            <a:extLst>
              <a:ext uri="{FF2B5EF4-FFF2-40B4-BE49-F238E27FC236}">
                <a16:creationId xmlns:a16="http://schemas.microsoft.com/office/drawing/2014/main" id="{2BDBD9A5-A703-03D0-CAA9-6315AAC61BB6}"/>
              </a:ext>
            </a:extLst>
          </p:cNvPr>
          <p:cNvSpPr>
            <a:spLocks noGrp="1"/>
          </p:cNvSpPr>
          <p:nvPr>
            <p:ph type="title"/>
          </p:nvPr>
        </p:nvSpPr>
        <p:spPr/>
        <p:txBody>
          <a:bodyPr vert="horz"/>
          <a:lstStyle/>
          <a:p>
            <a:r>
              <a:rPr lang="en-US"/>
              <a:t>Use-cases : Intelligent Goods Receipt</a:t>
            </a:r>
          </a:p>
        </p:txBody>
      </p:sp>
      <p:sp>
        <p:nvSpPr>
          <p:cNvPr id="6" name="TextBox 5">
            <a:extLst>
              <a:ext uri="{FF2B5EF4-FFF2-40B4-BE49-F238E27FC236}">
                <a16:creationId xmlns:a16="http://schemas.microsoft.com/office/drawing/2014/main" id="{DAC8676D-0468-11B2-AE0A-88B9522F6E81}"/>
              </a:ext>
            </a:extLst>
          </p:cNvPr>
          <p:cNvSpPr txBox="1"/>
          <p:nvPr/>
        </p:nvSpPr>
        <p:spPr>
          <a:xfrm>
            <a:off x="7072954" y="4791317"/>
            <a:ext cx="3670214" cy="1013254"/>
          </a:xfrm>
          <a:prstGeom prst="rect">
            <a:avLst/>
          </a:prstGeom>
          <a:noFill/>
          <a:effectLst/>
        </p:spPr>
        <p:txBody>
          <a:bodyPr vert="horz" wrap="square" lIns="0" tIns="0" rIns="9144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a:ln>
                  <a:noFill/>
                </a:ln>
                <a:solidFill>
                  <a:srgbClr val="43B02A"/>
                </a:solidFill>
                <a:effectLst/>
                <a:uLnTx/>
                <a:uFillTx/>
                <a:latin typeface="Calibri"/>
                <a:ea typeface="Verdana" panose="020B0604030504040204" pitchFamily="34" charset="0"/>
                <a:cs typeface="Segoe UI Light" panose="020B0502040204020203" pitchFamily="34" charset="0"/>
                <a:sym typeface="Verdana" panose="020B0604030504040204" pitchFamily="34" charset="0"/>
              </a:rPr>
              <a:t>TECHNOLOGY HIGHLIGH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srgbClr val="00000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SAP S/4 HANA Private Cloud / on – premi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SAP EWM on S/4 HA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SAP TM on S/4 HA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SAP BTP – Document Information Extractor services (DO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1" u="none" strike="noStrike" kern="1200" cap="none" spc="0" normalizeH="0" baseline="0" noProof="0">
              <a:ln>
                <a:noFill/>
              </a:ln>
              <a:solidFill>
                <a:srgbClr val="00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FDF71A97-5A2D-6CA8-60E2-FDE674A47A97}"/>
              </a:ext>
            </a:extLst>
          </p:cNvPr>
          <p:cNvSpPr txBox="1"/>
          <p:nvPr/>
        </p:nvSpPr>
        <p:spPr>
          <a:xfrm>
            <a:off x="609600" y="1457919"/>
            <a:ext cx="5761950" cy="1214424"/>
          </a:xfrm>
          <a:prstGeom prst="rect">
            <a:avLst/>
          </a:prstGeom>
          <a:noFill/>
          <a:ln>
            <a:noFill/>
          </a:ln>
          <a:effectLst/>
        </p:spPr>
        <p:txBody>
          <a:bodyPr vert="horz" wrap="square" lIns="0" tIns="0" rIns="9144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a:ln>
                  <a:noFill/>
                </a:ln>
                <a:solidFill>
                  <a:srgbClr val="43B02A"/>
                </a:solidFill>
                <a:effectLst/>
                <a:uLnTx/>
                <a:uFillTx/>
                <a:latin typeface="Calibri"/>
                <a:ea typeface="Verdana" panose="020B0604030504040204" pitchFamily="34" charset="0"/>
                <a:cs typeface="Segoe UI Light" panose="020B0502040204020203" pitchFamily="34" charset="0"/>
                <a:sym typeface="Verdana" panose="020B0604030504040204" pitchFamily="34" charset="0"/>
              </a:rPr>
              <a:t>BUSINESS CHALLEN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srgbClr val="00000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Manual Data Entry in Inbound Logistics to capture the data from Delivery notes and find the SAP Business Docu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Longer Truck waiting times in the Yard or at the Docks affecting Inbound K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Contracts with the vast set of suppliers with no EDI connections with the client’s SAP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Non-standard and multi-lingual formats of the Delivery Notes &amp; Inbound docu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1" u="none" strike="noStrike" kern="1200" cap="none" spc="0" normalizeH="0" baseline="0" noProof="0">
              <a:ln>
                <a:noFill/>
              </a:ln>
              <a:solidFill>
                <a:srgbClr val="000000"/>
              </a:solidFill>
              <a:effectLst/>
              <a:uLnTx/>
              <a:uFillTx/>
              <a:latin typeface="Calibri"/>
              <a:ea typeface="+mn-ea"/>
              <a:cs typeface="+mn-cs"/>
            </a:endParaRPr>
          </a:p>
        </p:txBody>
      </p:sp>
      <p:sp>
        <p:nvSpPr>
          <p:cNvPr id="8" name="TextBox 7">
            <a:extLst>
              <a:ext uri="{FF2B5EF4-FFF2-40B4-BE49-F238E27FC236}">
                <a16:creationId xmlns:a16="http://schemas.microsoft.com/office/drawing/2014/main" id="{C13D1B8F-28F4-527D-44AE-DCAB33E42DAA}"/>
              </a:ext>
            </a:extLst>
          </p:cNvPr>
          <p:cNvSpPr txBox="1"/>
          <p:nvPr/>
        </p:nvSpPr>
        <p:spPr>
          <a:xfrm>
            <a:off x="612090" y="2759143"/>
            <a:ext cx="5759460" cy="2032174"/>
          </a:xfrm>
          <a:prstGeom prst="rect">
            <a:avLst/>
          </a:prstGeom>
          <a:noFill/>
          <a:effectLst/>
        </p:spPr>
        <p:txBody>
          <a:bodyPr vert="horz" wrap="square" lIns="0" tIns="0" rIns="9144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a:ln>
                  <a:noFill/>
                </a:ln>
                <a:solidFill>
                  <a:srgbClr val="43B02A"/>
                </a:solidFill>
                <a:effectLst/>
                <a:uLnTx/>
                <a:uFillTx/>
                <a:latin typeface="Calibri"/>
                <a:ea typeface="Verdana" panose="020B0604030504040204" pitchFamily="34" charset="0"/>
                <a:cs typeface="Segoe UI Light" panose="020B0502040204020203" pitchFamily="34" charset="0"/>
                <a:sym typeface="Verdana" panose="020B0604030504040204" pitchFamily="34" charset="0"/>
              </a:rPr>
              <a:t>PROPOSED SOLUTION</a:t>
            </a:r>
            <a:endParaRPr kumimoji="0" lang="en-US" sz="1200" b="0" i="1" u="none" strike="noStrike" kern="1200" cap="none" spc="0" normalizeH="0" baseline="0" noProof="0">
              <a:ln>
                <a:noFill/>
              </a:ln>
              <a:solidFill>
                <a:srgbClr val="43B02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1" u="none" strike="noStrike" kern="1200" cap="none" spc="0" normalizeH="0" baseline="0" noProof="0">
              <a:ln>
                <a:noFill/>
              </a:ln>
              <a:solidFill>
                <a:srgbClr val="00000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Integrate Document Information Extractor (DOX) service from SAP BTP with SAP S/4 HA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DOX service in BTP extracts the texts from the Inbound documents sent by the supplier in the form of attachments or the document directly scanned by the Warehouse Cle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DOX service is enabled with GEN-AI capabilities and offers standard document type called as ‘Purchase Order’ that is pre-trained on the LLMs, which helps this service to extract texts from the Delivery notes for any different formats and languag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The Warehouse clerk can correct the extracted text if necessary and if with an inbuilt feedback feature, the program adopts itself (with Machine learning capabilities) to rectify the fault in the next ite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The output text from this service is sent to SAP S/4 HANA for Inbound Delivery creation in SA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This smoothens the Inbound operations and reduces the manual effort to a larger ext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00000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100" b="0" i="1" u="none" strike="noStrike" kern="1200" cap="none" spc="0" normalizeH="0" baseline="0" noProof="0">
              <a:ln>
                <a:noFill/>
              </a:ln>
              <a:solidFill>
                <a:srgbClr val="000000"/>
              </a:solidFill>
              <a:effectLst/>
              <a:uLnTx/>
              <a:uFillTx/>
              <a:latin typeface="Calibri"/>
              <a:ea typeface="+mn-ea"/>
              <a:cs typeface="+mn-cs"/>
            </a:endParaRPr>
          </a:p>
        </p:txBody>
      </p:sp>
      <p:sp>
        <p:nvSpPr>
          <p:cNvPr id="9" name="TextBox 8">
            <a:extLst>
              <a:ext uri="{FF2B5EF4-FFF2-40B4-BE49-F238E27FC236}">
                <a16:creationId xmlns:a16="http://schemas.microsoft.com/office/drawing/2014/main" id="{465F8FFB-32DB-323E-3A15-815B5E856048}"/>
              </a:ext>
            </a:extLst>
          </p:cNvPr>
          <p:cNvSpPr txBox="1"/>
          <p:nvPr/>
        </p:nvSpPr>
        <p:spPr>
          <a:xfrm>
            <a:off x="604327" y="4997505"/>
            <a:ext cx="5736400" cy="1214424"/>
          </a:xfrm>
          <a:prstGeom prst="rect">
            <a:avLst/>
          </a:prstGeom>
          <a:noFill/>
          <a:effectLst/>
        </p:spPr>
        <p:txBody>
          <a:bodyPr vert="horz" wrap="square" lIns="0" tIns="0" rIns="9144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a:ln>
                  <a:noFill/>
                </a:ln>
                <a:solidFill>
                  <a:srgbClr val="43B02A"/>
                </a:solidFill>
                <a:effectLst/>
                <a:uLnTx/>
                <a:uFillTx/>
                <a:latin typeface="Calibri"/>
                <a:ea typeface="Verdana" panose="020B0604030504040204" pitchFamily="34" charset="0"/>
                <a:cs typeface="Segoe UI Light" panose="020B0502040204020203" pitchFamily="34" charset="0"/>
                <a:sym typeface="Verdana" panose="020B0604030504040204" pitchFamily="34" charset="0"/>
              </a:rPr>
              <a:t>VALUE CREATED</a:t>
            </a:r>
            <a:endParaRPr kumimoji="0" lang="en-US" sz="1200" b="0" i="1" u="none" strike="noStrike" kern="1200" cap="none" spc="0" normalizeH="0" baseline="0" noProof="0">
              <a:ln>
                <a:noFill/>
              </a:ln>
              <a:solidFill>
                <a:srgbClr val="43B02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1" u="none" strike="noStrike" kern="1200" cap="none" spc="0" normalizeH="0" baseline="0" noProof="0">
              <a:ln>
                <a:noFill/>
              </a:ln>
              <a:solidFill>
                <a:srgbClr val="00000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Expedites Data Ent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Real-time data comparison avoiding discrepancies in Material data and Quant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Automate Data Enrichment as the service is pre-trained on existing LLM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1" u="none" strike="noStrike" kern="1200" cap="none" spc="0" normalizeH="0" baseline="0" noProof="0">
              <a:ln>
                <a:noFill/>
              </a:ln>
              <a:solidFill>
                <a:srgbClr val="000000"/>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07505D8D-BE11-DF45-763F-CBB67ABFC3A3}"/>
              </a:ext>
            </a:extLst>
          </p:cNvPr>
          <p:cNvPicPr>
            <a:picLocks noChangeAspect="1"/>
          </p:cNvPicPr>
          <p:nvPr/>
        </p:nvPicPr>
        <p:blipFill>
          <a:blip r:embed="rId5"/>
          <a:stretch>
            <a:fillRect/>
          </a:stretch>
        </p:blipFill>
        <p:spPr>
          <a:xfrm>
            <a:off x="6962079" y="1457919"/>
            <a:ext cx="4754936" cy="2696326"/>
          </a:xfrm>
          <a:prstGeom prst="rect">
            <a:avLst/>
          </a:prstGeom>
        </p:spPr>
      </p:pic>
    </p:spTree>
    <p:extLst>
      <p:ext uri="{BB962C8B-B14F-4D97-AF65-F5344CB8AC3E}">
        <p14:creationId xmlns:p14="http://schemas.microsoft.com/office/powerpoint/2010/main" val="44065006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2B19D5-DB74-5618-CF7A-DD59E660CB20}"/>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080A2B29-8C61-10CA-6800-03B9AB1B36E5}"/>
              </a:ext>
            </a:extLst>
          </p:cNvPr>
          <p:cNvSpPr/>
          <p:nvPr/>
        </p:nvSpPr>
        <p:spPr bwMode="gray">
          <a:xfrm>
            <a:off x="0" y="6502400"/>
            <a:ext cx="12192000" cy="171784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endParaRPr>
          </a:p>
        </p:txBody>
      </p:sp>
      <p:pic>
        <p:nvPicPr>
          <p:cNvPr id="1026" name="Picture 2">
            <a:extLst>
              <a:ext uri="{FF2B5EF4-FFF2-40B4-BE49-F238E27FC236}">
                <a16:creationId xmlns:a16="http://schemas.microsoft.com/office/drawing/2014/main" id="{B855E62A-4B33-1031-6BB6-1436D345929D}"/>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905892" y="2403406"/>
            <a:ext cx="3038246" cy="303824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F739956-C3AF-6B25-000F-2EEBB94A2D93}"/>
              </a:ext>
            </a:extLst>
          </p:cNvPr>
          <p:cNvSpPr txBox="1"/>
          <p:nvPr/>
        </p:nvSpPr>
        <p:spPr>
          <a:xfrm>
            <a:off x="398206" y="2084097"/>
            <a:ext cx="8057536" cy="777136"/>
          </a:xfrm>
          <a:prstGeom prst="rect">
            <a:avLst/>
          </a:prstGeom>
          <a:noFill/>
        </p:spPr>
        <p:txBody>
          <a:bodyPr wrap="square">
            <a:spAutoFit/>
          </a:bodyPr>
          <a:lstStyle/>
          <a:p>
            <a:pPr algn="l">
              <a:spcAft>
                <a:spcPts val="1500"/>
              </a:spcAft>
              <a:buNone/>
            </a:pPr>
            <a:r>
              <a:rPr lang="en-US" b="1" i="0">
                <a:solidFill>
                  <a:schemeClr val="accent1"/>
                </a:solidFill>
                <a:effectLst/>
                <a:latin typeface="Arial" panose="020B0604020202020204" pitchFamily="34" charset="0"/>
              </a:rPr>
              <a:t>AAA</a:t>
            </a:r>
            <a:r>
              <a:rPr lang="en-US" b="1" i="0">
                <a:solidFill>
                  <a:schemeClr val="accent1"/>
                </a:solidFill>
                <a:effectLst/>
                <a:latin typeface="Arial" panose="020B0604020202020204" pitchFamily="34" charset="0"/>
                <a:sym typeface="Wingdings" panose="05000000000000000000" pitchFamily="2" charset="2"/>
              </a:rPr>
              <a:t> Ralf / Andreas </a:t>
            </a:r>
            <a:r>
              <a:rPr lang="en-US" b="1" i="0">
                <a:solidFill>
                  <a:schemeClr val="accent1"/>
                </a:solidFill>
                <a:effectLst/>
                <a:latin typeface="Arial" panose="020B0604020202020204" pitchFamily="34" charset="0"/>
              </a:rPr>
              <a:t>   </a:t>
            </a:r>
          </a:p>
          <a:p>
            <a:pPr algn="l">
              <a:spcAft>
                <a:spcPts val="2250"/>
              </a:spcAft>
            </a:pPr>
            <a:r>
              <a:rPr lang="en-US" sz="1400" b="0" i="0">
                <a:solidFill>
                  <a:srgbClr val="FFFFFF"/>
                </a:solidFill>
                <a:effectLst/>
                <a:latin typeface="Arial" panose="020B0604020202020204" pitchFamily="34" charset="0"/>
              </a:rPr>
              <a:t>autonomous intelligence</a:t>
            </a:r>
          </a:p>
        </p:txBody>
      </p:sp>
      <p:pic>
        <p:nvPicPr>
          <p:cNvPr id="11" name="Picture 10">
            <a:extLst>
              <a:ext uri="{FF2B5EF4-FFF2-40B4-BE49-F238E27FC236}">
                <a16:creationId xmlns:a16="http://schemas.microsoft.com/office/drawing/2014/main" id="{1AFB0C3C-6414-0C45-C0EB-CB5C76D4E485}"/>
              </a:ext>
            </a:extLst>
          </p:cNvPr>
          <p:cNvPicPr>
            <a:picLocks noChangeAspect="1"/>
          </p:cNvPicPr>
          <p:nvPr/>
        </p:nvPicPr>
        <p:blipFill>
          <a:blip r:embed="rId3"/>
          <a:stretch>
            <a:fillRect/>
          </a:stretch>
        </p:blipFill>
        <p:spPr>
          <a:xfrm>
            <a:off x="9571216" y="5583610"/>
            <a:ext cx="1707598" cy="599476"/>
          </a:xfrm>
          <a:prstGeom prst="rect">
            <a:avLst/>
          </a:prstGeom>
        </p:spPr>
      </p:pic>
      <p:grpSp>
        <p:nvGrpSpPr>
          <p:cNvPr id="2" name="Group 1">
            <a:extLst>
              <a:ext uri="{FF2B5EF4-FFF2-40B4-BE49-F238E27FC236}">
                <a16:creationId xmlns:a16="http://schemas.microsoft.com/office/drawing/2014/main" id="{A693A50B-11B6-708C-89E7-5FD72D543D23}"/>
              </a:ext>
            </a:extLst>
          </p:cNvPr>
          <p:cNvGrpSpPr/>
          <p:nvPr/>
        </p:nvGrpSpPr>
        <p:grpSpPr>
          <a:xfrm>
            <a:off x="0" y="110963"/>
            <a:ext cx="12192000" cy="1508734"/>
            <a:chOff x="0" y="-1601723"/>
            <a:chExt cx="12192000" cy="1508734"/>
          </a:xfrm>
        </p:grpSpPr>
        <p:sp>
          <p:nvSpPr>
            <p:cNvPr id="3" name="Rectangle 2">
              <a:extLst>
                <a:ext uri="{FF2B5EF4-FFF2-40B4-BE49-F238E27FC236}">
                  <a16:creationId xmlns:a16="http://schemas.microsoft.com/office/drawing/2014/main" id="{EB9B1018-67D4-765F-D0F7-5633D73841FD}"/>
                </a:ext>
              </a:extLst>
            </p:cNvPr>
            <p:cNvSpPr/>
            <p:nvPr/>
          </p:nvSpPr>
          <p:spPr>
            <a:xfrm>
              <a:off x="0" y="-1601723"/>
              <a:ext cx="12192000" cy="15087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u="sng"/>
            </a:p>
          </p:txBody>
        </p:sp>
        <p:pic>
          <p:nvPicPr>
            <p:cNvPr id="4" name="Picture 3">
              <a:extLst>
                <a:ext uri="{FF2B5EF4-FFF2-40B4-BE49-F238E27FC236}">
                  <a16:creationId xmlns:a16="http://schemas.microsoft.com/office/drawing/2014/main" id="{F8F8B387-7C9D-3359-E4B7-406D20E56BDF}"/>
                </a:ext>
              </a:extLst>
            </p:cNvPr>
            <p:cNvPicPr>
              <a:picLocks noChangeAspect="1"/>
            </p:cNvPicPr>
            <p:nvPr/>
          </p:nvPicPr>
          <p:blipFill>
            <a:blip r:embed="rId4" cstate="screen">
              <a:extLst>
                <a:ext uri="{28A0092B-C50C-407E-A947-70E740481C1C}">
                  <a14:useLocalDpi xmlns:a14="http://schemas.microsoft.com/office/drawing/2010/main"/>
                </a:ext>
              </a:extLst>
            </a:blip>
            <a:srcRect l="12359" t="29466" r="11827" b="27443"/>
            <a:stretch/>
          </p:blipFill>
          <p:spPr>
            <a:xfrm>
              <a:off x="130505" y="-1418233"/>
              <a:ext cx="2777795" cy="640511"/>
            </a:xfrm>
            <a:prstGeom prst="rect">
              <a:avLst/>
            </a:prstGeom>
          </p:spPr>
        </p:pic>
        <p:sp>
          <p:nvSpPr>
            <p:cNvPr id="5" name="Rectangle 4">
              <a:extLst>
                <a:ext uri="{FF2B5EF4-FFF2-40B4-BE49-F238E27FC236}">
                  <a16:creationId xmlns:a16="http://schemas.microsoft.com/office/drawing/2014/main" id="{BA8632E2-101D-2BB9-50D3-4A822C6B7BE5}"/>
                </a:ext>
              </a:extLst>
            </p:cNvPr>
            <p:cNvSpPr/>
            <p:nvPr/>
          </p:nvSpPr>
          <p:spPr>
            <a:xfrm>
              <a:off x="11178857" y="-824980"/>
              <a:ext cx="534147" cy="161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rPr>
                <a:t>My Site</a:t>
              </a:r>
            </a:p>
          </p:txBody>
        </p:sp>
        <p:sp>
          <p:nvSpPr>
            <p:cNvPr id="6" name="Rectangle 5">
              <a:extLst>
                <a:ext uri="{FF2B5EF4-FFF2-40B4-BE49-F238E27FC236}">
                  <a16:creationId xmlns:a16="http://schemas.microsoft.com/office/drawing/2014/main" id="{3EBE5B2F-6729-4FE1-955A-E0B2C306CF29}"/>
                </a:ext>
              </a:extLst>
            </p:cNvPr>
            <p:cNvSpPr/>
            <p:nvPr/>
          </p:nvSpPr>
          <p:spPr>
            <a:xfrm>
              <a:off x="10332551" y="-634744"/>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hat with a consultant</a:t>
              </a:r>
            </a:p>
          </p:txBody>
        </p:sp>
        <p:pic>
          <p:nvPicPr>
            <p:cNvPr id="7" name="Picture 4" descr="Banner">
              <a:extLst>
                <a:ext uri="{FF2B5EF4-FFF2-40B4-BE49-F238E27FC236}">
                  <a16:creationId xmlns:a16="http://schemas.microsoft.com/office/drawing/2014/main" id="{8B718C85-26A1-57E9-1064-5A622A60B7CD}"/>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381697" y="-1491326"/>
              <a:ext cx="1594320" cy="895532"/>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1341B1A6-EF06-B4C6-24E0-8DF31E55FB5D}"/>
              </a:ext>
            </a:extLst>
          </p:cNvPr>
          <p:cNvSpPr/>
          <p:nvPr/>
        </p:nvSpPr>
        <p:spPr>
          <a:xfrm flipV="1">
            <a:off x="0" y="1640591"/>
            <a:ext cx="12192001" cy="61174"/>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2361345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7BFD6-4452-76E7-72C0-8DD7C1292B49}"/>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0F418D-BD19-1FAF-D1B2-F69C5F3999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ct 4" hidden="1">
                        <a:extLst>
                          <a:ext uri="{FF2B5EF4-FFF2-40B4-BE49-F238E27FC236}">
                            <a16:creationId xmlns:a16="http://schemas.microsoft.com/office/drawing/2014/main" id="{4E0F418D-BD19-1FAF-D1B2-F69C5F3999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B614C53-2CDD-3F07-D959-132F0E766FD5}"/>
              </a:ext>
            </a:extLst>
          </p:cNvPr>
          <p:cNvSpPr>
            <a:spLocks noGrp="1"/>
          </p:cNvSpPr>
          <p:nvPr>
            <p:ph type="body" sz="quarter" idx="22"/>
          </p:nvPr>
        </p:nvSpPr>
        <p:spPr>
          <a:xfrm>
            <a:off x="463295" y="682940"/>
            <a:ext cx="10179896" cy="757255"/>
          </a:xfrm>
        </p:spPr>
        <p:txBody>
          <a:bodyPr/>
          <a:lstStyle/>
          <a:p>
            <a:r>
              <a:rPr lang="en-US" i="1"/>
              <a:t>Embracing AI in Logistics: Using AI and Predictions to Predict Carbon Emissions with SAP Analytics Cloud</a:t>
            </a:r>
            <a:endParaRPr lang="en-US"/>
          </a:p>
        </p:txBody>
      </p:sp>
      <p:sp>
        <p:nvSpPr>
          <p:cNvPr id="3" name="Title 2">
            <a:extLst>
              <a:ext uri="{FF2B5EF4-FFF2-40B4-BE49-F238E27FC236}">
                <a16:creationId xmlns:a16="http://schemas.microsoft.com/office/drawing/2014/main" id="{0D2C1EBF-0827-0758-94EF-785E4614B450}"/>
              </a:ext>
            </a:extLst>
          </p:cNvPr>
          <p:cNvSpPr>
            <a:spLocks noGrp="1"/>
          </p:cNvSpPr>
          <p:nvPr>
            <p:ph type="title"/>
          </p:nvPr>
        </p:nvSpPr>
        <p:spPr/>
        <p:txBody>
          <a:bodyPr vert="horz"/>
          <a:lstStyle/>
          <a:p>
            <a:r>
              <a:rPr lang="en-US"/>
              <a:t>Use-cases : D.SCALE</a:t>
            </a:r>
          </a:p>
        </p:txBody>
      </p:sp>
      <p:sp>
        <p:nvSpPr>
          <p:cNvPr id="6" name="TextBox 5">
            <a:extLst>
              <a:ext uri="{FF2B5EF4-FFF2-40B4-BE49-F238E27FC236}">
                <a16:creationId xmlns:a16="http://schemas.microsoft.com/office/drawing/2014/main" id="{13289B7C-2E70-7D8F-9AF7-930B5E86AE21}"/>
              </a:ext>
            </a:extLst>
          </p:cNvPr>
          <p:cNvSpPr txBox="1"/>
          <p:nvPr/>
        </p:nvSpPr>
        <p:spPr>
          <a:xfrm>
            <a:off x="7072954" y="4891901"/>
            <a:ext cx="3670214" cy="1013254"/>
          </a:xfrm>
          <a:prstGeom prst="rect">
            <a:avLst/>
          </a:prstGeom>
          <a:noFill/>
          <a:effectLst/>
        </p:spPr>
        <p:txBody>
          <a:bodyPr vert="horz" wrap="square" lIns="0" tIns="0" rIns="9144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a:ln>
                  <a:noFill/>
                </a:ln>
                <a:solidFill>
                  <a:srgbClr val="43B02A"/>
                </a:solidFill>
                <a:effectLst/>
                <a:uLnTx/>
                <a:uFillTx/>
                <a:latin typeface="Calibri"/>
                <a:ea typeface="Verdana" panose="020B0604030504040204" pitchFamily="34" charset="0"/>
                <a:cs typeface="Segoe UI Light" panose="020B0502040204020203" pitchFamily="34" charset="0"/>
                <a:sym typeface="Verdana" panose="020B0604030504040204" pitchFamily="34" charset="0"/>
              </a:rPr>
              <a:t>TECHNOLOGY HIGHLIGH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srgbClr val="00000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SAP S/4 HANA Private Cloud / on – premi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SAP EWM on S/4 HA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SAP TM on S/4 HA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SAP SAC (Analytics Clou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1" u="none" strike="noStrike" kern="1200" cap="none" spc="0" normalizeH="0" baseline="0" noProof="0">
              <a:ln>
                <a:noFill/>
              </a:ln>
              <a:solidFill>
                <a:srgbClr val="00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6E22DFEE-6C0C-B641-7806-C63EBC0EFD71}"/>
              </a:ext>
            </a:extLst>
          </p:cNvPr>
          <p:cNvSpPr txBox="1"/>
          <p:nvPr/>
        </p:nvSpPr>
        <p:spPr>
          <a:xfrm>
            <a:off x="609600" y="1558503"/>
            <a:ext cx="5761950" cy="1214424"/>
          </a:xfrm>
          <a:prstGeom prst="rect">
            <a:avLst/>
          </a:prstGeom>
          <a:noFill/>
          <a:ln>
            <a:noFill/>
          </a:ln>
          <a:effectLst/>
        </p:spPr>
        <p:txBody>
          <a:bodyPr vert="horz" wrap="square" lIns="0" tIns="0" rIns="9144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a:ln>
                  <a:noFill/>
                </a:ln>
                <a:solidFill>
                  <a:srgbClr val="43B02A"/>
                </a:solidFill>
                <a:effectLst/>
                <a:uLnTx/>
                <a:uFillTx/>
                <a:latin typeface="Calibri"/>
                <a:ea typeface="Verdana" panose="020B0604030504040204" pitchFamily="34" charset="0"/>
                <a:cs typeface="Segoe UI Light" panose="020B0502040204020203" pitchFamily="34" charset="0"/>
                <a:sym typeface="Verdana" panose="020B0604030504040204" pitchFamily="34" charset="0"/>
              </a:rPr>
              <a:t>BUSINESS CHALLEN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srgbClr val="00000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Necessity to report NFRD (Non-Financial Reporting data) for every firm since 201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EU- mandated act CSRD for all the firms (listed or non-listed) to report their Sustainability and Climate impact related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To be legally compliant with the changing EU Regulations and be competent to their customers and Business partn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1" u="none" strike="noStrike" kern="1200" cap="none" spc="0" normalizeH="0" baseline="0" noProof="0">
              <a:ln>
                <a:noFill/>
              </a:ln>
              <a:solidFill>
                <a:srgbClr val="000000"/>
              </a:solidFill>
              <a:effectLst/>
              <a:uLnTx/>
              <a:uFillTx/>
              <a:latin typeface="Calibri"/>
              <a:ea typeface="+mn-ea"/>
              <a:cs typeface="+mn-cs"/>
            </a:endParaRPr>
          </a:p>
        </p:txBody>
      </p:sp>
      <p:sp>
        <p:nvSpPr>
          <p:cNvPr id="8" name="TextBox 7">
            <a:extLst>
              <a:ext uri="{FF2B5EF4-FFF2-40B4-BE49-F238E27FC236}">
                <a16:creationId xmlns:a16="http://schemas.microsoft.com/office/drawing/2014/main" id="{D6708307-A0AC-470D-692B-3E6F97DBA6C8}"/>
              </a:ext>
            </a:extLst>
          </p:cNvPr>
          <p:cNvSpPr txBox="1"/>
          <p:nvPr/>
        </p:nvSpPr>
        <p:spPr>
          <a:xfrm>
            <a:off x="612090" y="2859727"/>
            <a:ext cx="5759460" cy="2032174"/>
          </a:xfrm>
          <a:prstGeom prst="rect">
            <a:avLst/>
          </a:prstGeom>
          <a:noFill/>
          <a:effectLst/>
        </p:spPr>
        <p:txBody>
          <a:bodyPr vert="horz" wrap="square" lIns="0" tIns="0" rIns="9144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a:ln>
                  <a:noFill/>
                </a:ln>
                <a:solidFill>
                  <a:srgbClr val="43B02A"/>
                </a:solidFill>
                <a:effectLst/>
                <a:uLnTx/>
                <a:uFillTx/>
                <a:latin typeface="Calibri"/>
                <a:ea typeface="Verdana" panose="020B0604030504040204" pitchFamily="34" charset="0"/>
                <a:cs typeface="Segoe UI Light" panose="020B0502040204020203" pitchFamily="34" charset="0"/>
                <a:sym typeface="Verdana" panose="020B0604030504040204" pitchFamily="34" charset="0"/>
              </a:rPr>
              <a:t>PROPOSED SOLUTION</a:t>
            </a:r>
            <a:endParaRPr kumimoji="0" lang="en-US" sz="1200" b="0" i="1" u="none" strike="noStrike" kern="1200" cap="none" spc="0" normalizeH="0" baseline="0" noProof="0">
              <a:ln>
                <a:noFill/>
              </a:ln>
              <a:solidFill>
                <a:srgbClr val="43B02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1" u="none" strike="noStrike" kern="1200" cap="none" spc="0" normalizeH="0" baseline="0" noProof="0">
              <a:ln>
                <a:noFill/>
              </a:ln>
              <a:solidFill>
                <a:srgbClr val="00000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Identify important KPIs relevant for reporting the company’s Sustainability related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Leverage existing data from SAP EWM such as Packaging Waste, Electricity Consumption, Employee Safety through Resource Management and other data from the EWM Warehouse tas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Leverage existing data from SAP TM such as CO2 emission and Fuel consumption factors from the different means of Transports u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Use out of the box integration between SAP Analytics Cloud and SAP S/4 HAN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Use in-build Predictive Analytics capabilities of SAP SAC to analyze, report the important KPIs such as CO2 emissions at different levels, such as Warehouse, Region or Count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Comparison of the Warehouse sustainability parameters and prediction of the different emission factors in the next Quarter or month based on the input historic business data of SAP S/4 HA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100" b="0" i="1" u="none" strike="noStrike" kern="1200" cap="none" spc="0" normalizeH="0" baseline="0" noProof="0">
              <a:ln>
                <a:noFill/>
              </a:ln>
              <a:solidFill>
                <a:srgbClr val="000000"/>
              </a:solidFill>
              <a:effectLst/>
              <a:uLnTx/>
              <a:uFillTx/>
              <a:latin typeface="Calibri"/>
              <a:ea typeface="+mn-ea"/>
              <a:cs typeface="+mn-cs"/>
            </a:endParaRPr>
          </a:p>
        </p:txBody>
      </p:sp>
      <p:sp>
        <p:nvSpPr>
          <p:cNvPr id="9" name="TextBox 8">
            <a:extLst>
              <a:ext uri="{FF2B5EF4-FFF2-40B4-BE49-F238E27FC236}">
                <a16:creationId xmlns:a16="http://schemas.microsoft.com/office/drawing/2014/main" id="{41A54374-2AB7-1014-1CFA-0FEE93F699AD}"/>
              </a:ext>
            </a:extLst>
          </p:cNvPr>
          <p:cNvSpPr txBox="1"/>
          <p:nvPr/>
        </p:nvSpPr>
        <p:spPr>
          <a:xfrm>
            <a:off x="604327" y="5098089"/>
            <a:ext cx="5736400" cy="1214424"/>
          </a:xfrm>
          <a:prstGeom prst="rect">
            <a:avLst/>
          </a:prstGeom>
          <a:noFill/>
          <a:effectLst/>
        </p:spPr>
        <p:txBody>
          <a:bodyPr vert="horz" wrap="square" lIns="0" tIns="0" rIns="9144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a:ln>
                  <a:noFill/>
                </a:ln>
                <a:solidFill>
                  <a:srgbClr val="43B02A"/>
                </a:solidFill>
                <a:effectLst/>
                <a:uLnTx/>
                <a:uFillTx/>
                <a:latin typeface="Calibri"/>
                <a:ea typeface="Verdana" panose="020B0604030504040204" pitchFamily="34" charset="0"/>
                <a:cs typeface="Segoe UI Light" panose="020B0502040204020203" pitchFamily="34" charset="0"/>
                <a:sym typeface="Verdana" panose="020B0604030504040204" pitchFamily="34" charset="0"/>
              </a:rPr>
              <a:t>VALUE CREATED</a:t>
            </a:r>
            <a:endParaRPr kumimoji="0" lang="en-US" sz="1200" b="0" i="1" u="none" strike="noStrike" kern="1200" cap="none" spc="0" normalizeH="0" baseline="0" noProof="0">
              <a:ln>
                <a:noFill/>
              </a:ln>
              <a:solidFill>
                <a:srgbClr val="43B02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1" u="none" strike="noStrike" kern="1200" cap="none" spc="0" normalizeH="0" baseline="0" noProof="0">
              <a:ln>
                <a:noFill/>
              </a:ln>
              <a:solidFill>
                <a:srgbClr val="00000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Makes the companies Compliant with the changing EU Regul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Assists the companies in determining the Product Carbon footprint in Logistics Proc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Calibri"/>
                <a:ea typeface="+mn-ea"/>
                <a:cs typeface="+mn-cs"/>
              </a:rPr>
              <a:t>Assist in reporting overall firms CS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1" u="none" strike="noStrike" kern="1200" cap="none" spc="0" normalizeH="0" baseline="0" noProof="0">
              <a:ln>
                <a:noFill/>
              </a:ln>
              <a:solidFill>
                <a:srgbClr val="000000"/>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4663CD3A-0E64-A143-E093-720F5B3BAD00}"/>
              </a:ext>
            </a:extLst>
          </p:cNvPr>
          <p:cNvPicPr>
            <a:picLocks noChangeAspect="1"/>
          </p:cNvPicPr>
          <p:nvPr/>
        </p:nvPicPr>
        <p:blipFill>
          <a:blip r:embed="rId5"/>
          <a:stretch>
            <a:fillRect/>
          </a:stretch>
        </p:blipFill>
        <p:spPr>
          <a:xfrm>
            <a:off x="6453277" y="1235080"/>
            <a:ext cx="5602822" cy="2628520"/>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518CCE46-82EA-BA24-B63B-72096DE97801}"/>
              </a:ext>
            </a:extLst>
          </p:cNvPr>
          <p:cNvPicPr>
            <a:picLocks noChangeAspect="1"/>
          </p:cNvPicPr>
          <p:nvPr/>
        </p:nvPicPr>
        <p:blipFill>
          <a:blip r:embed="rId6"/>
          <a:stretch>
            <a:fillRect/>
          </a:stretch>
        </p:blipFill>
        <p:spPr>
          <a:xfrm>
            <a:off x="7486492" y="1465559"/>
            <a:ext cx="3760041" cy="2539504"/>
          </a:xfrm>
          <a:prstGeom prst="rect">
            <a:avLst/>
          </a:prstGeom>
        </p:spPr>
      </p:pic>
      <p:pic>
        <p:nvPicPr>
          <p:cNvPr id="12" name="Picture 11">
            <a:extLst>
              <a:ext uri="{FF2B5EF4-FFF2-40B4-BE49-F238E27FC236}">
                <a16:creationId xmlns:a16="http://schemas.microsoft.com/office/drawing/2014/main" id="{548BAD94-8733-84ED-AAA0-54EA6672D11A}"/>
              </a:ext>
            </a:extLst>
          </p:cNvPr>
          <p:cNvPicPr>
            <a:picLocks noChangeAspect="1"/>
          </p:cNvPicPr>
          <p:nvPr/>
        </p:nvPicPr>
        <p:blipFill>
          <a:blip r:embed="rId7"/>
          <a:stretch>
            <a:fillRect/>
          </a:stretch>
        </p:blipFill>
        <p:spPr>
          <a:xfrm>
            <a:off x="7592341" y="3364984"/>
            <a:ext cx="3548342" cy="12468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699089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93BCA-E3C9-4CC5-026E-70AEAC6F67B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9BD568C-9D5A-D512-3EA3-BD5B327FAFB5}"/>
              </a:ext>
            </a:extLst>
          </p:cNvPr>
          <p:cNvSpPr>
            <a:spLocks noGrp="1"/>
          </p:cNvSpPr>
          <p:nvPr>
            <p:ph type="title"/>
          </p:nvPr>
        </p:nvSpPr>
        <p:spPr>
          <a:xfrm>
            <a:off x="457200" y="1947715"/>
            <a:ext cx="11274552" cy="342000"/>
          </a:xfrm>
        </p:spPr>
        <p:txBody>
          <a:bodyPr/>
          <a:lstStyle/>
          <a:p>
            <a:pPr defTabSz="914400">
              <a:spcAft>
                <a:spcPts val="1500"/>
              </a:spcAft>
            </a:pPr>
            <a:r>
              <a:rPr lang="en-US" sz="1800" b="1">
                <a:solidFill>
                  <a:schemeClr val="accent1"/>
                </a:solidFill>
                <a:latin typeface="Arial" panose="020B0604020202020204" pitchFamily="34" charset="0"/>
                <a:ea typeface="+mn-ea"/>
                <a:cs typeface="+mn-cs"/>
              </a:rPr>
              <a:t>SAP Joule</a:t>
            </a:r>
            <a:endParaRPr lang="de-DE" sz="1800" b="1">
              <a:solidFill>
                <a:schemeClr val="accent1"/>
              </a:solidFill>
              <a:latin typeface="Arial" panose="020B0604020202020204" pitchFamily="34" charset="0"/>
              <a:ea typeface="+mn-ea"/>
              <a:cs typeface="+mn-cs"/>
            </a:endParaRPr>
          </a:p>
        </p:txBody>
      </p:sp>
      <p:sp>
        <p:nvSpPr>
          <p:cNvPr id="5" name="TextBox 4">
            <a:extLst>
              <a:ext uri="{FF2B5EF4-FFF2-40B4-BE49-F238E27FC236}">
                <a16:creationId xmlns:a16="http://schemas.microsoft.com/office/drawing/2014/main" id="{2ACED34F-D5FC-4CF4-4DD1-CB6AEB76CF54}"/>
              </a:ext>
            </a:extLst>
          </p:cNvPr>
          <p:cNvSpPr txBox="1"/>
          <p:nvPr/>
        </p:nvSpPr>
        <p:spPr>
          <a:xfrm>
            <a:off x="368505" y="5017818"/>
            <a:ext cx="10599174" cy="1631216"/>
          </a:xfrm>
          <a:prstGeom prst="rect">
            <a:avLst/>
          </a:prstGeom>
          <a:solidFill>
            <a:schemeClr val="bg1"/>
          </a:solidFill>
        </p:spPr>
        <p:txBody>
          <a:bodyPr wrap="square">
            <a:spAutoFit/>
          </a:bodyPr>
          <a:lstStyle/>
          <a:p>
            <a:pPr>
              <a:spcAft>
                <a:spcPts val="1200"/>
              </a:spcAft>
              <a:buNone/>
            </a:pPr>
            <a:r>
              <a:rPr lang="en-US" sz="1600" b="1"/>
              <a:t>BAP &amp; Joule: Seamless Integration</a:t>
            </a:r>
          </a:p>
          <a:p>
            <a:pPr>
              <a:spcAft>
                <a:spcPts val="1200"/>
              </a:spcAft>
              <a:buNone/>
            </a:pPr>
            <a:r>
              <a:rPr lang="en-US" sz="1600"/>
              <a:t>The Business Agent Platform is fully prepared for Joule integration, ensuring your current investments are protected while enabling you to leverage the latest innovations from SAP and Deloitte.</a:t>
            </a:r>
          </a:p>
          <a:p>
            <a:pPr>
              <a:spcAft>
                <a:spcPts val="1200"/>
              </a:spcAft>
              <a:buNone/>
            </a:pPr>
            <a:r>
              <a:rPr lang="en-US" sz="1600"/>
              <a:t>BAP's modular architecture allows you to incorporate Joule's capabilities without disruption to your existing processes or the need for expensive redesigns.</a:t>
            </a:r>
          </a:p>
        </p:txBody>
      </p:sp>
      <p:pic>
        <p:nvPicPr>
          <p:cNvPr id="1028" name="Picture 4" descr="SAP Joule: the co-pilot that truly understands your business - Quinso">
            <a:extLst>
              <a:ext uri="{FF2B5EF4-FFF2-40B4-BE49-F238E27FC236}">
                <a16:creationId xmlns:a16="http://schemas.microsoft.com/office/drawing/2014/main" id="{1C3966B8-E616-E6B3-D03D-6C5E06F10F04}"/>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9819652" y="1796313"/>
            <a:ext cx="2296053" cy="146193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29D5D3C2-F966-6C73-636E-941235F92D79}"/>
              </a:ext>
            </a:extLst>
          </p:cNvPr>
          <p:cNvSpPr txBox="1"/>
          <p:nvPr/>
        </p:nvSpPr>
        <p:spPr>
          <a:xfrm>
            <a:off x="368505" y="2475733"/>
            <a:ext cx="6096000" cy="307777"/>
          </a:xfrm>
          <a:prstGeom prst="rect">
            <a:avLst/>
          </a:prstGeom>
          <a:noFill/>
        </p:spPr>
        <p:txBody>
          <a:bodyPr wrap="square">
            <a:spAutoFit/>
          </a:bodyPr>
          <a:lstStyle/>
          <a:p>
            <a:r>
              <a:rPr lang="en-US" sz="1400"/>
              <a:t>The AI assistant revolutionizing how you interact with SAP systems</a:t>
            </a:r>
            <a:endParaRPr lang="de-DE" sz="1400"/>
          </a:p>
        </p:txBody>
      </p:sp>
      <p:sp>
        <p:nvSpPr>
          <p:cNvPr id="11" name="TextBox 10">
            <a:extLst>
              <a:ext uri="{FF2B5EF4-FFF2-40B4-BE49-F238E27FC236}">
                <a16:creationId xmlns:a16="http://schemas.microsoft.com/office/drawing/2014/main" id="{EF6A8F1C-909B-CA27-06DD-342A7D3CEA4D}"/>
              </a:ext>
            </a:extLst>
          </p:cNvPr>
          <p:cNvSpPr txBox="1"/>
          <p:nvPr/>
        </p:nvSpPr>
        <p:spPr>
          <a:xfrm>
            <a:off x="368505" y="3002354"/>
            <a:ext cx="2993820" cy="1246495"/>
          </a:xfrm>
          <a:prstGeom prst="rect">
            <a:avLst/>
          </a:prstGeom>
          <a:noFill/>
        </p:spPr>
        <p:txBody>
          <a:bodyPr wrap="square">
            <a:spAutoFit/>
          </a:bodyPr>
          <a:lstStyle/>
          <a:p>
            <a:pPr>
              <a:spcAft>
                <a:spcPts val="600"/>
              </a:spcAft>
            </a:pPr>
            <a:r>
              <a:rPr lang="en-US" sz="1400" b="1"/>
              <a:t>Natural Language Interaction</a:t>
            </a:r>
          </a:p>
          <a:p>
            <a:pPr>
              <a:spcAft>
                <a:spcPts val="600"/>
              </a:spcAft>
            </a:pPr>
            <a:r>
              <a:rPr lang="en-US" sz="1400"/>
              <a:t>Engage with your SAP systems through intuitive conversations in everyday business language, eliminating the need for complex technical queries.</a:t>
            </a:r>
            <a:endParaRPr lang="de-DE" sz="1400"/>
          </a:p>
        </p:txBody>
      </p:sp>
      <p:sp>
        <p:nvSpPr>
          <p:cNvPr id="12" name="TextBox 11">
            <a:extLst>
              <a:ext uri="{FF2B5EF4-FFF2-40B4-BE49-F238E27FC236}">
                <a16:creationId xmlns:a16="http://schemas.microsoft.com/office/drawing/2014/main" id="{C5CFF8A9-3BCF-05FA-1256-39A31C30F070}"/>
              </a:ext>
            </a:extLst>
          </p:cNvPr>
          <p:cNvSpPr txBox="1"/>
          <p:nvPr/>
        </p:nvSpPr>
        <p:spPr>
          <a:xfrm>
            <a:off x="3768930" y="3002354"/>
            <a:ext cx="2993820" cy="1461939"/>
          </a:xfrm>
          <a:prstGeom prst="rect">
            <a:avLst/>
          </a:prstGeom>
          <a:noFill/>
        </p:spPr>
        <p:txBody>
          <a:bodyPr wrap="square">
            <a:spAutoFit/>
          </a:bodyPr>
          <a:lstStyle/>
          <a:p>
            <a:pPr>
              <a:spcAft>
                <a:spcPts val="600"/>
              </a:spcAft>
            </a:pPr>
            <a:r>
              <a:rPr lang="en-US" sz="1400" b="1"/>
              <a:t>Intelligent Insights</a:t>
            </a:r>
          </a:p>
          <a:p>
            <a:pPr>
              <a:spcAft>
                <a:spcPts val="600"/>
              </a:spcAft>
            </a:pPr>
            <a:r>
              <a:rPr lang="en-US" sz="1400"/>
              <a:t>Receive actionable insights, predictions, and recommendations based on your SAP data, helping you make informed decisions faster than ever before.</a:t>
            </a:r>
            <a:endParaRPr lang="de-DE" sz="1400"/>
          </a:p>
        </p:txBody>
      </p:sp>
      <p:sp>
        <p:nvSpPr>
          <p:cNvPr id="13" name="TextBox 12">
            <a:extLst>
              <a:ext uri="{FF2B5EF4-FFF2-40B4-BE49-F238E27FC236}">
                <a16:creationId xmlns:a16="http://schemas.microsoft.com/office/drawing/2014/main" id="{32303EA1-4478-5E86-2897-B49EC73C4B02}"/>
              </a:ext>
            </a:extLst>
          </p:cNvPr>
          <p:cNvSpPr txBox="1"/>
          <p:nvPr/>
        </p:nvSpPr>
        <p:spPr>
          <a:xfrm>
            <a:off x="7144647" y="3002354"/>
            <a:ext cx="2993820" cy="1461939"/>
          </a:xfrm>
          <a:prstGeom prst="rect">
            <a:avLst/>
          </a:prstGeom>
          <a:noFill/>
        </p:spPr>
        <p:txBody>
          <a:bodyPr wrap="square">
            <a:spAutoFit/>
          </a:bodyPr>
          <a:lstStyle/>
          <a:p>
            <a:pPr>
              <a:spcAft>
                <a:spcPts val="600"/>
              </a:spcAft>
            </a:pPr>
            <a:r>
              <a:rPr lang="en-US" sz="1400" b="1"/>
              <a:t>Accelerated Productivity</a:t>
            </a:r>
          </a:p>
          <a:p>
            <a:pPr>
              <a:spcAft>
                <a:spcPts val="600"/>
              </a:spcAft>
            </a:pPr>
            <a:r>
              <a:rPr lang="en-US" sz="1400"/>
              <a:t>Automate routine tasks, generate reports, and perform complex operations with simple voice or text commands, boosting efficiency across your organization.</a:t>
            </a:r>
            <a:endParaRPr lang="de-DE" sz="1400"/>
          </a:p>
        </p:txBody>
      </p:sp>
      <p:sp>
        <p:nvSpPr>
          <p:cNvPr id="14" name="Rectangle 13">
            <a:extLst>
              <a:ext uri="{FF2B5EF4-FFF2-40B4-BE49-F238E27FC236}">
                <a16:creationId xmlns:a16="http://schemas.microsoft.com/office/drawing/2014/main" id="{A7B1BEEB-42F1-43AF-78BC-897F205452A7}"/>
              </a:ext>
            </a:extLst>
          </p:cNvPr>
          <p:cNvSpPr/>
          <p:nvPr/>
        </p:nvSpPr>
        <p:spPr bwMode="gray">
          <a:xfrm>
            <a:off x="7367985" y="1970032"/>
            <a:ext cx="2547143" cy="528018"/>
          </a:xfrm>
          <a:prstGeom prst="rect">
            <a:avLst/>
          </a:prstGeom>
          <a:solidFill>
            <a:srgbClr val="FFC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e-DE" sz="1600" b="1">
                <a:solidFill>
                  <a:schemeClr val="bg1"/>
                </a:solidFill>
              </a:rPr>
              <a:t>Juli: check </a:t>
            </a:r>
            <a:r>
              <a:rPr lang="de-DE" sz="1600" b="1" err="1">
                <a:solidFill>
                  <a:schemeClr val="bg1"/>
                </a:solidFill>
              </a:rPr>
              <a:t>wording</a:t>
            </a:r>
            <a:endParaRPr lang="de-DE" sz="1600" b="1">
              <a:solidFill>
                <a:schemeClr val="bg1"/>
              </a:solidFill>
            </a:endParaRPr>
          </a:p>
        </p:txBody>
      </p:sp>
      <p:grpSp>
        <p:nvGrpSpPr>
          <p:cNvPr id="4" name="Group 3">
            <a:extLst>
              <a:ext uri="{FF2B5EF4-FFF2-40B4-BE49-F238E27FC236}">
                <a16:creationId xmlns:a16="http://schemas.microsoft.com/office/drawing/2014/main" id="{43FA4E45-8B6E-242E-C674-78820543BE96}"/>
              </a:ext>
            </a:extLst>
          </p:cNvPr>
          <p:cNvGrpSpPr/>
          <p:nvPr/>
        </p:nvGrpSpPr>
        <p:grpSpPr>
          <a:xfrm>
            <a:off x="0" y="0"/>
            <a:ext cx="12192000" cy="1508734"/>
            <a:chOff x="0" y="-1601723"/>
            <a:chExt cx="12192000" cy="1508734"/>
          </a:xfrm>
        </p:grpSpPr>
        <p:sp>
          <p:nvSpPr>
            <p:cNvPr id="6" name="Rectangle 5">
              <a:extLst>
                <a:ext uri="{FF2B5EF4-FFF2-40B4-BE49-F238E27FC236}">
                  <a16:creationId xmlns:a16="http://schemas.microsoft.com/office/drawing/2014/main" id="{0CE241AF-2A21-9DC5-BE84-A6506B26941B}"/>
                </a:ext>
              </a:extLst>
            </p:cNvPr>
            <p:cNvSpPr/>
            <p:nvPr/>
          </p:nvSpPr>
          <p:spPr>
            <a:xfrm>
              <a:off x="0" y="-1601723"/>
              <a:ext cx="12192000" cy="15087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u="sng"/>
            </a:p>
          </p:txBody>
        </p:sp>
        <p:pic>
          <p:nvPicPr>
            <p:cNvPr id="7" name="Picture 6">
              <a:extLst>
                <a:ext uri="{FF2B5EF4-FFF2-40B4-BE49-F238E27FC236}">
                  <a16:creationId xmlns:a16="http://schemas.microsoft.com/office/drawing/2014/main" id="{CCA0C718-F3FA-72AD-4D69-2C17960E17B2}"/>
                </a:ext>
              </a:extLst>
            </p:cNvPr>
            <p:cNvPicPr>
              <a:picLocks noChangeAspect="1"/>
            </p:cNvPicPr>
            <p:nvPr/>
          </p:nvPicPr>
          <p:blipFill>
            <a:blip r:embed="rId3" cstate="screen">
              <a:extLst>
                <a:ext uri="{28A0092B-C50C-407E-A947-70E740481C1C}">
                  <a14:useLocalDpi xmlns:a14="http://schemas.microsoft.com/office/drawing/2010/main"/>
                </a:ext>
              </a:extLst>
            </a:blip>
            <a:srcRect l="12359" t="29466" r="11827" b="27443"/>
            <a:stretch/>
          </p:blipFill>
          <p:spPr>
            <a:xfrm>
              <a:off x="130505" y="-1418233"/>
              <a:ext cx="2777795" cy="640511"/>
            </a:xfrm>
            <a:prstGeom prst="rect">
              <a:avLst/>
            </a:prstGeom>
          </p:spPr>
        </p:pic>
        <p:sp>
          <p:nvSpPr>
            <p:cNvPr id="8" name="Rectangle 7">
              <a:extLst>
                <a:ext uri="{FF2B5EF4-FFF2-40B4-BE49-F238E27FC236}">
                  <a16:creationId xmlns:a16="http://schemas.microsoft.com/office/drawing/2014/main" id="{B9CCEC9B-04CA-7226-8331-533930A31E7B}"/>
                </a:ext>
              </a:extLst>
            </p:cNvPr>
            <p:cNvSpPr/>
            <p:nvPr/>
          </p:nvSpPr>
          <p:spPr>
            <a:xfrm>
              <a:off x="11178857" y="-824980"/>
              <a:ext cx="534147" cy="161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rPr>
                <a:t>My Site</a:t>
              </a:r>
            </a:p>
          </p:txBody>
        </p:sp>
        <p:sp>
          <p:nvSpPr>
            <p:cNvPr id="10" name="Rectangle 9">
              <a:extLst>
                <a:ext uri="{FF2B5EF4-FFF2-40B4-BE49-F238E27FC236}">
                  <a16:creationId xmlns:a16="http://schemas.microsoft.com/office/drawing/2014/main" id="{078AE130-AADA-AB91-3DE9-68B8C03EE5A4}"/>
                </a:ext>
              </a:extLst>
            </p:cNvPr>
            <p:cNvSpPr/>
            <p:nvPr/>
          </p:nvSpPr>
          <p:spPr>
            <a:xfrm>
              <a:off x="10332551" y="-634744"/>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hat with a consultant</a:t>
              </a:r>
            </a:p>
          </p:txBody>
        </p:sp>
        <p:pic>
          <p:nvPicPr>
            <p:cNvPr id="15" name="Picture 4" descr="Banner">
              <a:extLst>
                <a:ext uri="{FF2B5EF4-FFF2-40B4-BE49-F238E27FC236}">
                  <a16:creationId xmlns:a16="http://schemas.microsoft.com/office/drawing/2014/main" id="{8A99CC4F-CA90-7F54-6EE0-B401AED87C7F}"/>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381697" y="-1491326"/>
              <a:ext cx="1594320" cy="89553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Rectangle 16">
            <a:extLst>
              <a:ext uri="{FF2B5EF4-FFF2-40B4-BE49-F238E27FC236}">
                <a16:creationId xmlns:a16="http://schemas.microsoft.com/office/drawing/2014/main" id="{F2F90F7F-4585-36BF-A440-5D65D119D309}"/>
              </a:ext>
            </a:extLst>
          </p:cNvPr>
          <p:cNvSpPr/>
          <p:nvPr/>
        </p:nvSpPr>
        <p:spPr>
          <a:xfrm flipV="1">
            <a:off x="0" y="1640591"/>
            <a:ext cx="12192001" cy="61174"/>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217227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A42D4-28D6-A139-C6A3-61192E12DE4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F5EB6-D3EE-DEF4-5E2E-9C30D62121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5" imgH="405" progId="TCLayout.ActiveDocument.1">
                  <p:embed/>
                </p:oleObj>
              </mc:Choice>
              <mc:Fallback>
                <p:oleObj name="think-cell Folie" r:id="rId4" imgW="405" imgH="405" progId="TCLayout.ActiveDocument.1">
                  <p:embed/>
                  <p:pic>
                    <p:nvPicPr>
                      <p:cNvPr id="5" name="think-cell data - do not delete" hidden="1">
                        <a:extLst>
                          <a:ext uri="{FF2B5EF4-FFF2-40B4-BE49-F238E27FC236}">
                            <a16:creationId xmlns:a16="http://schemas.microsoft.com/office/drawing/2014/main" id="{AB4F5EB6-D3EE-DEF4-5E2E-9C30D62121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921DEF2-C252-B61D-B44B-0A2777D23038}"/>
              </a:ext>
            </a:extLst>
          </p:cNvPr>
          <p:cNvSpPr>
            <a:spLocks noGrp="1"/>
          </p:cNvSpPr>
          <p:nvPr>
            <p:ph type="title"/>
          </p:nvPr>
        </p:nvSpPr>
        <p:spPr/>
        <p:txBody>
          <a:bodyPr vert="horz"/>
          <a:lstStyle/>
          <a:p>
            <a:r>
              <a:rPr lang="en-US"/>
              <a:t>User Journey</a:t>
            </a:r>
          </a:p>
        </p:txBody>
      </p:sp>
      <p:sp>
        <p:nvSpPr>
          <p:cNvPr id="61" name="Rectangle: Rounded Corners 60">
            <a:extLst>
              <a:ext uri="{FF2B5EF4-FFF2-40B4-BE49-F238E27FC236}">
                <a16:creationId xmlns:a16="http://schemas.microsoft.com/office/drawing/2014/main" id="{087E3F3A-D02E-C2DD-6716-C9C7861DB3E2}"/>
              </a:ext>
            </a:extLst>
          </p:cNvPr>
          <p:cNvSpPr/>
          <p:nvPr/>
        </p:nvSpPr>
        <p:spPr bwMode="gray">
          <a:xfrm>
            <a:off x="3734679" y="2738804"/>
            <a:ext cx="3174023" cy="1380392"/>
          </a:xfrm>
          <a:prstGeom prst="roundRect">
            <a:avLst/>
          </a:prstGeom>
          <a:solidFill>
            <a:srgbClr val="53565A">
              <a:lumMod val="50000"/>
            </a:srgbClr>
          </a:solidFill>
          <a:ln w="19050" algn="ctr">
            <a:solidFill>
              <a:sysClr val="window" lastClr="FFFFFF">
                <a:lumMod val="50000"/>
              </a:sys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0E4F3BFA-2CC0-47B8-4AAC-AAC1668A6321}"/>
              </a:ext>
            </a:extLst>
          </p:cNvPr>
          <p:cNvSpPr txBox="1"/>
          <p:nvPr/>
        </p:nvSpPr>
        <p:spPr>
          <a:xfrm>
            <a:off x="3903197" y="2835519"/>
            <a:ext cx="1242328"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0" cap="none" spc="0" normalizeH="0" baseline="0" noProof="0">
                <a:ln>
                  <a:noFill/>
                </a:ln>
                <a:solidFill>
                  <a:srgbClr val="007CB0"/>
                </a:solidFill>
                <a:effectLst/>
                <a:uLnTx/>
                <a:uFillTx/>
                <a:latin typeface="Calibri" panose="020F0502020204030204"/>
                <a:ea typeface="+mn-ea"/>
                <a:cs typeface="+mn-cs"/>
              </a:rPr>
              <a:t>Landing Page</a:t>
            </a:r>
          </a:p>
        </p:txBody>
      </p:sp>
      <p:sp>
        <p:nvSpPr>
          <p:cNvPr id="63" name="TextBox 62">
            <a:extLst>
              <a:ext uri="{FF2B5EF4-FFF2-40B4-BE49-F238E27FC236}">
                <a16:creationId xmlns:a16="http://schemas.microsoft.com/office/drawing/2014/main" id="{394922D8-487D-2D72-3177-E82444DC4177}"/>
              </a:ext>
            </a:extLst>
          </p:cNvPr>
          <p:cNvSpPr txBox="1"/>
          <p:nvPr/>
        </p:nvSpPr>
        <p:spPr>
          <a:xfrm>
            <a:off x="5028500" y="3213556"/>
            <a:ext cx="586379"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0" cap="none" spc="0" normalizeH="0" baseline="0" noProof="0">
                <a:ln>
                  <a:noFill/>
                </a:ln>
                <a:solidFill>
                  <a:prstClr val="white"/>
                </a:solidFill>
                <a:effectLst/>
                <a:uLnTx/>
                <a:uFillTx/>
                <a:latin typeface="Calibri" panose="020F0502020204030204"/>
                <a:ea typeface="+mn-ea"/>
                <a:cs typeface="+mn-cs"/>
              </a:rPr>
              <a:t>BAP</a:t>
            </a:r>
          </a:p>
        </p:txBody>
      </p:sp>
      <p:grpSp>
        <p:nvGrpSpPr>
          <p:cNvPr id="64" name="Group 8">
            <a:extLst>
              <a:ext uri="{FF2B5EF4-FFF2-40B4-BE49-F238E27FC236}">
                <a16:creationId xmlns:a16="http://schemas.microsoft.com/office/drawing/2014/main" id="{17F5CD0E-9E0B-CE66-8519-9B27BE88AC05}"/>
              </a:ext>
            </a:extLst>
          </p:cNvPr>
          <p:cNvGrpSpPr/>
          <p:nvPr/>
        </p:nvGrpSpPr>
        <p:grpSpPr>
          <a:xfrm>
            <a:off x="3938252" y="3475283"/>
            <a:ext cx="422785" cy="540398"/>
            <a:chOff x="3125788" y="580243"/>
            <a:chExt cx="2949575" cy="3781427"/>
          </a:xfrm>
          <a:solidFill>
            <a:srgbClr val="D0D0CE"/>
          </a:solidFill>
        </p:grpSpPr>
        <p:sp>
          <p:nvSpPr>
            <p:cNvPr id="65" name="Freeform 5">
              <a:extLst>
                <a:ext uri="{FF2B5EF4-FFF2-40B4-BE49-F238E27FC236}">
                  <a16:creationId xmlns:a16="http://schemas.microsoft.com/office/drawing/2014/main" id="{FB8D8BA5-B57F-E356-D5D0-74C7BAFC12A1}"/>
                </a:ext>
              </a:extLst>
            </p:cNvPr>
            <p:cNvSpPr>
              <a:spLocks/>
            </p:cNvSpPr>
            <p:nvPr/>
          </p:nvSpPr>
          <p:spPr bwMode="auto">
            <a:xfrm>
              <a:off x="3125788" y="2401108"/>
              <a:ext cx="2949575" cy="1960562"/>
            </a:xfrm>
            <a:custGeom>
              <a:avLst/>
              <a:gdLst>
                <a:gd name="T0" fmla="*/ 567 w 783"/>
                <a:gd name="T1" fmla="*/ 47 h 521"/>
                <a:gd name="T2" fmla="*/ 500 w 783"/>
                <a:gd name="T3" fmla="*/ 0 h 521"/>
                <a:gd name="T4" fmla="*/ 267 w 783"/>
                <a:gd name="T5" fmla="*/ 1 h 521"/>
                <a:gd name="T6" fmla="*/ 122 w 783"/>
                <a:gd name="T7" fmla="*/ 77 h 521"/>
                <a:gd name="T8" fmla="*/ 65 w 783"/>
                <a:gd name="T9" fmla="*/ 115 h 521"/>
                <a:gd name="T10" fmla="*/ 0 w 783"/>
                <a:gd name="T11" fmla="*/ 396 h 521"/>
                <a:gd name="T12" fmla="*/ 20 w 783"/>
                <a:gd name="T13" fmla="*/ 445 h 521"/>
                <a:gd name="T14" fmla="*/ 367 w 783"/>
                <a:gd name="T15" fmla="*/ 516 h 521"/>
                <a:gd name="T16" fmla="*/ 743 w 783"/>
                <a:gd name="T17" fmla="*/ 454 h 521"/>
                <a:gd name="T18" fmla="*/ 767 w 783"/>
                <a:gd name="T19" fmla="*/ 428 h 521"/>
                <a:gd name="T20" fmla="*/ 714 w 783"/>
                <a:gd name="T21" fmla="*/ 133 h 521"/>
                <a:gd name="T22" fmla="*/ 567 w 783"/>
                <a:gd name="T23" fmla="*/ 47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3" h="521">
                  <a:moveTo>
                    <a:pt x="567" y="47"/>
                  </a:moveTo>
                  <a:cubicBezTo>
                    <a:pt x="500" y="24"/>
                    <a:pt x="500" y="0"/>
                    <a:pt x="500" y="0"/>
                  </a:cubicBezTo>
                  <a:cubicBezTo>
                    <a:pt x="367" y="260"/>
                    <a:pt x="267" y="1"/>
                    <a:pt x="267" y="1"/>
                  </a:cubicBezTo>
                  <a:cubicBezTo>
                    <a:pt x="258" y="36"/>
                    <a:pt x="122" y="77"/>
                    <a:pt x="122" y="77"/>
                  </a:cubicBezTo>
                  <a:cubicBezTo>
                    <a:pt x="82" y="92"/>
                    <a:pt x="65" y="115"/>
                    <a:pt x="65" y="115"/>
                  </a:cubicBezTo>
                  <a:cubicBezTo>
                    <a:pt x="7" y="202"/>
                    <a:pt x="0" y="396"/>
                    <a:pt x="0" y="396"/>
                  </a:cubicBezTo>
                  <a:cubicBezTo>
                    <a:pt x="1" y="441"/>
                    <a:pt x="20" y="445"/>
                    <a:pt x="20" y="445"/>
                  </a:cubicBezTo>
                  <a:cubicBezTo>
                    <a:pt x="155" y="505"/>
                    <a:pt x="367" y="516"/>
                    <a:pt x="367" y="516"/>
                  </a:cubicBezTo>
                  <a:cubicBezTo>
                    <a:pt x="585" y="521"/>
                    <a:pt x="743" y="454"/>
                    <a:pt x="743" y="454"/>
                  </a:cubicBezTo>
                  <a:cubicBezTo>
                    <a:pt x="766" y="440"/>
                    <a:pt x="767" y="428"/>
                    <a:pt x="767" y="428"/>
                  </a:cubicBezTo>
                  <a:cubicBezTo>
                    <a:pt x="783" y="289"/>
                    <a:pt x="714" y="133"/>
                    <a:pt x="714" y="133"/>
                  </a:cubicBezTo>
                  <a:cubicBezTo>
                    <a:pt x="693" y="87"/>
                    <a:pt x="567" y="47"/>
                    <a:pt x="56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66" name="Freeform 6">
              <a:extLst>
                <a:ext uri="{FF2B5EF4-FFF2-40B4-BE49-F238E27FC236}">
                  <a16:creationId xmlns:a16="http://schemas.microsoft.com/office/drawing/2014/main" id="{A8043BE3-A2AD-1CF9-4CD8-91F6E2013737}"/>
                </a:ext>
              </a:extLst>
            </p:cNvPr>
            <p:cNvSpPr>
              <a:spLocks noEditPoints="1"/>
            </p:cNvSpPr>
            <p:nvPr/>
          </p:nvSpPr>
          <p:spPr bwMode="auto">
            <a:xfrm>
              <a:off x="3890963" y="580243"/>
              <a:ext cx="1419225" cy="1944688"/>
            </a:xfrm>
            <a:custGeom>
              <a:avLst/>
              <a:gdLst>
                <a:gd name="T0" fmla="*/ 31 w 377"/>
                <a:gd name="T1" fmla="*/ 346 h 517"/>
                <a:gd name="T2" fmla="*/ 178 w 377"/>
                <a:gd name="T3" fmla="*/ 517 h 517"/>
                <a:gd name="T4" fmla="*/ 336 w 377"/>
                <a:gd name="T5" fmla="*/ 346 h 517"/>
                <a:gd name="T6" fmla="*/ 350 w 377"/>
                <a:gd name="T7" fmla="*/ 319 h 517"/>
                <a:gd name="T8" fmla="*/ 345 w 377"/>
                <a:gd name="T9" fmla="*/ 268 h 517"/>
                <a:gd name="T10" fmla="*/ 329 w 377"/>
                <a:gd name="T11" fmla="*/ 106 h 517"/>
                <a:gd name="T12" fmla="*/ 253 w 377"/>
                <a:gd name="T13" fmla="*/ 60 h 517"/>
                <a:gd name="T14" fmla="*/ 246 w 377"/>
                <a:gd name="T15" fmla="*/ 55 h 517"/>
                <a:gd name="T16" fmla="*/ 249 w 377"/>
                <a:gd name="T17" fmla="*/ 59 h 517"/>
                <a:gd name="T18" fmla="*/ 240 w 377"/>
                <a:gd name="T19" fmla="*/ 56 h 517"/>
                <a:gd name="T20" fmla="*/ 230 w 377"/>
                <a:gd name="T21" fmla="*/ 47 h 517"/>
                <a:gd name="T22" fmla="*/ 237 w 377"/>
                <a:gd name="T23" fmla="*/ 56 h 517"/>
                <a:gd name="T24" fmla="*/ 233 w 377"/>
                <a:gd name="T25" fmla="*/ 55 h 517"/>
                <a:gd name="T26" fmla="*/ 224 w 377"/>
                <a:gd name="T27" fmla="*/ 43 h 517"/>
                <a:gd name="T28" fmla="*/ 227 w 377"/>
                <a:gd name="T29" fmla="*/ 51 h 517"/>
                <a:gd name="T30" fmla="*/ 197 w 377"/>
                <a:gd name="T31" fmla="*/ 8 h 517"/>
                <a:gd name="T32" fmla="*/ 177 w 377"/>
                <a:gd name="T33" fmla="*/ 24 h 517"/>
                <a:gd name="T34" fmla="*/ 193 w 377"/>
                <a:gd name="T35" fmla="*/ 0 h 517"/>
                <a:gd name="T36" fmla="*/ 177 w 377"/>
                <a:gd name="T37" fmla="*/ 14 h 517"/>
                <a:gd name="T38" fmla="*/ 153 w 377"/>
                <a:gd name="T39" fmla="*/ 43 h 517"/>
                <a:gd name="T40" fmla="*/ 149 w 377"/>
                <a:gd name="T41" fmla="*/ 41 h 517"/>
                <a:gd name="T42" fmla="*/ 158 w 377"/>
                <a:gd name="T43" fmla="*/ 26 h 517"/>
                <a:gd name="T44" fmla="*/ 147 w 377"/>
                <a:gd name="T45" fmla="*/ 40 h 517"/>
                <a:gd name="T46" fmla="*/ 138 w 377"/>
                <a:gd name="T47" fmla="*/ 35 h 517"/>
                <a:gd name="T48" fmla="*/ 149 w 377"/>
                <a:gd name="T49" fmla="*/ 21 h 517"/>
                <a:gd name="T50" fmla="*/ 139 w 377"/>
                <a:gd name="T51" fmla="*/ 30 h 517"/>
                <a:gd name="T52" fmla="*/ 123 w 377"/>
                <a:gd name="T53" fmla="*/ 37 h 517"/>
                <a:gd name="T54" fmla="*/ 21 w 377"/>
                <a:gd name="T55" fmla="*/ 143 h 517"/>
                <a:gd name="T56" fmla="*/ 25 w 377"/>
                <a:gd name="T57" fmla="*/ 269 h 517"/>
                <a:gd name="T58" fmla="*/ 17 w 377"/>
                <a:gd name="T59" fmla="*/ 319 h 517"/>
                <a:gd name="T60" fmla="*/ 31 w 377"/>
                <a:gd name="T61" fmla="*/ 346 h 517"/>
                <a:gd name="T62" fmla="*/ 175 w 377"/>
                <a:gd name="T63" fmla="*/ 17 h 517"/>
                <a:gd name="T64" fmla="*/ 166 w 377"/>
                <a:gd name="T65" fmla="*/ 37 h 517"/>
                <a:gd name="T66" fmla="*/ 163 w 377"/>
                <a:gd name="T67" fmla="*/ 36 h 517"/>
                <a:gd name="T68" fmla="*/ 175 w 377"/>
                <a:gd name="T69" fmla="*/ 1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517">
                  <a:moveTo>
                    <a:pt x="31" y="346"/>
                  </a:moveTo>
                  <a:cubicBezTo>
                    <a:pt x="41" y="430"/>
                    <a:pt x="113" y="517"/>
                    <a:pt x="178" y="517"/>
                  </a:cubicBezTo>
                  <a:cubicBezTo>
                    <a:pt x="254" y="517"/>
                    <a:pt x="325" y="425"/>
                    <a:pt x="336" y="346"/>
                  </a:cubicBezTo>
                  <a:cubicBezTo>
                    <a:pt x="340" y="343"/>
                    <a:pt x="347" y="336"/>
                    <a:pt x="350" y="319"/>
                  </a:cubicBezTo>
                  <a:cubicBezTo>
                    <a:pt x="350" y="319"/>
                    <a:pt x="366" y="262"/>
                    <a:pt x="345" y="268"/>
                  </a:cubicBezTo>
                  <a:cubicBezTo>
                    <a:pt x="352" y="246"/>
                    <a:pt x="377" y="160"/>
                    <a:pt x="329" y="106"/>
                  </a:cubicBezTo>
                  <a:cubicBezTo>
                    <a:pt x="329" y="106"/>
                    <a:pt x="307" y="76"/>
                    <a:pt x="253" y="60"/>
                  </a:cubicBezTo>
                  <a:cubicBezTo>
                    <a:pt x="251" y="58"/>
                    <a:pt x="249" y="56"/>
                    <a:pt x="246" y="55"/>
                  </a:cubicBezTo>
                  <a:cubicBezTo>
                    <a:pt x="246" y="55"/>
                    <a:pt x="248" y="56"/>
                    <a:pt x="249" y="59"/>
                  </a:cubicBezTo>
                  <a:cubicBezTo>
                    <a:pt x="246" y="58"/>
                    <a:pt x="243" y="57"/>
                    <a:pt x="240" y="56"/>
                  </a:cubicBezTo>
                  <a:cubicBezTo>
                    <a:pt x="237" y="53"/>
                    <a:pt x="234" y="50"/>
                    <a:pt x="230" y="47"/>
                  </a:cubicBezTo>
                  <a:cubicBezTo>
                    <a:pt x="230" y="47"/>
                    <a:pt x="233" y="50"/>
                    <a:pt x="237" y="56"/>
                  </a:cubicBezTo>
                  <a:cubicBezTo>
                    <a:pt x="236" y="55"/>
                    <a:pt x="234" y="55"/>
                    <a:pt x="233" y="55"/>
                  </a:cubicBezTo>
                  <a:cubicBezTo>
                    <a:pt x="230" y="51"/>
                    <a:pt x="227" y="47"/>
                    <a:pt x="224" y="43"/>
                  </a:cubicBezTo>
                  <a:cubicBezTo>
                    <a:pt x="224" y="43"/>
                    <a:pt x="225" y="46"/>
                    <a:pt x="227" y="51"/>
                  </a:cubicBezTo>
                  <a:cubicBezTo>
                    <a:pt x="217" y="44"/>
                    <a:pt x="197" y="27"/>
                    <a:pt x="197" y="8"/>
                  </a:cubicBezTo>
                  <a:cubicBezTo>
                    <a:pt x="197" y="8"/>
                    <a:pt x="185" y="13"/>
                    <a:pt x="177" y="24"/>
                  </a:cubicBezTo>
                  <a:cubicBezTo>
                    <a:pt x="180" y="15"/>
                    <a:pt x="185" y="7"/>
                    <a:pt x="193" y="0"/>
                  </a:cubicBezTo>
                  <a:cubicBezTo>
                    <a:pt x="193" y="0"/>
                    <a:pt x="185" y="5"/>
                    <a:pt x="177" y="14"/>
                  </a:cubicBezTo>
                  <a:cubicBezTo>
                    <a:pt x="171" y="17"/>
                    <a:pt x="158" y="26"/>
                    <a:pt x="153" y="43"/>
                  </a:cubicBezTo>
                  <a:cubicBezTo>
                    <a:pt x="149" y="41"/>
                    <a:pt x="149" y="41"/>
                    <a:pt x="149" y="41"/>
                  </a:cubicBezTo>
                  <a:cubicBezTo>
                    <a:pt x="151" y="36"/>
                    <a:pt x="154" y="31"/>
                    <a:pt x="158" y="26"/>
                  </a:cubicBezTo>
                  <a:cubicBezTo>
                    <a:pt x="158" y="26"/>
                    <a:pt x="152" y="31"/>
                    <a:pt x="147" y="40"/>
                  </a:cubicBezTo>
                  <a:cubicBezTo>
                    <a:pt x="138" y="35"/>
                    <a:pt x="138" y="35"/>
                    <a:pt x="138" y="35"/>
                  </a:cubicBezTo>
                  <a:cubicBezTo>
                    <a:pt x="141" y="31"/>
                    <a:pt x="144" y="26"/>
                    <a:pt x="149" y="21"/>
                  </a:cubicBezTo>
                  <a:cubicBezTo>
                    <a:pt x="149" y="21"/>
                    <a:pt x="144" y="24"/>
                    <a:pt x="139" y="30"/>
                  </a:cubicBezTo>
                  <a:cubicBezTo>
                    <a:pt x="141" y="25"/>
                    <a:pt x="140" y="18"/>
                    <a:pt x="123" y="37"/>
                  </a:cubicBezTo>
                  <a:cubicBezTo>
                    <a:pt x="123" y="37"/>
                    <a:pt x="44" y="72"/>
                    <a:pt x="21" y="143"/>
                  </a:cubicBezTo>
                  <a:cubicBezTo>
                    <a:pt x="21" y="143"/>
                    <a:pt x="7" y="175"/>
                    <a:pt x="25" y="269"/>
                  </a:cubicBezTo>
                  <a:cubicBezTo>
                    <a:pt x="0" y="257"/>
                    <a:pt x="17" y="319"/>
                    <a:pt x="17" y="319"/>
                  </a:cubicBezTo>
                  <a:cubicBezTo>
                    <a:pt x="20" y="336"/>
                    <a:pt x="27" y="343"/>
                    <a:pt x="31" y="346"/>
                  </a:cubicBezTo>
                  <a:close/>
                  <a:moveTo>
                    <a:pt x="175" y="17"/>
                  </a:moveTo>
                  <a:cubicBezTo>
                    <a:pt x="171" y="22"/>
                    <a:pt x="167" y="29"/>
                    <a:pt x="166" y="37"/>
                  </a:cubicBezTo>
                  <a:cubicBezTo>
                    <a:pt x="163" y="36"/>
                    <a:pt x="163" y="36"/>
                    <a:pt x="163" y="36"/>
                  </a:cubicBezTo>
                  <a:cubicBezTo>
                    <a:pt x="165" y="29"/>
                    <a:pt x="169" y="23"/>
                    <a:pt x="1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sp>
        <p:nvSpPr>
          <p:cNvPr id="67" name="Rectangle 66">
            <a:extLst>
              <a:ext uri="{FF2B5EF4-FFF2-40B4-BE49-F238E27FC236}">
                <a16:creationId xmlns:a16="http://schemas.microsoft.com/office/drawing/2014/main" id="{2F69A484-6643-3D54-2FA9-B08A007178CD}"/>
              </a:ext>
            </a:extLst>
          </p:cNvPr>
          <p:cNvSpPr/>
          <p:nvPr/>
        </p:nvSpPr>
        <p:spPr bwMode="gray">
          <a:xfrm>
            <a:off x="4631493" y="1283677"/>
            <a:ext cx="1380392" cy="422031"/>
          </a:xfrm>
          <a:prstGeom prst="rect">
            <a:avLst/>
          </a:prstGeom>
          <a:solidFill>
            <a:srgbClr val="53565A">
              <a:lumMod val="50000"/>
            </a:srgbClr>
          </a:solidFill>
          <a:ln w="19050" algn="ctr">
            <a:solidFill>
              <a:srgbClr val="26890D"/>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0" cap="none" spc="0" normalizeH="0" baseline="0" noProof="0">
                <a:ln>
                  <a:noFill/>
                </a:ln>
                <a:solidFill>
                  <a:srgbClr val="43B02A"/>
                </a:solidFill>
                <a:effectLst/>
                <a:uLnTx/>
                <a:uFillTx/>
                <a:latin typeface="Calibri" panose="020F0502020204030204"/>
                <a:ea typeface="+mn-ea"/>
                <a:cs typeface="+mn-cs"/>
              </a:rPr>
              <a:t>JOULE</a:t>
            </a:r>
          </a:p>
        </p:txBody>
      </p:sp>
      <p:sp>
        <p:nvSpPr>
          <p:cNvPr id="68" name="Rectangle 67">
            <a:extLst>
              <a:ext uri="{FF2B5EF4-FFF2-40B4-BE49-F238E27FC236}">
                <a16:creationId xmlns:a16="http://schemas.microsoft.com/office/drawing/2014/main" id="{87C6B44B-5E0E-407E-8707-4558D161A475}"/>
              </a:ext>
            </a:extLst>
          </p:cNvPr>
          <p:cNvSpPr/>
          <p:nvPr/>
        </p:nvSpPr>
        <p:spPr bwMode="gray">
          <a:xfrm>
            <a:off x="7578383" y="2738804"/>
            <a:ext cx="1380392" cy="474752"/>
          </a:xfrm>
          <a:prstGeom prst="rect">
            <a:avLst/>
          </a:prstGeom>
          <a:solidFill>
            <a:srgbClr val="53565A">
              <a:lumMod val="50000"/>
            </a:srgbClr>
          </a:solidFill>
          <a:ln w="19050" algn="ctr">
            <a:solidFill>
              <a:sysClr val="window" lastClr="FFFFFF">
                <a:lumMod val="50000"/>
              </a:sysClr>
            </a:solid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HEAT MAP</a:t>
            </a:r>
          </a:p>
        </p:txBody>
      </p:sp>
      <p:sp>
        <p:nvSpPr>
          <p:cNvPr id="69" name="Rectangle 68">
            <a:extLst>
              <a:ext uri="{FF2B5EF4-FFF2-40B4-BE49-F238E27FC236}">
                <a16:creationId xmlns:a16="http://schemas.microsoft.com/office/drawing/2014/main" id="{463FFA36-47EB-4688-F105-849398B620BF}"/>
              </a:ext>
            </a:extLst>
          </p:cNvPr>
          <p:cNvSpPr/>
          <p:nvPr/>
        </p:nvSpPr>
        <p:spPr bwMode="gray">
          <a:xfrm>
            <a:off x="7578382" y="3829470"/>
            <a:ext cx="1380391" cy="218128"/>
          </a:xfrm>
          <a:prstGeom prst="rect">
            <a:avLst/>
          </a:prstGeom>
          <a:solidFill>
            <a:srgbClr val="53565A">
              <a:lumMod val="50000"/>
            </a:srgbClr>
          </a:solidFill>
          <a:ln w="19050" algn="ctr">
            <a:solidFill>
              <a:sysClr val="window" lastClr="FFFFFF">
                <a:lumMod val="50000"/>
              </a:sys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ZORA</a:t>
            </a:r>
          </a:p>
        </p:txBody>
      </p:sp>
      <p:sp>
        <p:nvSpPr>
          <p:cNvPr id="70" name="Rectangle 69">
            <a:extLst>
              <a:ext uri="{FF2B5EF4-FFF2-40B4-BE49-F238E27FC236}">
                <a16:creationId xmlns:a16="http://schemas.microsoft.com/office/drawing/2014/main" id="{8A616138-2A16-D8D0-92B8-C31FBE78D812}"/>
              </a:ext>
            </a:extLst>
          </p:cNvPr>
          <p:cNvSpPr/>
          <p:nvPr/>
        </p:nvSpPr>
        <p:spPr bwMode="gray">
          <a:xfrm>
            <a:off x="7578383" y="4391354"/>
            <a:ext cx="1380392" cy="1939108"/>
          </a:xfrm>
          <a:prstGeom prst="rect">
            <a:avLst/>
          </a:prstGeom>
          <a:solidFill>
            <a:srgbClr val="53565A">
              <a:lumMod val="50000"/>
            </a:srgbClr>
          </a:solidFill>
          <a:ln w="3175" algn="ctr">
            <a:solidFill>
              <a:sysClr val="window" lastClr="FFFFFF">
                <a:lumMod val="50000"/>
              </a:sys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C4E9AEFA-8323-7485-605B-0FFA7609207A}"/>
              </a:ext>
            </a:extLst>
          </p:cNvPr>
          <p:cNvSpPr/>
          <p:nvPr/>
        </p:nvSpPr>
        <p:spPr bwMode="gray">
          <a:xfrm>
            <a:off x="4546453" y="4706925"/>
            <a:ext cx="1380392" cy="727909"/>
          </a:xfrm>
          <a:prstGeom prst="rect">
            <a:avLst/>
          </a:prstGeom>
          <a:solidFill>
            <a:srgbClr val="53565A">
              <a:lumMod val="50000"/>
            </a:srgbClr>
          </a:solidFill>
          <a:ln w="19050" algn="ctr">
            <a:solidFill>
              <a:sysClr val="window" lastClr="FFFFFF">
                <a:lumMod val="50000"/>
              </a:sysClr>
            </a:solid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xxx</a:t>
            </a:r>
          </a:p>
        </p:txBody>
      </p:sp>
      <p:sp>
        <p:nvSpPr>
          <p:cNvPr id="72" name="Rectangle 71">
            <a:extLst>
              <a:ext uri="{FF2B5EF4-FFF2-40B4-BE49-F238E27FC236}">
                <a16:creationId xmlns:a16="http://schemas.microsoft.com/office/drawing/2014/main" id="{5637996F-5C1F-EEDD-84B0-B67ADD7139A1}"/>
              </a:ext>
            </a:extLst>
          </p:cNvPr>
          <p:cNvSpPr/>
          <p:nvPr/>
        </p:nvSpPr>
        <p:spPr bwMode="gray">
          <a:xfrm>
            <a:off x="1974151" y="4846414"/>
            <a:ext cx="1090844" cy="422031"/>
          </a:xfrm>
          <a:prstGeom prst="rect">
            <a:avLst/>
          </a:prstGeom>
          <a:solidFill>
            <a:srgbClr val="53565A">
              <a:lumMod val="50000"/>
            </a:srgbClr>
          </a:solidFill>
          <a:ln w="19050" algn="ctr">
            <a:solidFill>
              <a:sysClr val="window" lastClr="FFFFFF">
                <a:lumMod val="50000"/>
              </a:sys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ADMIN</a:t>
            </a:r>
          </a:p>
        </p:txBody>
      </p:sp>
      <p:sp>
        <p:nvSpPr>
          <p:cNvPr id="73" name="Rectangle 72">
            <a:extLst>
              <a:ext uri="{FF2B5EF4-FFF2-40B4-BE49-F238E27FC236}">
                <a16:creationId xmlns:a16="http://schemas.microsoft.com/office/drawing/2014/main" id="{37C7436B-8D4D-D1AE-01F2-C719088A39D8}"/>
              </a:ext>
            </a:extLst>
          </p:cNvPr>
          <p:cNvSpPr/>
          <p:nvPr/>
        </p:nvSpPr>
        <p:spPr bwMode="gray">
          <a:xfrm>
            <a:off x="1974151" y="2889111"/>
            <a:ext cx="1090843" cy="1240975"/>
          </a:xfrm>
          <a:prstGeom prst="rect">
            <a:avLst/>
          </a:prstGeom>
          <a:solidFill>
            <a:srgbClr val="53565A">
              <a:lumMod val="50000"/>
            </a:srgbClr>
          </a:solidFill>
          <a:ln w="19050" algn="ctr">
            <a:solidFill>
              <a:sysClr val="window" lastClr="FFFFFF">
                <a:lumMod val="50000"/>
              </a:sys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srgbClr val="43B02A"/>
              </a:solidFill>
              <a:effectLst/>
              <a:uLnTx/>
              <a:uFillTx/>
              <a:latin typeface="Calibri" panose="020F0502020204030204"/>
              <a:ea typeface="+mn-ea"/>
              <a:cs typeface="+mn-cs"/>
            </a:endParaRPr>
          </a:p>
        </p:txBody>
      </p:sp>
      <p:grpSp>
        <p:nvGrpSpPr>
          <p:cNvPr id="74" name="Group 8">
            <a:extLst>
              <a:ext uri="{FF2B5EF4-FFF2-40B4-BE49-F238E27FC236}">
                <a16:creationId xmlns:a16="http://schemas.microsoft.com/office/drawing/2014/main" id="{AC745E2F-BC76-0BD5-E918-DCFE32D3BCDF}"/>
              </a:ext>
            </a:extLst>
          </p:cNvPr>
          <p:cNvGrpSpPr/>
          <p:nvPr/>
        </p:nvGrpSpPr>
        <p:grpSpPr>
          <a:xfrm>
            <a:off x="2163406" y="3158799"/>
            <a:ext cx="422785" cy="540398"/>
            <a:chOff x="3125788" y="580243"/>
            <a:chExt cx="2949575" cy="3781427"/>
          </a:xfrm>
          <a:solidFill>
            <a:srgbClr val="D0D0CE"/>
          </a:solidFill>
        </p:grpSpPr>
        <p:sp>
          <p:nvSpPr>
            <p:cNvPr id="75" name="Freeform 5">
              <a:extLst>
                <a:ext uri="{FF2B5EF4-FFF2-40B4-BE49-F238E27FC236}">
                  <a16:creationId xmlns:a16="http://schemas.microsoft.com/office/drawing/2014/main" id="{D5F2E00D-AB5B-D274-6964-B3CD8EA49BE4}"/>
                </a:ext>
              </a:extLst>
            </p:cNvPr>
            <p:cNvSpPr>
              <a:spLocks/>
            </p:cNvSpPr>
            <p:nvPr/>
          </p:nvSpPr>
          <p:spPr bwMode="auto">
            <a:xfrm>
              <a:off x="3125788" y="2401108"/>
              <a:ext cx="2949575" cy="1960562"/>
            </a:xfrm>
            <a:custGeom>
              <a:avLst/>
              <a:gdLst>
                <a:gd name="T0" fmla="*/ 567 w 783"/>
                <a:gd name="T1" fmla="*/ 47 h 521"/>
                <a:gd name="T2" fmla="*/ 500 w 783"/>
                <a:gd name="T3" fmla="*/ 0 h 521"/>
                <a:gd name="T4" fmla="*/ 267 w 783"/>
                <a:gd name="T5" fmla="*/ 1 h 521"/>
                <a:gd name="T6" fmla="*/ 122 w 783"/>
                <a:gd name="T7" fmla="*/ 77 h 521"/>
                <a:gd name="T8" fmla="*/ 65 w 783"/>
                <a:gd name="T9" fmla="*/ 115 h 521"/>
                <a:gd name="T10" fmla="*/ 0 w 783"/>
                <a:gd name="T11" fmla="*/ 396 h 521"/>
                <a:gd name="T12" fmla="*/ 20 w 783"/>
                <a:gd name="T13" fmla="*/ 445 h 521"/>
                <a:gd name="T14" fmla="*/ 367 w 783"/>
                <a:gd name="T15" fmla="*/ 516 h 521"/>
                <a:gd name="T16" fmla="*/ 743 w 783"/>
                <a:gd name="T17" fmla="*/ 454 h 521"/>
                <a:gd name="T18" fmla="*/ 767 w 783"/>
                <a:gd name="T19" fmla="*/ 428 h 521"/>
                <a:gd name="T20" fmla="*/ 714 w 783"/>
                <a:gd name="T21" fmla="*/ 133 h 521"/>
                <a:gd name="T22" fmla="*/ 567 w 783"/>
                <a:gd name="T23" fmla="*/ 47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3" h="521">
                  <a:moveTo>
                    <a:pt x="567" y="47"/>
                  </a:moveTo>
                  <a:cubicBezTo>
                    <a:pt x="500" y="24"/>
                    <a:pt x="500" y="0"/>
                    <a:pt x="500" y="0"/>
                  </a:cubicBezTo>
                  <a:cubicBezTo>
                    <a:pt x="367" y="260"/>
                    <a:pt x="267" y="1"/>
                    <a:pt x="267" y="1"/>
                  </a:cubicBezTo>
                  <a:cubicBezTo>
                    <a:pt x="258" y="36"/>
                    <a:pt x="122" y="77"/>
                    <a:pt x="122" y="77"/>
                  </a:cubicBezTo>
                  <a:cubicBezTo>
                    <a:pt x="82" y="92"/>
                    <a:pt x="65" y="115"/>
                    <a:pt x="65" y="115"/>
                  </a:cubicBezTo>
                  <a:cubicBezTo>
                    <a:pt x="7" y="202"/>
                    <a:pt x="0" y="396"/>
                    <a:pt x="0" y="396"/>
                  </a:cubicBezTo>
                  <a:cubicBezTo>
                    <a:pt x="1" y="441"/>
                    <a:pt x="20" y="445"/>
                    <a:pt x="20" y="445"/>
                  </a:cubicBezTo>
                  <a:cubicBezTo>
                    <a:pt x="155" y="505"/>
                    <a:pt x="367" y="516"/>
                    <a:pt x="367" y="516"/>
                  </a:cubicBezTo>
                  <a:cubicBezTo>
                    <a:pt x="585" y="521"/>
                    <a:pt x="743" y="454"/>
                    <a:pt x="743" y="454"/>
                  </a:cubicBezTo>
                  <a:cubicBezTo>
                    <a:pt x="766" y="440"/>
                    <a:pt x="767" y="428"/>
                    <a:pt x="767" y="428"/>
                  </a:cubicBezTo>
                  <a:cubicBezTo>
                    <a:pt x="783" y="289"/>
                    <a:pt x="714" y="133"/>
                    <a:pt x="714" y="133"/>
                  </a:cubicBezTo>
                  <a:cubicBezTo>
                    <a:pt x="693" y="87"/>
                    <a:pt x="567" y="47"/>
                    <a:pt x="56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76" name="Freeform 6">
              <a:extLst>
                <a:ext uri="{FF2B5EF4-FFF2-40B4-BE49-F238E27FC236}">
                  <a16:creationId xmlns:a16="http://schemas.microsoft.com/office/drawing/2014/main" id="{86EE83BF-7F04-DCAD-B42C-60B22F858B12}"/>
                </a:ext>
              </a:extLst>
            </p:cNvPr>
            <p:cNvSpPr>
              <a:spLocks noEditPoints="1"/>
            </p:cNvSpPr>
            <p:nvPr/>
          </p:nvSpPr>
          <p:spPr bwMode="auto">
            <a:xfrm>
              <a:off x="3890963" y="580243"/>
              <a:ext cx="1419225" cy="1944688"/>
            </a:xfrm>
            <a:custGeom>
              <a:avLst/>
              <a:gdLst>
                <a:gd name="T0" fmla="*/ 31 w 377"/>
                <a:gd name="T1" fmla="*/ 346 h 517"/>
                <a:gd name="T2" fmla="*/ 178 w 377"/>
                <a:gd name="T3" fmla="*/ 517 h 517"/>
                <a:gd name="T4" fmla="*/ 336 w 377"/>
                <a:gd name="T5" fmla="*/ 346 h 517"/>
                <a:gd name="T6" fmla="*/ 350 w 377"/>
                <a:gd name="T7" fmla="*/ 319 h 517"/>
                <a:gd name="T8" fmla="*/ 345 w 377"/>
                <a:gd name="T9" fmla="*/ 268 h 517"/>
                <a:gd name="T10" fmla="*/ 329 w 377"/>
                <a:gd name="T11" fmla="*/ 106 h 517"/>
                <a:gd name="T12" fmla="*/ 253 w 377"/>
                <a:gd name="T13" fmla="*/ 60 h 517"/>
                <a:gd name="T14" fmla="*/ 246 w 377"/>
                <a:gd name="T15" fmla="*/ 55 h 517"/>
                <a:gd name="T16" fmla="*/ 249 w 377"/>
                <a:gd name="T17" fmla="*/ 59 h 517"/>
                <a:gd name="T18" fmla="*/ 240 w 377"/>
                <a:gd name="T19" fmla="*/ 56 h 517"/>
                <a:gd name="T20" fmla="*/ 230 w 377"/>
                <a:gd name="T21" fmla="*/ 47 h 517"/>
                <a:gd name="T22" fmla="*/ 237 w 377"/>
                <a:gd name="T23" fmla="*/ 56 h 517"/>
                <a:gd name="T24" fmla="*/ 233 w 377"/>
                <a:gd name="T25" fmla="*/ 55 h 517"/>
                <a:gd name="T26" fmla="*/ 224 w 377"/>
                <a:gd name="T27" fmla="*/ 43 h 517"/>
                <a:gd name="T28" fmla="*/ 227 w 377"/>
                <a:gd name="T29" fmla="*/ 51 h 517"/>
                <a:gd name="T30" fmla="*/ 197 w 377"/>
                <a:gd name="T31" fmla="*/ 8 h 517"/>
                <a:gd name="T32" fmla="*/ 177 w 377"/>
                <a:gd name="T33" fmla="*/ 24 h 517"/>
                <a:gd name="T34" fmla="*/ 193 w 377"/>
                <a:gd name="T35" fmla="*/ 0 h 517"/>
                <a:gd name="T36" fmla="*/ 177 w 377"/>
                <a:gd name="T37" fmla="*/ 14 h 517"/>
                <a:gd name="T38" fmla="*/ 153 w 377"/>
                <a:gd name="T39" fmla="*/ 43 h 517"/>
                <a:gd name="T40" fmla="*/ 149 w 377"/>
                <a:gd name="T41" fmla="*/ 41 h 517"/>
                <a:gd name="T42" fmla="*/ 158 w 377"/>
                <a:gd name="T43" fmla="*/ 26 h 517"/>
                <a:gd name="T44" fmla="*/ 147 w 377"/>
                <a:gd name="T45" fmla="*/ 40 h 517"/>
                <a:gd name="T46" fmla="*/ 138 w 377"/>
                <a:gd name="T47" fmla="*/ 35 h 517"/>
                <a:gd name="T48" fmla="*/ 149 w 377"/>
                <a:gd name="T49" fmla="*/ 21 h 517"/>
                <a:gd name="T50" fmla="*/ 139 w 377"/>
                <a:gd name="T51" fmla="*/ 30 h 517"/>
                <a:gd name="T52" fmla="*/ 123 w 377"/>
                <a:gd name="T53" fmla="*/ 37 h 517"/>
                <a:gd name="T54" fmla="*/ 21 w 377"/>
                <a:gd name="T55" fmla="*/ 143 h 517"/>
                <a:gd name="T56" fmla="*/ 25 w 377"/>
                <a:gd name="T57" fmla="*/ 269 h 517"/>
                <a:gd name="T58" fmla="*/ 17 w 377"/>
                <a:gd name="T59" fmla="*/ 319 h 517"/>
                <a:gd name="T60" fmla="*/ 31 w 377"/>
                <a:gd name="T61" fmla="*/ 346 h 517"/>
                <a:gd name="T62" fmla="*/ 175 w 377"/>
                <a:gd name="T63" fmla="*/ 17 h 517"/>
                <a:gd name="T64" fmla="*/ 166 w 377"/>
                <a:gd name="T65" fmla="*/ 37 h 517"/>
                <a:gd name="T66" fmla="*/ 163 w 377"/>
                <a:gd name="T67" fmla="*/ 36 h 517"/>
                <a:gd name="T68" fmla="*/ 175 w 377"/>
                <a:gd name="T69" fmla="*/ 1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517">
                  <a:moveTo>
                    <a:pt x="31" y="346"/>
                  </a:moveTo>
                  <a:cubicBezTo>
                    <a:pt x="41" y="430"/>
                    <a:pt x="113" y="517"/>
                    <a:pt x="178" y="517"/>
                  </a:cubicBezTo>
                  <a:cubicBezTo>
                    <a:pt x="254" y="517"/>
                    <a:pt x="325" y="425"/>
                    <a:pt x="336" y="346"/>
                  </a:cubicBezTo>
                  <a:cubicBezTo>
                    <a:pt x="340" y="343"/>
                    <a:pt x="347" y="336"/>
                    <a:pt x="350" y="319"/>
                  </a:cubicBezTo>
                  <a:cubicBezTo>
                    <a:pt x="350" y="319"/>
                    <a:pt x="366" y="262"/>
                    <a:pt x="345" y="268"/>
                  </a:cubicBezTo>
                  <a:cubicBezTo>
                    <a:pt x="352" y="246"/>
                    <a:pt x="377" y="160"/>
                    <a:pt x="329" y="106"/>
                  </a:cubicBezTo>
                  <a:cubicBezTo>
                    <a:pt x="329" y="106"/>
                    <a:pt x="307" y="76"/>
                    <a:pt x="253" y="60"/>
                  </a:cubicBezTo>
                  <a:cubicBezTo>
                    <a:pt x="251" y="58"/>
                    <a:pt x="249" y="56"/>
                    <a:pt x="246" y="55"/>
                  </a:cubicBezTo>
                  <a:cubicBezTo>
                    <a:pt x="246" y="55"/>
                    <a:pt x="248" y="56"/>
                    <a:pt x="249" y="59"/>
                  </a:cubicBezTo>
                  <a:cubicBezTo>
                    <a:pt x="246" y="58"/>
                    <a:pt x="243" y="57"/>
                    <a:pt x="240" y="56"/>
                  </a:cubicBezTo>
                  <a:cubicBezTo>
                    <a:pt x="237" y="53"/>
                    <a:pt x="234" y="50"/>
                    <a:pt x="230" y="47"/>
                  </a:cubicBezTo>
                  <a:cubicBezTo>
                    <a:pt x="230" y="47"/>
                    <a:pt x="233" y="50"/>
                    <a:pt x="237" y="56"/>
                  </a:cubicBezTo>
                  <a:cubicBezTo>
                    <a:pt x="236" y="55"/>
                    <a:pt x="234" y="55"/>
                    <a:pt x="233" y="55"/>
                  </a:cubicBezTo>
                  <a:cubicBezTo>
                    <a:pt x="230" y="51"/>
                    <a:pt x="227" y="47"/>
                    <a:pt x="224" y="43"/>
                  </a:cubicBezTo>
                  <a:cubicBezTo>
                    <a:pt x="224" y="43"/>
                    <a:pt x="225" y="46"/>
                    <a:pt x="227" y="51"/>
                  </a:cubicBezTo>
                  <a:cubicBezTo>
                    <a:pt x="217" y="44"/>
                    <a:pt x="197" y="27"/>
                    <a:pt x="197" y="8"/>
                  </a:cubicBezTo>
                  <a:cubicBezTo>
                    <a:pt x="197" y="8"/>
                    <a:pt x="185" y="13"/>
                    <a:pt x="177" y="24"/>
                  </a:cubicBezTo>
                  <a:cubicBezTo>
                    <a:pt x="180" y="15"/>
                    <a:pt x="185" y="7"/>
                    <a:pt x="193" y="0"/>
                  </a:cubicBezTo>
                  <a:cubicBezTo>
                    <a:pt x="193" y="0"/>
                    <a:pt x="185" y="5"/>
                    <a:pt x="177" y="14"/>
                  </a:cubicBezTo>
                  <a:cubicBezTo>
                    <a:pt x="171" y="17"/>
                    <a:pt x="158" y="26"/>
                    <a:pt x="153" y="43"/>
                  </a:cubicBezTo>
                  <a:cubicBezTo>
                    <a:pt x="149" y="41"/>
                    <a:pt x="149" y="41"/>
                    <a:pt x="149" y="41"/>
                  </a:cubicBezTo>
                  <a:cubicBezTo>
                    <a:pt x="151" y="36"/>
                    <a:pt x="154" y="31"/>
                    <a:pt x="158" y="26"/>
                  </a:cubicBezTo>
                  <a:cubicBezTo>
                    <a:pt x="158" y="26"/>
                    <a:pt x="152" y="31"/>
                    <a:pt x="147" y="40"/>
                  </a:cubicBezTo>
                  <a:cubicBezTo>
                    <a:pt x="138" y="35"/>
                    <a:pt x="138" y="35"/>
                    <a:pt x="138" y="35"/>
                  </a:cubicBezTo>
                  <a:cubicBezTo>
                    <a:pt x="141" y="31"/>
                    <a:pt x="144" y="26"/>
                    <a:pt x="149" y="21"/>
                  </a:cubicBezTo>
                  <a:cubicBezTo>
                    <a:pt x="149" y="21"/>
                    <a:pt x="144" y="24"/>
                    <a:pt x="139" y="30"/>
                  </a:cubicBezTo>
                  <a:cubicBezTo>
                    <a:pt x="141" y="25"/>
                    <a:pt x="140" y="18"/>
                    <a:pt x="123" y="37"/>
                  </a:cubicBezTo>
                  <a:cubicBezTo>
                    <a:pt x="123" y="37"/>
                    <a:pt x="44" y="72"/>
                    <a:pt x="21" y="143"/>
                  </a:cubicBezTo>
                  <a:cubicBezTo>
                    <a:pt x="21" y="143"/>
                    <a:pt x="7" y="175"/>
                    <a:pt x="25" y="269"/>
                  </a:cubicBezTo>
                  <a:cubicBezTo>
                    <a:pt x="0" y="257"/>
                    <a:pt x="17" y="319"/>
                    <a:pt x="17" y="319"/>
                  </a:cubicBezTo>
                  <a:cubicBezTo>
                    <a:pt x="20" y="336"/>
                    <a:pt x="27" y="343"/>
                    <a:pt x="31" y="346"/>
                  </a:cubicBezTo>
                  <a:close/>
                  <a:moveTo>
                    <a:pt x="175" y="17"/>
                  </a:moveTo>
                  <a:cubicBezTo>
                    <a:pt x="171" y="22"/>
                    <a:pt x="167" y="29"/>
                    <a:pt x="166" y="37"/>
                  </a:cubicBezTo>
                  <a:cubicBezTo>
                    <a:pt x="163" y="36"/>
                    <a:pt x="163" y="36"/>
                    <a:pt x="163" y="36"/>
                  </a:cubicBezTo>
                  <a:cubicBezTo>
                    <a:pt x="165" y="29"/>
                    <a:pt x="169" y="23"/>
                    <a:pt x="1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sp>
        <p:nvSpPr>
          <p:cNvPr id="77" name="TextBox 76">
            <a:extLst>
              <a:ext uri="{FF2B5EF4-FFF2-40B4-BE49-F238E27FC236}">
                <a16:creationId xmlns:a16="http://schemas.microsoft.com/office/drawing/2014/main" id="{E0FD5D88-DF7E-448C-C1A8-A51AF6690F76}"/>
              </a:ext>
            </a:extLst>
          </p:cNvPr>
          <p:cNvSpPr txBox="1"/>
          <p:nvPr/>
        </p:nvSpPr>
        <p:spPr>
          <a:xfrm>
            <a:off x="5613764" y="4706925"/>
            <a:ext cx="239296"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0" cap="none" spc="0" normalizeH="0" baseline="0" noProof="0">
                <a:ln>
                  <a:noFill/>
                </a:ln>
                <a:solidFill>
                  <a:srgbClr val="007CB0"/>
                </a:solidFill>
                <a:effectLst/>
                <a:uLnTx/>
                <a:uFillTx/>
                <a:latin typeface="Calibri" panose="020F0502020204030204"/>
                <a:ea typeface="+mn-ea"/>
                <a:cs typeface="+mn-cs"/>
              </a:rPr>
              <a:t>SAP</a:t>
            </a:r>
          </a:p>
        </p:txBody>
      </p:sp>
      <p:sp>
        <p:nvSpPr>
          <p:cNvPr id="78" name="Flowchart: Connector 77">
            <a:extLst>
              <a:ext uri="{FF2B5EF4-FFF2-40B4-BE49-F238E27FC236}">
                <a16:creationId xmlns:a16="http://schemas.microsoft.com/office/drawing/2014/main" id="{83BFC743-837D-216B-FF10-C76E4BD26373}"/>
              </a:ext>
            </a:extLst>
          </p:cNvPr>
          <p:cNvSpPr/>
          <p:nvPr/>
        </p:nvSpPr>
        <p:spPr bwMode="gray">
          <a:xfrm>
            <a:off x="2821744" y="3697166"/>
            <a:ext cx="180000" cy="180000"/>
          </a:xfrm>
          <a:prstGeom prst="flowChartConnector">
            <a:avLst/>
          </a:prstGeom>
          <a:solidFill>
            <a:srgbClr val="53565A">
              <a:lumMod val="50000"/>
            </a:srgbClr>
          </a:solidFill>
          <a:ln w="190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79" name="Flowchart: Connector 78">
            <a:extLst>
              <a:ext uri="{FF2B5EF4-FFF2-40B4-BE49-F238E27FC236}">
                <a16:creationId xmlns:a16="http://schemas.microsoft.com/office/drawing/2014/main" id="{B5D31F68-E1CD-160E-A9C2-CC75A9280301}"/>
              </a:ext>
            </a:extLst>
          </p:cNvPr>
          <p:cNvSpPr/>
          <p:nvPr/>
        </p:nvSpPr>
        <p:spPr bwMode="gray">
          <a:xfrm>
            <a:off x="6637606" y="3835682"/>
            <a:ext cx="180000" cy="180000"/>
          </a:xfrm>
          <a:prstGeom prst="flowChartConnector">
            <a:avLst/>
          </a:prstGeom>
          <a:solidFill>
            <a:srgbClr val="53565A">
              <a:lumMod val="50000"/>
            </a:srgbClr>
          </a:solidFill>
          <a:ln w="190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0" cap="none" spc="0" normalizeH="0" baseline="0" noProof="0">
                <a:ln>
                  <a:noFill/>
                </a:ln>
                <a:solidFill>
                  <a:prstClr val="white"/>
                </a:solidFill>
                <a:effectLst/>
                <a:uLnTx/>
                <a:uFillTx/>
                <a:latin typeface="Calibri" panose="020F0502020204030204"/>
                <a:ea typeface="+mn-ea"/>
                <a:cs typeface="+mn-cs"/>
              </a:rPr>
              <a:t>1</a:t>
            </a:r>
          </a:p>
        </p:txBody>
      </p:sp>
      <p:pic>
        <p:nvPicPr>
          <p:cNvPr id="80" name="Graphic 79" descr="Star outline">
            <a:extLst>
              <a:ext uri="{FF2B5EF4-FFF2-40B4-BE49-F238E27FC236}">
                <a16:creationId xmlns:a16="http://schemas.microsoft.com/office/drawing/2014/main" id="{54DCA326-1BDB-5750-50C0-8B1C004BD249}"/>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01606" y="2780913"/>
            <a:ext cx="252000" cy="252000"/>
          </a:xfrm>
          <a:prstGeom prst="rect">
            <a:avLst/>
          </a:prstGeom>
        </p:spPr>
      </p:pic>
      <p:pic>
        <p:nvPicPr>
          <p:cNvPr id="81" name="Graphic 80" descr="Star outline">
            <a:extLst>
              <a:ext uri="{FF2B5EF4-FFF2-40B4-BE49-F238E27FC236}">
                <a16:creationId xmlns:a16="http://schemas.microsoft.com/office/drawing/2014/main" id="{7EE1E8D7-1263-922F-54AF-5809D1593DF3}"/>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90648" y="2933144"/>
            <a:ext cx="144000" cy="144000"/>
          </a:xfrm>
          <a:prstGeom prst="rect">
            <a:avLst/>
          </a:prstGeom>
        </p:spPr>
      </p:pic>
      <p:pic>
        <p:nvPicPr>
          <p:cNvPr id="82" name="Graphic 81" descr="Star outline">
            <a:extLst>
              <a:ext uri="{FF2B5EF4-FFF2-40B4-BE49-F238E27FC236}">
                <a16:creationId xmlns:a16="http://schemas.microsoft.com/office/drawing/2014/main" id="{D69A149F-F196-29D0-BB3B-DE36B2B184FE}"/>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93031" y="2780913"/>
            <a:ext cx="144000" cy="144000"/>
          </a:xfrm>
          <a:prstGeom prst="rect">
            <a:avLst/>
          </a:prstGeom>
        </p:spPr>
      </p:pic>
      <p:sp>
        <p:nvSpPr>
          <p:cNvPr id="83" name="TextBox 82">
            <a:extLst>
              <a:ext uri="{FF2B5EF4-FFF2-40B4-BE49-F238E27FC236}">
                <a16:creationId xmlns:a16="http://schemas.microsoft.com/office/drawing/2014/main" id="{87B7089A-8153-630E-A735-817C98B28545}"/>
              </a:ext>
            </a:extLst>
          </p:cNvPr>
          <p:cNvSpPr txBox="1"/>
          <p:nvPr/>
        </p:nvSpPr>
        <p:spPr>
          <a:xfrm>
            <a:off x="8771723" y="3051958"/>
            <a:ext cx="133050"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900" b="0" i="1" u="none" strike="noStrike" kern="0" cap="none" spc="0" normalizeH="0" baseline="0" noProof="0">
                <a:ln>
                  <a:noFill/>
                </a:ln>
                <a:solidFill>
                  <a:srgbClr val="007CB0"/>
                </a:solidFill>
                <a:effectLst/>
                <a:uLnTx/>
                <a:uFillTx/>
                <a:latin typeface="Calibri" panose="020F0502020204030204"/>
                <a:ea typeface="+mn-ea"/>
                <a:cs typeface="+mn-cs"/>
              </a:rPr>
              <a:t>DB</a:t>
            </a:r>
          </a:p>
        </p:txBody>
      </p:sp>
      <p:pic>
        <p:nvPicPr>
          <p:cNvPr id="84" name="Graphic 83" descr="Star outline">
            <a:extLst>
              <a:ext uri="{FF2B5EF4-FFF2-40B4-BE49-F238E27FC236}">
                <a16:creationId xmlns:a16="http://schemas.microsoft.com/office/drawing/2014/main" id="{AC678567-B59A-B5DB-D525-15A21410417B}"/>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93031" y="3850374"/>
            <a:ext cx="144000" cy="144000"/>
          </a:xfrm>
          <a:prstGeom prst="rect">
            <a:avLst/>
          </a:prstGeom>
        </p:spPr>
      </p:pic>
      <p:sp>
        <p:nvSpPr>
          <p:cNvPr id="85" name="Rectangle: Rounded Corners 84">
            <a:extLst>
              <a:ext uri="{FF2B5EF4-FFF2-40B4-BE49-F238E27FC236}">
                <a16:creationId xmlns:a16="http://schemas.microsoft.com/office/drawing/2014/main" id="{224A32FB-CAA7-EEC8-8EC6-9B572F0FD3B5}"/>
              </a:ext>
            </a:extLst>
          </p:cNvPr>
          <p:cNvSpPr/>
          <p:nvPr/>
        </p:nvSpPr>
        <p:spPr bwMode="gray">
          <a:xfrm>
            <a:off x="7756400" y="4578747"/>
            <a:ext cx="396000" cy="180000"/>
          </a:xfrm>
          <a:prstGeom prst="roundRect">
            <a:avLst/>
          </a:prstGeom>
          <a:solidFill>
            <a:srgbClr val="53565A">
              <a:lumMod val="50000"/>
            </a:srgbClr>
          </a:solidFill>
          <a:ln w="19050" algn="ctr">
            <a:noFill/>
            <a:miter lim="800000"/>
            <a:headEnd/>
            <a:tailEnd/>
          </a:ln>
          <a:effectLst>
            <a:glow rad="63500">
              <a:srgbClr val="53565A">
                <a:lumMod val="20000"/>
                <a:lumOff val="80000"/>
                <a:alpha val="40000"/>
              </a:srgbClr>
            </a:glo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srgbClr val="007CB0"/>
                </a:solidFill>
                <a:effectLst/>
                <a:uLnTx/>
                <a:uFillTx/>
                <a:latin typeface="Calibri" panose="020F0502020204030204"/>
                <a:ea typeface="+mn-ea"/>
                <a:cs typeface="+mn-cs"/>
              </a:rPr>
              <a:t>SAP</a:t>
            </a:r>
          </a:p>
        </p:txBody>
      </p:sp>
      <p:sp>
        <p:nvSpPr>
          <p:cNvPr id="86" name="Rectangle: Rounded Corners 85">
            <a:extLst>
              <a:ext uri="{FF2B5EF4-FFF2-40B4-BE49-F238E27FC236}">
                <a16:creationId xmlns:a16="http://schemas.microsoft.com/office/drawing/2014/main" id="{755A8415-2291-D5E5-753A-6CFD8C783751}"/>
              </a:ext>
            </a:extLst>
          </p:cNvPr>
          <p:cNvSpPr/>
          <p:nvPr/>
        </p:nvSpPr>
        <p:spPr bwMode="gray">
          <a:xfrm>
            <a:off x="8488713" y="4578747"/>
            <a:ext cx="396000" cy="180000"/>
          </a:xfrm>
          <a:prstGeom prst="roundRect">
            <a:avLst/>
          </a:prstGeom>
          <a:solidFill>
            <a:srgbClr val="53565A">
              <a:lumMod val="50000"/>
            </a:srgbClr>
          </a:solidFill>
          <a:ln w="19050" algn="ctr">
            <a:noFill/>
            <a:miter lim="800000"/>
            <a:headEnd/>
            <a:tailEnd/>
          </a:ln>
          <a:effectLst>
            <a:glow rad="63500">
              <a:srgbClr val="53565A">
                <a:lumMod val="20000"/>
                <a:lumOff val="80000"/>
                <a:alpha val="40000"/>
              </a:srgbClr>
            </a:glo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7" name="Rectangle: Rounded Corners 86">
            <a:extLst>
              <a:ext uri="{FF2B5EF4-FFF2-40B4-BE49-F238E27FC236}">
                <a16:creationId xmlns:a16="http://schemas.microsoft.com/office/drawing/2014/main" id="{696A00C7-6642-103E-E2C7-BA66EBF6BEF5}"/>
              </a:ext>
            </a:extLst>
          </p:cNvPr>
          <p:cNvSpPr/>
          <p:nvPr/>
        </p:nvSpPr>
        <p:spPr bwMode="gray">
          <a:xfrm>
            <a:off x="7756400" y="4915243"/>
            <a:ext cx="396000" cy="180000"/>
          </a:xfrm>
          <a:prstGeom prst="roundRect">
            <a:avLst/>
          </a:prstGeom>
          <a:solidFill>
            <a:srgbClr val="53565A">
              <a:lumMod val="50000"/>
            </a:srgbClr>
          </a:solidFill>
          <a:ln w="19050" algn="ctr">
            <a:noFill/>
            <a:miter lim="800000"/>
            <a:headEnd/>
            <a:tailEnd/>
          </a:ln>
          <a:effectLst>
            <a:glow rad="63500">
              <a:srgbClr val="53565A">
                <a:lumMod val="20000"/>
                <a:lumOff val="80000"/>
                <a:alpha val="40000"/>
              </a:srgbClr>
            </a:glo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8" name="Rectangle: Rounded Corners 87">
            <a:extLst>
              <a:ext uri="{FF2B5EF4-FFF2-40B4-BE49-F238E27FC236}">
                <a16:creationId xmlns:a16="http://schemas.microsoft.com/office/drawing/2014/main" id="{9FB0A211-40DB-7168-62A9-934C53A88C4A}"/>
              </a:ext>
            </a:extLst>
          </p:cNvPr>
          <p:cNvSpPr/>
          <p:nvPr/>
        </p:nvSpPr>
        <p:spPr bwMode="gray">
          <a:xfrm>
            <a:off x="8488713" y="4915243"/>
            <a:ext cx="396000" cy="180000"/>
          </a:xfrm>
          <a:prstGeom prst="roundRect">
            <a:avLst/>
          </a:prstGeom>
          <a:solidFill>
            <a:srgbClr val="53565A">
              <a:lumMod val="50000"/>
            </a:srgbClr>
          </a:solidFill>
          <a:ln w="19050" algn="ctr">
            <a:noFill/>
            <a:miter lim="800000"/>
            <a:headEnd/>
            <a:tailEnd/>
          </a:ln>
          <a:effectLst>
            <a:glow rad="63500">
              <a:srgbClr val="53565A">
                <a:lumMod val="20000"/>
                <a:lumOff val="80000"/>
                <a:alpha val="40000"/>
              </a:srgbClr>
            </a:glo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9" name="Rectangle: Rounded Corners 88">
            <a:extLst>
              <a:ext uri="{FF2B5EF4-FFF2-40B4-BE49-F238E27FC236}">
                <a16:creationId xmlns:a16="http://schemas.microsoft.com/office/drawing/2014/main" id="{15C497A4-ADFB-C153-4E9C-E21D8F607261}"/>
              </a:ext>
            </a:extLst>
          </p:cNvPr>
          <p:cNvSpPr/>
          <p:nvPr/>
        </p:nvSpPr>
        <p:spPr bwMode="gray">
          <a:xfrm>
            <a:off x="7756400" y="5476631"/>
            <a:ext cx="1020313" cy="180000"/>
          </a:xfrm>
          <a:prstGeom prst="roundRect">
            <a:avLst/>
          </a:prstGeom>
          <a:solidFill>
            <a:srgbClr val="53565A">
              <a:lumMod val="50000"/>
            </a:srgbClr>
          </a:solidFill>
          <a:ln w="19050" algn="ctr">
            <a:noFill/>
            <a:miter lim="800000"/>
            <a:headEnd/>
            <a:tailEnd/>
          </a:ln>
          <a:effectLst>
            <a:glow rad="63500">
              <a:srgbClr val="53565A">
                <a:lumMod val="20000"/>
                <a:lumOff val="80000"/>
                <a:alpha val="40000"/>
              </a:srgbClr>
            </a:glo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CORA</a:t>
            </a:r>
          </a:p>
        </p:txBody>
      </p:sp>
      <p:sp>
        <p:nvSpPr>
          <p:cNvPr id="90" name="Rectangle: Rounded Corners 89">
            <a:extLst>
              <a:ext uri="{FF2B5EF4-FFF2-40B4-BE49-F238E27FC236}">
                <a16:creationId xmlns:a16="http://schemas.microsoft.com/office/drawing/2014/main" id="{F57F4F6D-29C0-21B7-07C6-4DB208CB5988}"/>
              </a:ext>
            </a:extLst>
          </p:cNvPr>
          <p:cNvSpPr/>
          <p:nvPr/>
        </p:nvSpPr>
        <p:spPr bwMode="gray">
          <a:xfrm>
            <a:off x="7756400" y="6087825"/>
            <a:ext cx="1020313" cy="180000"/>
          </a:xfrm>
          <a:prstGeom prst="roundRect">
            <a:avLst/>
          </a:prstGeom>
          <a:solidFill>
            <a:srgbClr val="53565A">
              <a:lumMod val="50000"/>
            </a:srgbClr>
          </a:solidFill>
          <a:ln w="19050" algn="ctr">
            <a:solidFill>
              <a:srgbClr val="26890D"/>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srgbClr val="43B02A"/>
                </a:solidFill>
                <a:effectLst/>
                <a:uLnTx/>
                <a:uFillTx/>
                <a:latin typeface="Calibri" panose="020F0502020204030204"/>
                <a:ea typeface="+mn-ea"/>
                <a:cs typeface="+mn-cs"/>
              </a:rPr>
              <a:t>DEF / D</a:t>
            </a:r>
          </a:p>
        </p:txBody>
      </p:sp>
      <p:sp>
        <p:nvSpPr>
          <p:cNvPr id="91" name="Rectangle: Rounded Corners 90">
            <a:extLst>
              <a:ext uri="{FF2B5EF4-FFF2-40B4-BE49-F238E27FC236}">
                <a16:creationId xmlns:a16="http://schemas.microsoft.com/office/drawing/2014/main" id="{D7D311A2-A0B2-FF6B-E4AB-D107209B4E59}"/>
              </a:ext>
            </a:extLst>
          </p:cNvPr>
          <p:cNvSpPr/>
          <p:nvPr/>
        </p:nvSpPr>
        <p:spPr bwMode="gray">
          <a:xfrm>
            <a:off x="7756400" y="5801094"/>
            <a:ext cx="396000" cy="180000"/>
          </a:xfrm>
          <a:prstGeom prst="roundRect">
            <a:avLst/>
          </a:prstGeom>
          <a:solidFill>
            <a:srgbClr val="53565A">
              <a:lumMod val="50000"/>
            </a:srgbClr>
          </a:solidFill>
          <a:ln w="19050" algn="ctr">
            <a:noFill/>
            <a:miter lim="800000"/>
            <a:headEnd/>
            <a:tailEnd/>
          </a:ln>
          <a:effectLst>
            <a:glow rad="63500">
              <a:srgbClr val="53565A">
                <a:lumMod val="20000"/>
                <a:lumOff val="80000"/>
                <a:alpha val="40000"/>
              </a:srgbClr>
            </a:glo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92" name="Graphic 91" descr="Star outline">
            <a:extLst>
              <a:ext uri="{FF2B5EF4-FFF2-40B4-BE49-F238E27FC236}">
                <a16:creationId xmlns:a16="http://schemas.microsoft.com/office/drawing/2014/main" id="{6B5765C8-D8C5-2420-7647-5BD95F572AD5}"/>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27723" y="5486732"/>
            <a:ext cx="144000" cy="144000"/>
          </a:xfrm>
          <a:prstGeom prst="rect">
            <a:avLst/>
          </a:prstGeom>
        </p:spPr>
      </p:pic>
      <p:pic>
        <p:nvPicPr>
          <p:cNvPr id="93" name="Graphic 92" descr="Star outline">
            <a:extLst>
              <a:ext uri="{FF2B5EF4-FFF2-40B4-BE49-F238E27FC236}">
                <a16:creationId xmlns:a16="http://schemas.microsoft.com/office/drawing/2014/main" id="{1E6780E5-1FEF-1266-9083-6D673B45C4D6}"/>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69029" y="5812433"/>
            <a:ext cx="144000" cy="144000"/>
          </a:xfrm>
          <a:prstGeom prst="rect">
            <a:avLst/>
          </a:prstGeom>
        </p:spPr>
      </p:pic>
      <p:cxnSp>
        <p:nvCxnSpPr>
          <p:cNvPr id="94" name="Straight Arrow Connector 93">
            <a:extLst>
              <a:ext uri="{FF2B5EF4-FFF2-40B4-BE49-F238E27FC236}">
                <a16:creationId xmlns:a16="http://schemas.microsoft.com/office/drawing/2014/main" id="{A741D94A-FA34-92E0-4651-3DBE0EC0A5D5}"/>
              </a:ext>
            </a:extLst>
          </p:cNvPr>
          <p:cNvCxnSpPr>
            <a:cxnSpLocks/>
            <a:stCxn id="67" idx="2"/>
            <a:endCxn id="61" idx="0"/>
          </p:cNvCxnSpPr>
          <p:nvPr/>
        </p:nvCxnSpPr>
        <p:spPr>
          <a:xfrm>
            <a:off x="5321689" y="1705708"/>
            <a:ext cx="2" cy="1033096"/>
          </a:xfrm>
          <a:prstGeom prst="straightConnector1">
            <a:avLst/>
          </a:prstGeom>
          <a:noFill/>
          <a:ln w="25400" cap="flat" cmpd="sng" algn="ctr">
            <a:solidFill>
              <a:srgbClr val="26890D"/>
            </a:solidFill>
            <a:prstDash val="solid"/>
            <a:headEnd type="triangle"/>
            <a:tailEnd type="triangle"/>
          </a:ln>
          <a:effectLst>
            <a:outerShdw blurRad="40000" dist="20000" dir="5400000" rotWithShape="0">
              <a:srgbClr val="000000">
                <a:alpha val="38000"/>
              </a:srgbClr>
            </a:outerShdw>
          </a:effectLst>
        </p:spPr>
      </p:cxnSp>
      <p:sp>
        <p:nvSpPr>
          <p:cNvPr id="95" name="Flowchart: Connector 94">
            <a:extLst>
              <a:ext uri="{FF2B5EF4-FFF2-40B4-BE49-F238E27FC236}">
                <a16:creationId xmlns:a16="http://schemas.microsoft.com/office/drawing/2014/main" id="{9E6E9CE7-91CF-78DA-5742-6D71E04C8BF7}"/>
              </a:ext>
            </a:extLst>
          </p:cNvPr>
          <p:cNvSpPr/>
          <p:nvPr/>
        </p:nvSpPr>
        <p:spPr bwMode="gray">
          <a:xfrm>
            <a:off x="4812639" y="5219178"/>
            <a:ext cx="180000" cy="180000"/>
          </a:xfrm>
          <a:prstGeom prst="flowChartConnector">
            <a:avLst/>
          </a:prstGeom>
          <a:solidFill>
            <a:srgbClr val="53565A">
              <a:lumMod val="50000"/>
            </a:srgbClr>
          </a:solidFill>
          <a:ln w="19050" algn="ctr">
            <a:solidFill>
              <a:srgbClr val="007CB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Flowchart: Connector 95">
            <a:extLst>
              <a:ext uri="{FF2B5EF4-FFF2-40B4-BE49-F238E27FC236}">
                <a16:creationId xmlns:a16="http://schemas.microsoft.com/office/drawing/2014/main" id="{B1C0C25E-5751-47DB-FD44-AA66E1AA498C}"/>
              </a:ext>
            </a:extLst>
          </p:cNvPr>
          <p:cNvSpPr/>
          <p:nvPr/>
        </p:nvSpPr>
        <p:spPr bwMode="gray">
          <a:xfrm>
            <a:off x="4586116" y="5219178"/>
            <a:ext cx="180000" cy="180000"/>
          </a:xfrm>
          <a:prstGeom prst="flowChartConnector">
            <a:avLst/>
          </a:prstGeom>
          <a:solidFill>
            <a:srgbClr val="53565A">
              <a:lumMod val="50000"/>
            </a:srgbClr>
          </a:solidFill>
          <a:ln w="19050" algn="ctr">
            <a:solidFill>
              <a:srgbClr val="007CB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7" name="Flowchart: Connector 96">
            <a:extLst>
              <a:ext uri="{FF2B5EF4-FFF2-40B4-BE49-F238E27FC236}">
                <a16:creationId xmlns:a16="http://schemas.microsoft.com/office/drawing/2014/main" id="{B7A775FA-9A20-00D8-C0C3-14395C3CD2CF}"/>
              </a:ext>
            </a:extLst>
          </p:cNvPr>
          <p:cNvSpPr/>
          <p:nvPr/>
        </p:nvSpPr>
        <p:spPr bwMode="gray">
          <a:xfrm>
            <a:off x="5032746" y="5219178"/>
            <a:ext cx="180000" cy="180000"/>
          </a:xfrm>
          <a:prstGeom prst="flowChartConnector">
            <a:avLst/>
          </a:prstGeom>
          <a:solidFill>
            <a:srgbClr val="53565A">
              <a:lumMod val="50000"/>
            </a:srgbClr>
          </a:solidFill>
          <a:ln w="19050" algn="ctr">
            <a:solidFill>
              <a:srgbClr val="007CB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8" name="Flowchart: Connector 97">
            <a:extLst>
              <a:ext uri="{FF2B5EF4-FFF2-40B4-BE49-F238E27FC236}">
                <a16:creationId xmlns:a16="http://schemas.microsoft.com/office/drawing/2014/main" id="{699A39C5-C7EA-AD26-6A46-7606BF284C30}"/>
              </a:ext>
            </a:extLst>
          </p:cNvPr>
          <p:cNvSpPr/>
          <p:nvPr/>
        </p:nvSpPr>
        <p:spPr bwMode="gray">
          <a:xfrm>
            <a:off x="5698728" y="5219178"/>
            <a:ext cx="180000" cy="180000"/>
          </a:xfrm>
          <a:prstGeom prst="flowChartConnector">
            <a:avLst/>
          </a:prstGeom>
          <a:solidFill>
            <a:srgbClr val="53565A">
              <a:lumMod val="50000"/>
            </a:srgbClr>
          </a:solidFill>
          <a:ln w="190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0" cap="none" spc="0" normalizeH="0" baseline="0" noProof="0">
                <a:ln>
                  <a:noFill/>
                </a:ln>
                <a:solidFill>
                  <a:prstClr val="white"/>
                </a:solidFill>
                <a:effectLst/>
                <a:uLnTx/>
                <a:uFillTx/>
                <a:latin typeface="Calibri" panose="020F0502020204030204"/>
                <a:ea typeface="+mn-ea"/>
                <a:cs typeface="+mn-cs"/>
              </a:rPr>
              <a:t>1</a:t>
            </a:r>
          </a:p>
        </p:txBody>
      </p:sp>
      <p:cxnSp>
        <p:nvCxnSpPr>
          <p:cNvPr id="99" name="Connector: Elbow 98">
            <a:extLst>
              <a:ext uri="{FF2B5EF4-FFF2-40B4-BE49-F238E27FC236}">
                <a16:creationId xmlns:a16="http://schemas.microsoft.com/office/drawing/2014/main" id="{BFA3BCBD-AEEE-FAB3-ACC1-DD8A369E001A}"/>
              </a:ext>
            </a:extLst>
          </p:cNvPr>
          <p:cNvCxnSpPr>
            <a:stCxn id="61" idx="3"/>
            <a:endCxn id="68" idx="1"/>
          </p:cNvCxnSpPr>
          <p:nvPr/>
        </p:nvCxnSpPr>
        <p:spPr>
          <a:xfrm flipV="1">
            <a:off x="6908702" y="2976180"/>
            <a:ext cx="669681" cy="452820"/>
          </a:xfrm>
          <a:prstGeom prst="bentConnector3">
            <a:avLst/>
          </a:prstGeom>
          <a:noFill/>
          <a:ln w="25400" cap="flat" cmpd="sng" algn="ctr">
            <a:solidFill>
              <a:srgbClr val="D0D0CE"/>
            </a:solidFill>
            <a:prstDash val="solid"/>
            <a:tailEnd type="triangle"/>
          </a:ln>
          <a:effectLst>
            <a:outerShdw blurRad="40000" dist="20000" dir="5400000" rotWithShape="0">
              <a:srgbClr val="000000">
                <a:alpha val="38000"/>
              </a:srgbClr>
            </a:outerShdw>
          </a:effectLst>
        </p:spPr>
      </p:cxnSp>
      <p:cxnSp>
        <p:nvCxnSpPr>
          <p:cNvPr id="100" name="Connector: Elbow 99">
            <a:extLst>
              <a:ext uri="{FF2B5EF4-FFF2-40B4-BE49-F238E27FC236}">
                <a16:creationId xmlns:a16="http://schemas.microsoft.com/office/drawing/2014/main" id="{3EDC0B46-AE60-AF93-7E9D-0F524108CF8A}"/>
              </a:ext>
            </a:extLst>
          </p:cNvPr>
          <p:cNvCxnSpPr>
            <a:cxnSpLocks/>
            <a:stCxn id="61" idx="3"/>
            <a:endCxn id="69" idx="1"/>
          </p:cNvCxnSpPr>
          <p:nvPr/>
        </p:nvCxnSpPr>
        <p:spPr>
          <a:xfrm>
            <a:off x="6908702" y="3429000"/>
            <a:ext cx="669680" cy="509534"/>
          </a:xfrm>
          <a:prstGeom prst="bentConnector3">
            <a:avLst/>
          </a:prstGeom>
          <a:noFill/>
          <a:ln w="25400" cap="flat" cmpd="sng" algn="ctr">
            <a:solidFill>
              <a:srgbClr val="D0D0CE"/>
            </a:solidFill>
            <a:prstDash val="solid"/>
            <a:tailEnd type="triangle"/>
          </a:ln>
          <a:effectLst>
            <a:outerShdw blurRad="40000" dist="20000" dir="5400000" rotWithShape="0">
              <a:srgbClr val="000000">
                <a:alpha val="38000"/>
              </a:srgbClr>
            </a:outerShdw>
          </a:effectLst>
        </p:spPr>
      </p:cxnSp>
      <p:cxnSp>
        <p:nvCxnSpPr>
          <p:cNvPr id="101" name="Connector: Elbow 100">
            <a:extLst>
              <a:ext uri="{FF2B5EF4-FFF2-40B4-BE49-F238E27FC236}">
                <a16:creationId xmlns:a16="http://schemas.microsoft.com/office/drawing/2014/main" id="{EDA96CF0-C60C-2568-2CE3-8BD8EDADA09E}"/>
              </a:ext>
            </a:extLst>
          </p:cNvPr>
          <p:cNvCxnSpPr>
            <a:cxnSpLocks/>
            <a:stCxn id="61" idx="3"/>
            <a:endCxn id="70" idx="1"/>
          </p:cNvCxnSpPr>
          <p:nvPr/>
        </p:nvCxnSpPr>
        <p:spPr>
          <a:xfrm>
            <a:off x="6908702" y="3429000"/>
            <a:ext cx="669681" cy="1931908"/>
          </a:xfrm>
          <a:prstGeom prst="bentConnector3">
            <a:avLst>
              <a:gd name="adj1" fmla="val 50000"/>
            </a:avLst>
          </a:prstGeom>
          <a:noFill/>
          <a:ln w="25400" cap="flat" cmpd="sng" algn="ctr">
            <a:solidFill>
              <a:srgbClr val="D0D0CE"/>
            </a:solidFill>
            <a:prstDash val="solid"/>
            <a:tailEnd type="triangle"/>
          </a:ln>
          <a:effectLst>
            <a:outerShdw blurRad="40000" dist="20000" dir="5400000" rotWithShape="0">
              <a:srgbClr val="000000">
                <a:alpha val="38000"/>
              </a:srgbClr>
            </a:outerShdw>
          </a:effectLst>
        </p:spPr>
      </p:cxnSp>
      <p:cxnSp>
        <p:nvCxnSpPr>
          <p:cNvPr id="102" name="Connector: Elbow 101">
            <a:extLst>
              <a:ext uri="{FF2B5EF4-FFF2-40B4-BE49-F238E27FC236}">
                <a16:creationId xmlns:a16="http://schemas.microsoft.com/office/drawing/2014/main" id="{B0DE247C-8BA4-51D3-4442-6F14F9B12C8F}"/>
              </a:ext>
            </a:extLst>
          </p:cNvPr>
          <p:cNvCxnSpPr>
            <a:cxnSpLocks/>
            <a:stCxn id="61" idx="1"/>
            <a:endCxn id="72" idx="3"/>
          </p:cNvCxnSpPr>
          <p:nvPr/>
        </p:nvCxnSpPr>
        <p:spPr>
          <a:xfrm rot="10800000" flipV="1">
            <a:off x="3064995" y="3429000"/>
            <a:ext cx="669684" cy="1628430"/>
          </a:xfrm>
          <a:prstGeom prst="bentConnector3">
            <a:avLst>
              <a:gd name="adj1" fmla="val 50000"/>
            </a:avLst>
          </a:prstGeom>
          <a:noFill/>
          <a:ln w="25400" cap="flat" cmpd="sng" algn="ctr">
            <a:solidFill>
              <a:srgbClr val="D0D0CE"/>
            </a:solidFill>
            <a:prstDash val="solid"/>
            <a:tailEnd type="triangle"/>
          </a:ln>
          <a:effectLst>
            <a:outerShdw blurRad="40000" dist="20000" dir="5400000" rotWithShape="0">
              <a:srgbClr val="000000">
                <a:alpha val="38000"/>
              </a:srgbClr>
            </a:outerShdw>
          </a:effectLst>
        </p:spPr>
      </p:cxnSp>
      <p:cxnSp>
        <p:nvCxnSpPr>
          <p:cNvPr id="103" name="Connector: Elbow 102">
            <a:extLst>
              <a:ext uri="{FF2B5EF4-FFF2-40B4-BE49-F238E27FC236}">
                <a16:creationId xmlns:a16="http://schemas.microsoft.com/office/drawing/2014/main" id="{E79F4FDF-3F59-4936-F72E-07EE52A99A30}"/>
              </a:ext>
            </a:extLst>
          </p:cNvPr>
          <p:cNvCxnSpPr>
            <a:cxnSpLocks/>
            <a:stCxn id="61" idx="1"/>
            <a:endCxn id="73" idx="3"/>
          </p:cNvCxnSpPr>
          <p:nvPr/>
        </p:nvCxnSpPr>
        <p:spPr>
          <a:xfrm rot="10800000" flipV="1">
            <a:off x="3064995" y="3428999"/>
            <a:ext cx="669685" cy="80599"/>
          </a:xfrm>
          <a:prstGeom prst="bentConnector3">
            <a:avLst>
              <a:gd name="adj1" fmla="val 50000"/>
            </a:avLst>
          </a:prstGeom>
          <a:noFill/>
          <a:ln w="25400" cap="flat" cmpd="sng" algn="ctr">
            <a:solidFill>
              <a:srgbClr val="D0D0CE"/>
            </a:solidFill>
            <a:prstDash val="solid"/>
            <a:tailEnd type="triangle"/>
          </a:ln>
          <a:effectLst>
            <a:outerShdw blurRad="40000" dist="20000" dir="5400000" rotWithShape="0">
              <a:srgbClr val="000000">
                <a:alpha val="38000"/>
              </a:srgbClr>
            </a:outerShdw>
          </a:effectLst>
        </p:spPr>
      </p:cxnSp>
      <p:pic>
        <p:nvPicPr>
          <p:cNvPr id="104" name="Graphic 103" descr="Star outline">
            <a:extLst>
              <a:ext uri="{FF2B5EF4-FFF2-40B4-BE49-F238E27FC236}">
                <a16:creationId xmlns:a16="http://schemas.microsoft.com/office/drawing/2014/main" id="{73FF3581-34FF-642B-E46E-E1291A24011D}"/>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90648" y="4873875"/>
            <a:ext cx="144000" cy="144000"/>
          </a:xfrm>
          <a:prstGeom prst="rect">
            <a:avLst/>
          </a:prstGeom>
        </p:spPr>
      </p:pic>
      <p:cxnSp>
        <p:nvCxnSpPr>
          <p:cNvPr id="105" name="Connector: Curved 104">
            <a:extLst>
              <a:ext uri="{FF2B5EF4-FFF2-40B4-BE49-F238E27FC236}">
                <a16:creationId xmlns:a16="http://schemas.microsoft.com/office/drawing/2014/main" id="{285951E2-DA49-0DAD-576E-91D21126981A}"/>
              </a:ext>
            </a:extLst>
          </p:cNvPr>
          <p:cNvCxnSpPr>
            <a:cxnSpLocks/>
            <a:stCxn id="90" idx="3"/>
            <a:endCxn id="67" idx="3"/>
          </p:cNvCxnSpPr>
          <p:nvPr/>
        </p:nvCxnSpPr>
        <p:spPr>
          <a:xfrm flipH="1" flipV="1">
            <a:off x="6011885" y="1494693"/>
            <a:ext cx="2764828" cy="4683132"/>
          </a:xfrm>
          <a:prstGeom prst="curvedConnector3">
            <a:avLst>
              <a:gd name="adj1" fmla="val -100808"/>
            </a:avLst>
          </a:prstGeom>
          <a:noFill/>
          <a:ln w="19050" cap="flat" cmpd="sng" algn="ctr">
            <a:solidFill>
              <a:srgbClr val="43B02A"/>
            </a:solidFill>
            <a:prstDash val="dash"/>
            <a:tailEnd type="triangle"/>
          </a:ln>
          <a:effectLst/>
        </p:spPr>
      </p:cxnSp>
      <p:cxnSp>
        <p:nvCxnSpPr>
          <p:cNvPr id="106" name="Connector: Curved 105">
            <a:extLst>
              <a:ext uri="{FF2B5EF4-FFF2-40B4-BE49-F238E27FC236}">
                <a16:creationId xmlns:a16="http://schemas.microsoft.com/office/drawing/2014/main" id="{1F22C159-D02C-D95C-FFED-AE6E137DEBCC}"/>
              </a:ext>
            </a:extLst>
          </p:cNvPr>
          <p:cNvCxnSpPr>
            <a:cxnSpLocks/>
            <a:stCxn id="67" idx="3"/>
            <a:endCxn id="91" idx="3"/>
          </p:cNvCxnSpPr>
          <p:nvPr/>
        </p:nvCxnSpPr>
        <p:spPr>
          <a:xfrm>
            <a:off x="6011885" y="1494693"/>
            <a:ext cx="2140515" cy="4396401"/>
          </a:xfrm>
          <a:prstGeom prst="curvedConnector3">
            <a:avLst>
              <a:gd name="adj1" fmla="val 228665"/>
            </a:avLst>
          </a:prstGeom>
          <a:noFill/>
          <a:ln w="19050" cap="flat" cmpd="sng" algn="ctr">
            <a:solidFill>
              <a:srgbClr val="43B02A"/>
            </a:solidFill>
            <a:prstDash val="dash"/>
            <a:tailEnd type="triangle"/>
          </a:ln>
          <a:effectLst/>
        </p:spPr>
      </p:cxnSp>
      <p:cxnSp>
        <p:nvCxnSpPr>
          <p:cNvPr id="107" name="Connector: Elbow 106">
            <a:extLst>
              <a:ext uri="{FF2B5EF4-FFF2-40B4-BE49-F238E27FC236}">
                <a16:creationId xmlns:a16="http://schemas.microsoft.com/office/drawing/2014/main" id="{C259E507-9CA7-721F-314C-B288F1285B5A}"/>
              </a:ext>
            </a:extLst>
          </p:cNvPr>
          <p:cNvCxnSpPr>
            <a:cxnSpLocks/>
            <a:stCxn id="68" idx="2"/>
            <a:endCxn id="89" idx="3"/>
          </p:cNvCxnSpPr>
          <p:nvPr/>
        </p:nvCxnSpPr>
        <p:spPr>
          <a:xfrm rot="16200000" flipH="1">
            <a:off x="7346109" y="4136026"/>
            <a:ext cx="2353075" cy="508134"/>
          </a:xfrm>
          <a:prstGeom prst="bentConnector4">
            <a:avLst>
              <a:gd name="adj1" fmla="val 16260"/>
              <a:gd name="adj2" fmla="val 180818"/>
            </a:avLst>
          </a:prstGeom>
          <a:noFill/>
          <a:ln w="25400" cap="flat" cmpd="sng" algn="ctr">
            <a:solidFill>
              <a:srgbClr val="D0D0CE"/>
            </a:solidFill>
            <a:prstDash val="solid"/>
            <a:tailEnd type="triangle"/>
          </a:ln>
          <a:effectLst>
            <a:outerShdw blurRad="40000" dist="20000" dir="5400000" rotWithShape="0">
              <a:srgbClr val="000000">
                <a:alpha val="38000"/>
              </a:srgbClr>
            </a:outerShdw>
          </a:effectLst>
        </p:spPr>
      </p:cxnSp>
      <p:cxnSp>
        <p:nvCxnSpPr>
          <p:cNvPr id="108" name="Connector: Elbow 107">
            <a:extLst>
              <a:ext uri="{FF2B5EF4-FFF2-40B4-BE49-F238E27FC236}">
                <a16:creationId xmlns:a16="http://schemas.microsoft.com/office/drawing/2014/main" id="{903A2127-1DB1-3E10-D964-821CAAB5EBC1}"/>
              </a:ext>
            </a:extLst>
          </p:cNvPr>
          <p:cNvCxnSpPr>
            <a:stCxn id="89" idx="1"/>
            <a:endCxn id="71" idx="3"/>
          </p:cNvCxnSpPr>
          <p:nvPr/>
        </p:nvCxnSpPr>
        <p:spPr>
          <a:xfrm rot="10800000">
            <a:off x="5926846" y="5070881"/>
            <a:ext cx="1829555" cy="495751"/>
          </a:xfrm>
          <a:prstGeom prst="bentConnector3">
            <a:avLst>
              <a:gd name="adj1" fmla="val 50000"/>
            </a:avLst>
          </a:prstGeom>
          <a:noFill/>
          <a:ln w="28575" cap="flat" cmpd="sng" algn="ctr">
            <a:solidFill>
              <a:srgbClr val="D0D0CE"/>
            </a:solidFill>
            <a:prstDash val="sysDash"/>
            <a:tailEnd type="triangle"/>
          </a:ln>
          <a:effectLst/>
        </p:spPr>
      </p:cxnSp>
      <p:cxnSp>
        <p:nvCxnSpPr>
          <p:cNvPr id="109" name="Connector: Elbow 108">
            <a:extLst>
              <a:ext uri="{FF2B5EF4-FFF2-40B4-BE49-F238E27FC236}">
                <a16:creationId xmlns:a16="http://schemas.microsoft.com/office/drawing/2014/main" id="{FC2CCCA6-29E7-E994-AD55-96CADE739A98}"/>
              </a:ext>
            </a:extLst>
          </p:cNvPr>
          <p:cNvCxnSpPr>
            <a:cxnSpLocks/>
            <a:stCxn id="91" idx="1"/>
            <a:endCxn id="97" idx="4"/>
          </p:cNvCxnSpPr>
          <p:nvPr/>
        </p:nvCxnSpPr>
        <p:spPr>
          <a:xfrm rot="10800000">
            <a:off x="5122746" y="5399178"/>
            <a:ext cx="2633654" cy="491916"/>
          </a:xfrm>
          <a:prstGeom prst="bentConnector2">
            <a:avLst/>
          </a:prstGeom>
          <a:noFill/>
          <a:ln w="25400" cap="flat" cmpd="sng" algn="ctr">
            <a:solidFill>
              <a:srgbClr val="007CB0"/>
            </a:solidFill>
            <a:prstDash val="solid"/>
            <a:tailEnd type="triangle"/>
          </a:ln>
          <a:effectLst>
            <a:outerShdw blurRad="40000" dist="20000" dir="5400000" rotWithShape="0">
              <a:srgbClr val="000000">
                <a:alpha val="38000"/>
              </a:srgbClr>
            </a:outerShdw>
          </a:effectLst>
        </p:spPr>
      </p:cxnSp>
      <p:cxnSp>
        <p:nvCxnSpPr>
          <p:cNvPr id="110" name="Connector: Curved 109">
            <a:extLst>
              <a:ext uri="{FF2B5EF4-FFF2-40B4-BE49-F238E27FC236}">
                <a16:creationId xmlns:a16="http://schemas.microsoft.com/office/drawing/2014/main" id="{FB0D313C-57BA-3BD1-C7D4-8398B1DED792}"/>
              </a:ext>
            </a:extLst>
          </p:cNvPr>
          <p:cNvCxnSpPr>
            <a:cxnSpLocks/>
            <a:stCxn id="68" idx="0"/>
            <a:endCxn id="73" idx="0"/>
          </p:cNvCxnSpPr>
          <p:nvPr/>
        </p:nvCxnSpPr>
        <p:spPr>
          <a:xfrm rot="16200000" flipH="1" flipV="1">
            <a:off x="5318922" y="-60546"/>
            <a:ext cx="150307" cy="5749006"/>
          </a:xfrm>
          <a:prstGeom prst="curvedConnector3">
            <a:avLst>
              <a:gd name="adj1" fmla="val -366463"/>
            </a:avLst>
          </a:prstGeom>
          <a:noFill/>
          <a:ln w="25400" cap="flat" cmpd="sng" algn="ctr">
            <a:solidFill>
              <a:srgbClr val="ED8B00"/>
            </a:solidFill>
            <a:prstDash val="solid"/>
            <a:tailEnd type="triangle"/>
          </a:ln>
          <a:effectLst>
            <a:outerShdw blurRad="40000" dist="20000" dir="5400000" rotWithShape="0">
              <a:srgbClr val="000000">
                <a:alpha val="38000"/>
              </a:srgbClr>
            </a:outerShdw>
          </a:effectLst>
        </p:spPr>
      </p:cxnSp>
      <p:sp>
        <p:nvSpPr>
          <p:cNvPr id="111" name="Rectangle 110">
            <a:extLst>
              <a:ext uri="{FF2B5EF4-FFF2-40B4-BE49-F238E27FC236}">
                <a16:creationId xmlns:a16="http://schemas.microsoft.com/office/drawing/2014/main" id="{9EDC19D7-BCD9-F054-EC89-F03440D061A4}"/>
              </a:ext>
            </a:extLst>
          </p:cNvPr>
          <p:cNvSpPr/>
          <p:nvPr/>
        </p:nvSpPr>
        <p:spPr bwMode="gray">
          <a:xfrm>
            <a:off x="593759" y="2889112"/>
            <a:ext cx="1090843" cy="269687"/>
          </a:xfrm>
          <a:prstGeom prst="rect">
            <a:avLst/>
          </a:prstGeom>
          <a:solidFill>
            <a:srgbClr val="53565A">
              <a:lumMod val="50000"/>
            </a:srgbClr>
          </a:solidFill>
          <a:ln w="3175" algn="ctr">
            <a:solidFill>
              <a:sysClr val="window" lastClr="FFFFFF">
                <a:lumMod val="50000"/>
              </a:sys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xxx</a:t>
            </a:r>
          </a:p>
        </p:txBody>
      </p:sp>
      <p:sp>
        <p:nvSpPr>
          <p:cNvPr id="112" name="Rectangle 111">
            <a:extLst>
              <a:ext uri="{FF2B5EF4-FFF2-40B4-BE49-F238E27FC236}">
                <a16:creationId xmlns:a16="http://schemas.microsoft.com/office/drawing/2014/main" id="{91F53CDE-128E-6164-501F-90F51EB7D15A}"/>
              </a:ext>
            </a:extLst>
          </p:cNvPr>
          <p:cNvSpPr/>
          <p:nvPr/>
        </p:nvSpPr>
        <p:spPr bwMode="gray">
          <a:xfrm>
            <a:off x="593759" y="3374756"/>
            <a:ext cx="1090843" cy="269687"/>
          </a:xfrm>
          <a:prstGeom prst="rect">
            <a:avLst/>
          </a:prstGeom>
          <a:solidFill>
            <a:srgbClr val="53565A">
              <a:lumMod val="50000"/>
            </a:srgbClr>
          </a:solidFill>
          <a:ln w="3175" algn="ctr">
            <a:solidFill>
              <a:sysClr val="window" lastClr="FFFFFF">
                <a:lumMod val="50000"/>
              </a:sys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xxx</a:t>
            </a:r>
          </a:p>
        </p:txBody>
      </p:sp>
      <p:sp>
        <p:nvSpPr>
          <p:cNvPr id="113" name="Rectangle 112">
            <a:extLst>
              <a:ext uri="{FF2B5EF4-FFF2-40B4-BE49-F238E27FC236}">
                <a16:creationId xmlns:a16="http://schemas.microsoft.com/office/drawing/2014/main" id="{14B3F792-9985-0C84-20CA-6FF83E22025F}"/>
              </a:ext>
            </a:extLst>
          </p:cNvPr>
          <p:cNvSpPr/>
          <p:nvPr/>
        </p:nvSpPr>
        <p:spPr bwMode="gray">
          <a:xfrm>
            <a:off x="593759" y="3860400"/>
            <a:ext cx="1090843" cy="269687"/>
          </a:xfrm>
          <a:prstGeom prst="rect">
            <a:avLst/>
          </a:prstGeom>
          <a:solidFill>
            <a:srgbClr val="53565A">
              <a:lumMod val="50000"/>
            </a:srgbClr>
          </a:solidFill>
          <a:ln w="3175" algn="ctr">
            <a:solidFill>
              <a:sysClr val="window" lastClr="FFFFFF">
                <a:lumMod val="50000"/>
              </a:sys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CONS.</a:t>
            </a:r>
          </a:p>
        </p:txBody>
      </p:sp>
      <p:sp>
        <p:nvSpPr>
          <p:cNvPr id="114" name="Arrow: Down 113">
            <a:extLst>
              <a:ext uri="{FF2B5EF4-FFF2-40B4-BE49-F238E27FC236}">
                <a16:creationId xmlns:a16="http://schemas.microsoft.com/office/drawing/2014/main" id="{EE5256CE-8A8F-0953-1332-C5A62778511A}"/>
              </a:ext>
            </a:extLst>
          </p:cNvPr>
          <p:cNvSpPr/>
          <p:nvPr/>
        </p:nvSpPr>
        <p:spPr bwMode="gray">
          <a:xfrm>
            <a:off x="874571" y="3190457"/>
            <a:ext cx="519820" cy="182880"/>
          </a:xfrm>
          <a:prstGeom prst="downArrow">
            <a:avLst/>
          </a:prstGeom>
          <a:solidFill>
            <a:sysClr val="window" lastClr="FFFFFF">
              <a:lumMod val="50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5" name="Arrow: Down 114">
            <a:extLst>
              <a:ext uri="{FF2B5EF4-FFF2-40B4-BE49-F238E27FC236}">
                <a16:creationId xmlns:a16="http://schemas.microsoft.com/office/drawing/2014/main" id="{5F8A1777-BEC5-3F06-6030-18F531349ACB}"/>
              </a:ext>
            </a:extLst>
          </p:cNvPr>
          <p:cNvSpPr/>
          <p:nvPr/>
        </p:nvSpPr>
        <p:spPr bwMode="gray">
          <a:xfrm>
            <a:off x="874571" y="3653379"/>
            <a:ext cx="519820" cy="182880"/>
          </a:xfrm>
          <a:prstGeom prst="downArrow">
            <a:avLst/>
          </a:prstGeom>
          <a:solidFill>
            <a:sysClr val="window" lastClr="FFFFFF">
              <a:lumMod val="50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5E0881D3-BE59-30FC-BFAB-906A91CCC1A4}"/>
              </a:ext>
            </a:extLst>
          </p:cNvPr>
          <p:cNvSpPr txBox="1"/>
          <p:nvPr/>
        </p:nvSpPr>
        <p:spPr>
          <a:xfrm>
            <a:off x="8063521" y="5139552"/>
            <a:ext cx="41357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0" cap="none" spc="0" normalizeH="0" baseline="0" noProof="0">
                <a:ln>
                  <a:noFill/>
                </a:ln>
                <a:solidFill>
                  <a:srgbClr val="007CB0"/>
                </a:solidFill>
                <a:effectLst/>
                <a:uLnTx/>
                <a:uFillTx/>
                <a:latin typeface="Calibri" panose="020F0502020204030204"/>
                <a:ea typeface="+mn-ea"/>
                <a:cs typeface="+mn-cs"/>
              </a:rPr>
              <a:t>Fiori</a:t>
            </a:r>
          </a:p>
        </p:txBody>
      </p:sp>
      <p:sp>
        <p:nvSpPr>
          <p:cNvPr id="2" name="Dodecagon 1">
            <a:extLst>
              <a:ext uri="{FF2B5EF4-FFF2-40B4-BE49-F238E27FC236}">
                <a16:creationId xmlns:a16="http://schemas.microsoft.com/office/drawing/2014/main" id="{44FFF031-75D3-2D67-7D96-D26685487473}"/>
              </a:ext>
            </a:extLst>
          </p:cNvPr>
          <p:cNvSpPr/>
          <p:nvPr/>
        </p:nvSpPr>
        <p:spPr>
          <a:xfrm>
            <a:off x="5914453" y="2753830"/>
            <a:ext cx="363894" cy="335902"/>
          </a:xfrm>
          <a:prstGeom prst="dodecagon">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panose="020F0502020204030204"/>
                <a:ea typeface="+mn-ea"/>
                <a:cs typeface="+mn-cs"/>
              </a:rPr>
              <a:t>1</a:t>
            </a:r>
          </a:p>
        </p:txBody>
      </p:sp>
      <p:sp>
        <p:nvSpPr>
          <p:cNvPr id="6" name="Dodecagon 5">
            <a:extLst>
              <a:ext uri="{FF2B5EF4-FFF2-40B4-BE49-F238E27FC236}">
                <a16:creationId xmlns:a16="http://schemas.microsoft.com/office/drawing/2014/main" id="{FA74FD2F-8516-CBC2-D868-EAE536728FE8}"/>
              </a:ext>
            </a:extLst>
          </p:cNvPr>
          <p:cNvSpPr/>
          <p:nvPr/>
        </p:nvSpPr>
        <p:spPr>
          <a:xfrm>
            <a:off x="8396293" y="2449724"/>
            <a:ext cx="363894" cy="335902"/>
          </a:xfrm>
          <a:prstGeom prst="dodecagon">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panose="020F0502020204030204"/>
                <a:ea typeface="+mn-ea"/>
                <a:cs typeface="+mn-cs"/>
              </a:rPr>
              <a:t>2</a:t>
            </a:r>
          </a:p>
        </p:txBody>
      </p:sp>
      <p:sp>
        <p:nvSpPr>
          <p:cNvPr id="7" name="Dodecagon 6">
            <a:extLst>
              <a:ext uri="{FF2B5EF4-FFF2-40B4-BE49-F238E27FC236}">
                <a16:creationId xmlns:a16="http://schemas.microsoft.com/office/drawing/2014/main" id="{BE0AB5C5-3502-DEA1-D711-56D8CE2D1B19}"/>
              </a:ext>
            </a:extLst>
          </p:cNvPr>
          <p:cNvSpPr/>
          <p:nvPr/>
        </p:nvSpPr>
        <p:spPr>
          <a:xfrm>
            <a:off x="1851785" y="2650211"/>
            <a:ext cx="749314" cy="335902"/>
          </a:xfrm>
          <a:prstGeom prst="dodecagon">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panose="020F0502020204030204"/>
                <a:ea typeface="+mn-ea"/>
                <a:cs typeface="+mn-cs"/>
              </a:rPr>
              <a:t>3a</a:t>
            </a:r>
          </a:p>
        </p:txBody>
      </p:sp>
      <p:sp>
        <p:nvSpPr>
          <p:cNvPr id="8" name="Dodecagon 7">
            <a:extLst>
              <a:ext uri="{FF2B5EF4-FFF2-40B4-BE49-F238E27FC236}">
                <a16:creationId xmlns:a16="http://schemas.microsoft.com/office/drawing/2014/main" id="{7532C365-FD04-A067-885D-BFC4F6F522A3}"/>
              </a:ext>
            </a:extLst>
          </p:cNvPr>
          <p:cNvSpPr/>
          <p:nvPr/>
        </p:nvSpPr>
        <p:spPr>
          <a:xfrm>
            <a:off x="8859611" y="5320729"/>
            <a:ext cx="749314" cy="335902"/>
          </a:xfrm>
          <a:prstGeom prst="dodecagon">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panose="020F0502020204030204"/>
                <a:ea typeface="+mn-ea"/>
                <a:cs typeface="+mn-cs"/>
              </a:rPr>
              <a:t>3b</a:t>
            </a:r>
          </a:p>
        </p:txBody>
      </p:sp>
      <p:sp>
        <p:nvSpPr>
          <p:cNvPr id="9" name="Dodecagon 8">
            <a:extLst>
              <a:ext uri="{FF2B5EF4-FFF2-40B4-BE49-F238E27FC236}">
                <a16:creationId xmlns:a16="http://schemas.microsoft.com/office/drawing/2014/main" id="{6AAC7D5B-5BDC-4D98-AAF9-8526978566FF}"/>
              </a:ext>
            </a:extLst>
          </p:cNvPr>
          <p:cNvSpPr/>
          <p:nvPr/>
        </p:nvSpPr>
        <p:spPr>
          <a:xfrm>
            <a:off x="4871035" y="4427087"/>
            <a:ext cx="749314" cy="335902"/>
          </a:xfrm>
          <a:prstGeom prst="dodecagon">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panose="020F0502020204030204"/>
                <a:ea typeface="+mn-ea"/>
                <a:cs typeface="+mn-cs"/>
              </a:rPr>
              <a:t>4</a:t>
            </a:r>
          </a:p>
        </p:txBody>
      </p:sp>
      <p:sp>
        <p:nvSpPr>
          <p:cNvPr id="10" name="Rectangle: Rounded Corners 9">
            <a:extLst>
              <a:ext uri="{FF2B5EF4-FFF2-40B4-BE49-F238E27FC236}">
                <a16:creationId xmlns:a16="http://schemas.microsoft.com/office/drawing/2014/main" id="{FF1091D4-5376-3FE0-B898-FF4CC8B86271}"/>
              </a:ext>
            </a:extLst>
          </p:cNvPr>
          <p:cNvSpPr/>
          <p:nvPr/>
        </p:nvSpPr>
        <p:spPr bwMode="gray">
          <a:xfrm>
            <a:off x="4051439" y="6281399"/>
            <a:ext cx="1020313" cy="180000"/>
          </a:xfrm>
          <a:prstGeom prst="roundRect">
            <a:avLst/>
          </a:prstGeom>
          <a:solidFill>
            <a:srgbClr val="53565A">
              <a:lumMod val="50000"/>
            </a:srgbClr>
          </a:solidFill>
          <a:ln w="19050" algn="ctr">
            <a:noFill/>
            <a:miter lim="800000"/>
            <a:headEnd/>
            <a:tailEnd/>
          </a:ln>
          <a:effectLst>
            <a:glow rad="63500">
              <a:srgbClr val="53565A">
                <a:lumMod val="20000"/>
                <a:lumOff val="80000"/>
                <a:alpha val="40000"/>
              </a:srgbClr>
            </a:glo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AAA</a:t>
            </a:r>
          </a:p>
        </p:txBody>
      </p:sp>
      <p:sp>
        <p:nvSpPr>
          <p:cNvPr id="11" name="Rectangle: Rounded Corners 10">
            <a:extLst>
              <a:ext uri="{FF2B5EF4-FFF2-40B4-BE49-F238E27FC236}">
                <a16:creationId xmlns:a16="http://schemas.microsoft.com/office/drawing/2014/main" id="{E252791A-108E-6A61-FA4A-2A31930B931B}"/>
              </a:ext>
            </a:extLst>
          </p:cNvPr>
          <p:cNvSpPr/>
          <p:nvPr/>
        </p:nvSpPr>
        <p:spPr bwMode="gray">
          <a:xfrm>
            <a:off x="5430971" y="6281399"/>
            <a:ext cx="1020313" cy="180000"/>
          </a:xfrm>
          <a:prstGeom prst="roundRect">
            <a:avLst/>
          </a:prstGeom>
          <a:solidFill>
            <a:srgbClr val="53565A">
              <a:lumMod val="50000"/>
            </a:srgbClr>
          </a:solidFill>
          <a:ln w="19050" algn="ctr">
            <a:noFill/>
            <a:miter lim="800000"/>
            <a:headEnd/>
            <a:tailEnd/>
          </a:ln>
          <a:effectLst>
            <a:glow rad="63500">
              <a:srgbClr val="53565A">
                <a:lumMod val="20000"/>
                <a:lumOff val="80000"/>
                <a:alpha val="40000"/>
              </a:srgbClr>
            </a:glo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err="1">
                <a:ln>
                  <a:noFill/>
                </a:ln>
                <a:solidFill>
                  <a:prstClr val="white"/>
                </a:solidFill>
                <a:effectLst/>
                <a:uLnTx/>
                <a:uFillTx/>
                <a:latin typeface="Calibri" panose="020F0502020204030204"/>
                <a:ea typeface="+mn-ea"/>
                <a:cs typeface="+mn-cs"/>
              </a:rPr>
              <a:t>Intelligenc</a:t>
            </a:r>
            <a:endParaRPr kumimoji="0" lang="en-US" sz="12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2EBFD97D-E377-1331-85DC-C0D9E7371116}"/>
              </a:ext>
            </a:extLst>
          </p:cNvPr>
          <p:cNvSpPr/>
          <p:nvPr/>
        </p:nvSpPr>
        <p:spPr bwMode="gray">
          <a:xfrm>
            <a:off x="2821744" y="6127216"/>
            <a:ext cx="1020313" cy="244183"/>
          </a:xfrm>
          <a:prstGeom prst="roundRect">
            <a:avLst/>
          </a:prstGeom>
          <a:solidFill>
            <a:srgbClr val="53565A">
              <a:lumMod val="50000"/>
            </a:srgbClr>
          </a:solidFill>
          <a:ln w="19050" algn="ctr">
            <a:noFill/>
            <a:miter lim="800000"/>
            <a:headEnd/>
            <a:tailEnd/>
          </a:ln>
          <a:effectLst>
            <a:glow rad="63500">
              <a:srgbClr val="53565A">
                <a:lumMod val="20000"/>
                <a:lumOff val="80000"/>
                <a:alpha val="40000"/>
              </a:srgbClr>
            </a:glo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Autonomous </a:t>
            </a:r>
            <a:r>
              <a:rPr kumimoji="0" lang="en-US" sz="1200" b="1" i="0" u="none" strike="noStrike" kern="0" cap="none" spc="0" normalizeH="0" baseline="0" noProof="0" err="1">
                <a:ln>
                  <a:noFill/>
                </a:ln>
                <a:solidFill>
                  <a:prstClr val="white"/>
                </a:solidFill>
                <a:effectLst/>
                <a:uLnTx/>
                <a:uFillTx/>
                <a:latin typeface="Calibri" panose="020F0502020204030204"/>
                <a:ea typeface="+mn-ea"/>
                <a:cs typeface="+mn-cs"/>
              </a:rPr>
              <a:t>DAta</a:t>
            </a:r>
            <a:endParaRPr kumimoji="0" lang="en-US" sz="12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Dodecagon 12">
            <a:extLst>
              <a:ext uri="{FF2B5EF4-FFF2-40B4-BE49-F238E27FC236}">
                <a16:creationId xmlns:a16="http://schemas.microsoft.com/office/drawing/2014/main" id="{F69A5045-F348-5A62-4DEA-88EDC81B5DAE}"/>
              </a:ext>
            </a:extLst>
          </p:cNvPr>
          <p:cNvSpPr/>
          <p:nvPr/>
        </p:nvSpPr>
        <p:spPr>
          <a:xfrm>
            <a:off x="3986380" y="5836897"/>
            <a:ext cx="749314" cy="335902"/>
          </a:xfrm>
          <a:prstGeom prst="dodecagon">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panose="020F0502020204030204"/>
                <a:ea typeface="+mn-ea"/>
                <a:cs typeface="+mn-cs"/>
              </a:rPr>
              <a:t>5</a:t>
            </a:r>
          </a:p>
        </p:txBody>
      </p:sp>
    </p:spTree>
    <p:extLst>
      <p:ext uri="{BB962C8B-B14F-4D97-AF65-F5344CB8AC3E}">
        <p14:creationId xmlns:p14="http://schemas.microsoft.com/office/powerpoint/2010/main" val="310316972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D8D558-90D6-2F37-9368-E05D34CFAE5F}"/>
              </a:ext>
            </a:extLst>
          </p:cNvPr>
          <p:cNvSpPr>
            <a:spLocks noGrp="1"/>
          </p:cNvSpPr>
          <p:nvPr>
            <p:ph type="body" sz="quarter" idx="13"/>
          </p:nvPr>
        </p:nvSpPr>
        <p:spPr>
          <a:xfrm>
            <a:off x="457200" y="1512675"/>
            <a:ext cx="11274552" cy="5659650"/>
          </a:xfrm>
        </p:spPr>
        <p:txBody>
          <a:bodyPr/>
          <a:lstStyle/>
          <a:p>
            <a:pPr marL="285750" indent="-285750">
              <a:buFontTx/>
              <a:buChar char="-"/>
            </a:pPr>
            <a:r>
              <a:rPr lang="de-DE" err="1"/>
              <a:t>Landign</a:t>
            </a:r>
            <a:r>
              <a:rPr lang="de-DE"/>
              <a:t> Pages Cora; AAA, </a:t>
            </a:r>
            <a:r>
              <a:rPr lang="de-DE" err="1"/>
              <a:t>Autonomous</a:t>
            </a:r>
            <a:r>
              <a:rPr lang="de-DE"/>
              <a:t> Data, </a:t>
            </a:r>
            <a:r>
              <a:rPr lang="de-DE" err="1"/>
              <a:t>Intelligence</a:t>
            </a:r>
            <a:r>
              <a:rPr lang="de-DE"/>
              <a:t> </a:t>
            </a:r>
            <a:r>
              <a:rPr lang="de-DE" err="1"/>
              <a:t>Good</a:t>
            </a:r>
            <a:r>
              <a:rPr lang="de-DE"/>
              <a:t> </a:t>
            </a:r>
            <a:r>
              <a:rPr lang="de-DE" err="1"/>
              <a:t>receipt</a:t>
            </a:r>
            <a:r>
              <a:rPr lang="de-DE"/>
              <a:t> </a:t>
            </a:r>
            <a:r>
              <a:rPr lang="de-DE">
                <a:sym typeface="Wingdings" panose="05000000000000000000" pitchFamily="2" charset="2"/>
              </a:rPr>
              <a:t> Ralf</a:t>
            </a:r>
          </a:p>
          <a:p>
            <a:pPr marL="285750" indent="-285750">
              <a:buFontTx/>
              <a:buChar char="-"/>
            </a:pPr>
            <a:endParaRPr lang="de-DE"/>
          </a:p>
          <a:p>
            <a:pPr marL="285750" indent="-285750">
              <a:buFontTx/>
              <a:buChar char="-"/>
            </a:pPr>
            <a:r>
              <a:rPr lang="de-DE"/>
              <a:t>Design </a:t>
            </a:r>
            <a:r>
              <a:rPr lang="de-DE" err="1"/>
              <a:t>of</a:t>
            </a:r>
            <a:r>
              <a:rPr lang="de-DE"/>
              <a:t> </a:t>
            </a:r>
            <a:r>
              <a:rPr lang="de-DE" err="1"/>
              <a:t>the</a:t>
            </a:r>
            <a:r>
              <a:rPr lang="de-DE"/>
              <a:t> </a:t>
            </a:r>
            <a:r>
              <a:rPr lang="de-DE" err="1"/>
              <a:t>pages</a:t>
            </a:r>
            <a:r>
              <a:rPr lang="de-DE"/>
              <a:t> </a:t>
            </a:r>
            <a:r>
              <a:rPr lang="de-DE" err="1"/>
              <a:t>until</a:t>
            </a:r>
            <a:r>
              <a:rPr lang="de-DE"/>
              <a:t>: end </a:t>
            </a:r>
            <a:r>
              <a:rPr lang="de-DE" err="1"/>
              <a:t>of</a:t>
            </a:r>
            <a:r>
              <a:rPr lang="de-DE"/>
              <a:t> 10.5</a:t>
            </a:r>
          </a:p>
          <a:p>
            <a:pPr marL="971550" lvl="1" indent="-285750">
              <a:buFontTx/>
              <a:buChar char="-"/>
            </a:pPr>
            <a:r>
              <a:rPr lang="de-DE"/>
              <a:t>First Version: 7.5</a:t>
            </a:r>
          </a:p>
          <a:p>
            <a:pPr marL="971550" lvl="1" indent="-285750">
              <a:buFontTx/>
              <a:buChar char="-"/>
            </a:pPr>
            <a:r>
              <a:rPr lang="de-DE"/>
              <a:t>Final Version:9.5</a:t>
            </a:r>
          </a:p>
          <a:p>
            <a:pPr marL="971550" lvl="1" indent="-285750">
              <a:buFontTx/>
              <a:buChar char="-"/>
            </a:pPr>
            <a:r>
              <a:rPr lang="de-DE"/>
              <a:t>Fiori 13.5</a:t>
            </a:r>
          </a:p>
          <a:p>
            <a:pPr marL="971550" lvl="1" indent="-285750">
              <a:buFontTx/>
              <a:buChar char="-"/>
            </a:pPr>
            <a:r>
              <a:rPr lang="de-DE" err="1"/>
              <a:t>Heatmap</a:t>
            </a:r>
            <a:r>
              <a:rPr lang="de-DE"/>
              <a:t> </a:t>
            </a:r>
            <a:r>
              <a:rPr lang="de-DE" err="1"/>
              <a:t>full</a:t>
            </a:r>
            <a:r>
              <a:rPr lang="de-DE"/>
              <a:t> </a:t>
            </a:r>
            <a:r>
              <a:rPr lang="de-DE" err="1"/>
              <a:t>functions</a:t>
            </a:r>
            <a:r>
              <a:rPr lang="de-DE"/>
              <a:t> 13.5</a:t>
            </a:r>
          </a:p>
        </p:txBody>
      </p:sp>
      <p:sp>
        <p:nvSpPr>
          <p:cNvPr id="3" name="Title 2">
            <a:extLst>
              <a:ext uri="{FF2B5EF4-FFF2-40B4-BE49-F238E27FC236}">
                <a16:creationId xmlns:a16="http://schemas.microsoft.com/office/drawing/2014/main" id="{36155CD0-F73A-55CB-003F-E94AEB5D2633}"/>
              </a:ext>
            </a:extLst>
          </p:cNvPr>
          <p:cNvSpPr>
            <a:spLocks noGrp="1"/>
          </p:cNvSpPr>
          <p:nvPr>
            <p:ph type="title"/>
          </p:nvPr>
        </p:nvSpPr>
        <p:spPr>
          <a:xfrm>
            <a:off x="457200" y="172350"/>
            <a:ext cx="11274552" cy="342000"/>
          </a:xfrm>
        </p:spPr>
        <p:txBody>
          <a:bodyPr/>
          <a:lstStyle/>
          <a:p>
            <a:r>
              <a:rPr lang="de-DE" err="1"/>
              <a:t>TImeline</a:t>
            </a:r>
            <a:endParaRPr lang="de-DE"/>
          </a:p>
        </p:txBody>
      </p:sp>
    </p:spTree>
    <p:extLst>
      <p:ext uri="{BB962C8B-B14F-4D97-AF65-F5344CB8AC3E}">
        <p14:creationId xmlns:p14="http://schemas.microsoft.com/office/powerpoint/2010/main" val="334763155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6EF691-AFDE-A715-B280-F65C84A2F826}"/>
              </a:ext>
            </a:extLst>
          </p:cNvPr>
          <p:cNvSpPr>
            <a:spLocks noGrp="1"/>
          </p:cNvSpPr>
          <p:nvPr>
            <p:ph type="body" sz="quarter" idx="13"/>
          </p:nvPr>
        </p:nvSpPr>
        <p:spPr/>
        <p:txBody>
          <a:bodyPr/>
          <a:lstStyle/>
          <a:p>
            <a:endParaRPr lang="de-DE"/>
          </a:p>
        </p:txBody>
      </p:sp>
      <p:sp>
        <p:nvSpPr>
          <p:cNvPr id="3" name="Title 2">
            <a:extLst>
              <a:ext uri="{FF2B5EF4-FFF2-40B4-BE49-F238E27FC236}">
                <a16:creationId xmlns:a16="http://schemas.microsoft.com/office/drawing/2014/main" id="{38A772DE-F412-62EE-E846-5326F39FD074}"/>
              </a:ext>
            </a:extLst>
          </p:cNvPr>
          <p:cNvSpPr>
            <a:spLocks noGrp="1"/>
          </p:cNvSpPr>
          <p:nvPr>
            <p:ph type="title"/>
          </p:nvPr>
        </p:nvSpPr>
        <p:spPr/>
        <p:txBody>
          <a:bodyPr/>
          <a:lstStyle/>
          <a:p>
            <a:endParaRPr lang="de-DE"/>
          </a:p>
        </p:txBody>
      </p:sp>
      <p:pic>
        <p:nvPicPr>
          <p:cNvPr id="4" name="Picture 3">
            <a:extLst>
              <a:ext uri="{FF2B5EF4-FFF2-40B4-BE49-F238E27FC236}">
                <a16:creationId xmlns:a16="http://schemas.microsoft.com/office/drawing/2014/main" id="{3724E6F0-6074-9C0D-3C40-A1C67539ED5E}"/>
              </a:ext>
            </a:extLst>
          </p:cNvPr>
          <p:cNvPicPr>
            <a:picLocks noChangeAspect="1"/>
          </p:cNvPicPr>
          <p:nvPr/>
        </p:nvPicPr>
        <p:blipFill>
          <a:blip r:embed="rId2"/>
          <a:stretch>
            <a:fillRect/>
          </a:stretch>
        </p:blipFill>
        <p:spPr>
          <a:xfrm>
            <a:off x="4151795" y="1251633"/>
            <a:ext cx="7288156" cy="4922367"/>
          </a:xfrm>
          <a:prstGeom prst="rect">
            <a:avLst/>
          </a:prstGeom>
        </p:spPr>
      </p:pic>
    </p:spTree>
    <p:extLst>
      <p:ext uri="{BB962C8B-B14F-4D97-AF65-F5344CB8AC3E}">
        <p14:creationId xmlns:p14="http://schemas.microsoft.com/office/powerpoint/2010/main" val="15618276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C0BDDB-7074-170D-78AD-0B1B52E4469B}"/>
            </a:ext>
          </a:extLst>
        </p:cNvPr>
        <p:cNvGrpSpPr/>
        <p:nvPr/>
      </p:nvGrpSpPr>
      <p:grpSpPr>
        <a:xfrm>
          <a:off x="0" y="0"/>
          <a:ext cx="0" cy="0"/>
          <a:chOff x="0" y="0"/>
          <a:chExt cx="0" cy="0"/>
        </a:xfrm>
      </p:grpSpPr>
      <p:sp>
        <p:nvSpPr>
          <p:cNvPr id="3111" name="Rectangle 3110">
            <a:extLst>
              <a:ext uri="{FF2B5EF4-FFF2-40B4-BE49-F238E27FC236}">
                <a16:creationId xmlns:a16="http://schemas.microsoft.com/office/drawing/2014/main" id="{C56E8E13-CC51-21D2-283C-10653F32646C}"/>
              </a:ext>
            </a:extLst>
          </p:cNvPr>
          <p:cNvSpPr/>
          <p:nvPr/>
        </p:nvSpPr>
        <p:spPr>
          <a:xfrm>
            <a:off x="0" y="-44201"/>
            <a:ext cx="12192000" cy="7714016"/>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35" name="Picture 1034">
            <a:extLst>
              <a:ext uri="{FF2B5EF4-FFF2-40B4-BE49-F238E27FC236}">
                <a16:creationId xmlns:a16="http://schemas.microsoft.com/office/drawing/2014/main" id="{61047C59-D148-2FAF-EB64-9E94C8D73093}"/>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914161" y="2043358"/>
            <a:ext cx="5132971" cy="2662301"/>
          </a:xfrm>
          <a:prstGeom prst="rect">
            <a:avLst/>
          </a:prstGeom>
        </p:spPr>
      </p:pic>
      <p:sp>
        <p:nvSpPr>
          <p:cNvPr id="2" name="Rectangle 1">
            <a:extLst>
              <a:ext uri="{FF2B5EF4-FFF2-40B4-BE49-F238E27FC236}">
                <a16:creationId xmlns:a16="http://schemas.microsoft.com/office/drawing/2014/main" id="{4C8D78FF-310E-D6E4-8FD4-1C73D67BDE29}"/>
              </a:ext>
            </a:extLst>
          </p:cNvPr>
          <p:cNvSpPr/>
          <p:nvPr/>
        </p:nvSpPr>
        <p:spPr>
          <a:xfrm>
            <a:off x="-1" y="1308272"/>
            <a:ext cx="11915246" cy="462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roup 23">
            <a:extLst>
              <a:ext uri="{FF2B5EF4-FFF2-40B4-BE49-F238E27FC236}">
                <a16:creationId xmlns:a16="http://schemas.microsoft.com/office/drawing/2014/main" id="{D304E4FB-D1A8-CBC8-2E4B-D0651A3E9860}"/>
              </a:ext>
            </a:extLst>
          </p:cNvPr>
          <p:cNvGrpSpPr/>
          <p:nvPr/>
        </p:nvGrpSpPr>
        <p:grpSpPr>
          <a:xfrm>
            <a:off x="-1" y="-30086"/>
            <a:ext cx="12192005" cy="2707206"/>
            <a:chOff x="712048" y="4356203"/>
            <a:chExt cx="21774405" cy="2311104"/>
          </a:xfrm>
        </p:grpSpPr>
        <p:sp>
          <p:nvSpPr>
            <p:cNvPr id="1031" name="Rectangle: Rounded Corners 1030">
              <a:extLst>
                <a:ext uri="{FF2B5EF4-FFF2-40B4-BE49-F238E27FC236}">
                  <a16:creationId xmlns:a16="http://schemas.microsoft.com/office/drawing/2014/main" id="{270D050A-DC11-4D76-4E3C-BBB2FCC454DB}"/>
                </a:ext>
              </a:extLst>
            </p:cNvPr>
            <p:cNvSpPr/>
            <p:nvPr/>
          </p:nvSpPr>
          <p:spPr>
            <a:xfrm>
              <a:off x="712048"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600" b="1">
                  <a:solidFill>
                    <a:srgbClr val="FFFFFF"/>
                  </a:solidFill>
                </a:rPr>
                <a:t>Agents</a:t>
              </a:r>
              <a:endParaRPr lang="en-US" sz="1400">
                <a:solidFill>
                  <a:srgbClr val="FFFFFF"/>
                </a:solidFill>
              </a:endParaRPr>
            </a:p>
            <a:p>
              <a:pPr algn="ctr">
                <a:spcAft>
                  <a:spcPts val="600"/>
                </a:spcAft>
              </a:pPr>
              <a:r>
                <a:rPr lang="en-US" sz="1400">
                  <a:solidFill>
                    <a:srgbClr val="FFFFFF"/>
                  </a:solidFill>
                </a:rPr>
                <a:t>Description of all the available agents</a:t>
              </a:r>
              <a:endParaRPr lang="en-US" sz="1400"/>
            </a:p>
          </p:txBody>
        </p:sp>
        <p:sp>
          <p:nvSpPr>
            <p:cNvPr id="1033" name="Rectangle: Rounded Corners 1032">
              <a:extLst>
                <a:ext uri="{FF2B5EF4-FFF2-40B4-BE49-F238E27FC236}">
                  <a16:creationId xmlns:a16="http://schemas.microsoft.com/office/drawing/2014/main" id="{83FE1623-BA33-A25F-E33E-78A7D4E86012}"/>
                </a:ext>
              </a:extLst>
            </p:cNvPr>
            <p:cNvSpPr/>
            <p:nvPr/>
          </p:nvSpPr>
          <p:spPr>
            <a:xfrm>
              <a:off x="4356189"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600" b="1">
                  <a:solidFill>
                    <a:schemeClr val="bg1"/>
                  </a:solidFill>
                </a:rPr>
                <a:t>Process Map</a:t>
              </a:r>
            </a:p>
            <a:p>
              <a:pPr algn="ctr">
                <a:spcAft>
                  <a:spcPts val="600"/>
                </a:spcAft>
              </a:pPr>
              <a:r>
                <a:rPr lang="en-US" sz="1400">
                  <a:solidFill>
                    <a:schemeClr val="bg1"/>
                  </a:solidFill>
                </a:rPr>
                <a:t>Learn how agents could help you</a:t>
              </a:r>
            </a:p>
          </p:txBody>
        </p:sp>
        <p:sp>
          <p:nvSpPr>
            <p:cNvPr id="1034" name="Rectangle: Rounded Corners 1033">
              <a:extLst>
                <a:ext uri="{FF2B5EF4-FFF2-40B4-BE49-F238E27FC236}">
                  <a16:creationId xmlns:a16="http://schemas.microsoft.com/office/drawing/2014/main" id="{8EF58093-3CCF-B584-BE3B-13FB24BC05B1}"/>
                </a:ext>
              </a:extLst>
            </p:cNvPr>
            <p:cNvSpPr/>
            <p:nvPr/>
          </p:nvSpPr>
          <p:spPr>
            <a:xfrm>
              <a:off x="8000330"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400">
                  <a:solidFill>
                    <a:schemeClr val="bg1"/>
                  </a:solidFill>
                </a:rPr>
                <a:t>Agent </a:t>
              </a:r>
              <a:r>
                <a:rPr lang="en-US" sz="1600" b="1">
                  <a:solidFill>
                    <a:schemeClr val="bg1"/>
                  </a:solidFill>
                </a:rPr>
                <a:t>Launchpad</a:t>
              </a:r>
              <a:endParaRPr lang="en-US" sz="1400" b="1">
                <a:solidFill>
                  <a:schemeClr val="bg1"/>
                </a:solidFill>
              </a:endParaRPr>
            </a:p>
            <a:p>
              <a:pPr algn="ctr">
                <a:spcAft>
                  <a:spcPts val="600"/>
                </a:spcAft>
              </a:pPr>
              <a:r>
                <a:rPr lang="en-US" sz="1600">
                  <a:solidFill>
                    <a:schemeClr val="bg1"/>
                  </a:solidFill>
                  <a:ea typeface="Open Sans"/>
                  <a:cs typeface="Open Sans"/>
                </a:rPr>
                <a:t>Use your agents</a:t>
              </a:r>
              <a:endParaRPr lang="en-US" sz="1800">
                <a:solidFill>
                  <a:schemeClr val="bg1"/>
                </a:solidFill>
                <a:ea typeface="Open Sans"/>
                <a:cs typeface="Open Sans"/>
              </a:endParaRPr>
            </a:p>
            <a:p>
              <a:pPr algn="ctr">
                <a:spcAft>
                  <a:spcPts val="600"/>
                </a:spcAft>
              </a:pPr>
              <a:endParaRPr lang="en-US" sz="1600">
                <a:solidFill>
                  <a:srgbClr val="FF0000"/>
                </a:solidFill>
                <a:highlight>
                  <a:srgbClr val="FFFF00"/>
                </a:highlight>
                <a:ea typeface="Open Sans"/>
                <a:cs typeface="Open Sans"/>
              </a:endParaRPr>
            </a:p>
          </p:txBody>
        </p:sp>
        <p:sp>
          <p:nvSpPr>
            <p:cNvPr id="1037" name="Rectangle: Rounded Corners 1036">
              <a:extLst>
                <a:ext uri="{FF2B5EF4-FFF2-40B4-BE49-F238E27FC236}">
                  <a16:creationId xmlns:a16="http://schemas.microsoft.com/office/drawing/2014/main" id="{AEBDDF8C-DA2C-86EB-D9D9-42CBE0740831}"/>
                </a:ext>
              </a:extLst>
            </p:cNvPr>
            <p:cNvSpPr/>
            <p:nvPr/>
          </p:nvSpPr>
          <p:spPr>
            <a:xfrm>
              <a:off x="15288612"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600" b="1">
                  <a:solidFill>
                    <a:schemeClr val="bg1"/>
                  </a:solidFill>
                </a:rPr>
                <a:t>Joule</a:t>
              </a:r>
            </a:p>
            <a:p>
              <a:pPr algn="ctr">
                <a:spcAft>
                  <a:spcPts val="600"/>
                </a:spcAft>
              </a:pPr>
              <a:r>
                <a:rPr lang="en-US" sz="1400">
                  <a:solidFill>
                    <a:schemeClr val="bg1"/>
                  </a:solidFill>
                </a:rPr>
                <a:t>BAP &amp; Joule are working together</a:t>
              </a:r>
            </a:p>
          </p:txBody>
        </p:sp>
        <p:sp>
          <p:nvSpPr>
            <p:cNvPr id="1038" name="Rectangle: Rounded Corners 1037">
              <a:extLst>
                <a:ext uri="{FF2B5EF4-FFF2-40B4-BE49-F238E27FC236}">
                  <a16:creationId xmlns:a16="http://schemas.microsoft.com/office/drawing/2014/main" id="{DDE530DF-1C07-FB44-F8B2-9A206199F72C}"/>
                </a:ext>
              </a:extLst>
            </p:cNvPr>
            <p:cNvSpPr/>
            <p:nvPr/>
          </p:nvSpPr>
          <p:spPr>
            <a:xfrm>
              <a:off x="18932754"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600" b="1">
                  <a:solidFill>
                    <a:schemeClr val="bg1"/>
                  </a:solidFill>
                </a:rPr>
                <a:t>Zora</a:t>
              </a:r>
            </a:p>
            <a:p>
              <a:pPr algn="ctr">
                <a:spcAft>
                  <a:spcPts val="600"/>
                </a:spcAft>
              </a:pPr>
              <a:r>
                <a:rPr lang="en-US" sz="1400">
                  <a:solidFill>
                    <a:schemeClr val="bg1"/>
                  </a:solidFill>
                </a:rPr>
                <a:t>Learn about Deloitte Zora</a:t>
              </a:r>
            </a:p>
          </p:txBody>
        </p:sp>
        <p:sp>
          <p:nvSpPr>
            <p:cNvPr id="10" name="Rectangle: Rounded Corners 1037">
              <a:extLst>
                <a:ext uri="{FF2B5EF4-FFF2-40B4-BE49-F238E27FC236}">
                  <a16:creationId xmlns:a16="http://schemas.microsoft.com/office/drawing/2014/main" id="{5F5543D3-4AB5-3E35-9944-E3ABC614A61B}"/>
                </a:ext>
              </a:extLst>
            </p:cNvPr>
            <p:cNvSpPr/>
            <p:nvPr/>
          </p:nvSpPr>
          <p:spPr>
            <a:xfrm>
              <a:off x="11644471" y="4356203"/>
              <a:ext cx="3553699" cy="23111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620000" rIns="36000" bIns="36000" rtlCol="0" anchor="t"/>
            <a:lstStyle/>
            <a:p>
              <a:pPr algn="ctr">
                <a:spcAft>
                  <a:spcPts val="600"/>
                </a:spcAft>
              </a:pPr>
              <a:r>
                <a:rPr lang="en-US" sz="1600" b="1">
                  <a:solidFill>
                    <a:schemeClr val="bg1"/>
                  </a:solidFill>
                </a:rPr>
                <a:t>Consultant in the Loop</a:t>
              </a:r>
            </a:p>
            <a:p>
              <a:pPr algn="ctr">
                <a:spcAft>
                  <a:spcPts val="600"/>
                </a:spcAft>
              </a:pPr>
              <a:r>
                <a:rPr lang="en-US" sz="2000"/>
                <a:t> </a:t>
              </a:r>
              <a:r>
                <a:rPr lang="en-US" sz="1400"/>
                <a:t>Smarter Decisions. Human Support. </a:t>
              </a:r>
              <a:endParaRPr lang="en-US" sz="1400" b="1">
                <a:solidFill>
                  <a:schemeClr val="bg1"/>
                </a:solidFill>
              </a:endParaRPr>
            </a:p>
          </p:txBody>
        </p:sp>
      </p:grpSp>
      <p:pic>
        <p:nvPicPr>
          <p:cNvPr id="1026" name="Picture 2" descr="Banner">
            <a:extLst>
              <a:ext uri="{FF2B5EF4-FFF2-40B4-BE49-F238E27FC236}">
                <a16:creationId xmlns:a16="http://schemas.microsoft.com/office/drawing/2014/main" id="{DE7E204F-5701-0EEB-09D2-D5C9128C0292}"/>
              </a:ext>
            </a:extLst>
          </p:cNvPr>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405944" y="1005"/>
            <a:ext cx="1343140" cy="109119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A9F4D88-8ACE-CF77-F33E-5E59CD036684}"/>
              </a:ext>
            </a:extLst>
          </p:cNvPr>
          <p:cNvPicPr>
            <a:picLocks noChangeAspect="1"/>
          </p:cNvPicPr>
          <p:nvPr/>
        </p:nvPicPr>
        <p:blipFill>
          <a:blip r:embed="rId5"/>
          <a:srcRect t="4576" b="24006"/>
          <a:stretch/>
        </p:blipFill>
        <p:spPr>
          <a:xfrm>
            <a:off x="4359330" y="312588"/>
            <a:ext cx="1504958" cy="709478"/>
          </a:xfrm>
          <a:prstGeom prst="roundRect">
            <a:avLst>
              <a:gd name="adj" fmla="val 0"/>
            </a:avLst>
          </a:prstGeom>
          <a:ln>
            <a:noFill/>
          </a:ln>
          <a:effectLst>
            <a:glow rad="63500">
              <a:schemeClr val="accent1">
                <a:satMod val="175000"/>
                <a:alpha val="40000"/>
              </a:schemeClr>
            </a:glow>
            <a:outerShdw blurRad="50800" dist="38100" dir="2700000" algn="tl" rotWithShape="0">
              <a:prstClr val="black">
                <a:alpha val="40000"/>
              </a:prstClr>
            </a:outerShdw>
          </a:effectLst>
        </p:spPr>
      </p:pic>
      <p:pic>
        <p:nvPicPr>
          <p:cNvPr id="1028" name="Picture 4">
            <a:extLst>
              <a:ext uri="{FF2B5EF4-FFF2-40B4-BE49-F238E27FC236}">
                <a16:creationId xmlns:a16="http://schemas.microsoft.com/office/drawing/2014/main" id="{12A3FFF1-4CDC-2B62-8DF9-48F797E1419B}"/>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0644331" y="83672"/>
            <a:ext cx="1046316" cy="111782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3A4740E-CCB3-4723-7DEF-4FA46A030CE1}"/>
              </a:ext>
            </a:extLst>
          </p:cNvPr>
          <p:cNvPicPr>
            <a:picLocks noChangeAspect="1"/>
          </p:cNvPicPr>
          <p:nvPr/>
        </p:nvPicPr>
        <p:blipFill>
          <a:blip r:embed="rId7"/>
          <a:srcRect l="8751" t="6370" r="7396" b="5353"/>
          <a:stretch/>
        </p:blipFill>
        <p:spPr>
          <a:xfrm>
            <a:off x="8582064" y="103719"/>
            <a:ext cx="1083718" cy="1075118"/>
          </a:xfrm>
          <a:prstGeom prst="ellipse">
            <a:avLst/>
          </a:prstGeom>
        </p:spPr>
      </p:pic>
      <p:pic>
        <p:nvPicPr>
          <p:cNvPr id="3077" name="Picture 5" descr="COVID-19 sector heatmaps: Understand business impact | Deloitte Singapore |  About Deloitte">
            <a:extLst>
              <a:ext uri="{FF2B5EF4-FFF2-40B4-BE49-F238E27FC236}">
                <a16:creationId xmlns:a16="http://schemas.microsoft.com/office/drawing/2014/main" id="{0DB6FDE1-A328-B2D1-20F6-B3FAAAD54029}"/>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2428004" y="67120"/>
            <a:ext cx="1085636" cy="108563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Banner">
            <a:extLst>
              <a:ext uri="{FF2B5EF4-FFF2-40B4-BE49-F238E27FC236}">
                <a16:creationId xmlns:a16="http://schemas.microsoft.com/office/drawing/2014/main" id="{B6FCE5DF-6954-6FA9-A47B-38A449846ED3}"/>
              </a:ext>
            </a:extLst>
          </p:cNvPr>
          <p:cNvPicPr>
            <a:picLocks noChangeAspect="1" noChangeArrowheads="1"/>
          </p:cNvPicPr>
          <p:nvPr/>
        </p:nvPicPr>
        <p:blipFill rotWithShape="1">
          <a:blip r:embed="rId9" cstate="email">
            <a:extLst>
              <a:ext uri="{28A0092B-C50C-407E-A947-70E740481C1C}">
                <a14:useLocalDpi xmlns:a14="http://schemas.microsoft.com/office/drawing/2010/main" val="0"/>
              </a:ext>
            </a:extLst>
          </a:blip>
          <a:srcRect/>
          <a:stretch/>
        </p:blipFill>
        <p:spPr bwMode="auto">
          <a:xfrm>
            <a:off x="6571884" y="119124"/>
            <a:ext cx="1056662" cy="1056662"/>
          </a:xfrm>
          <a:prstGeom prst="rect">
            <a:avLst/>
          </a:prstGeom>
          <a:noFill/>
          <a:extLst>
            <a:ext uri="{909E8E84-426E-40DD-AFC4-6F175D3DCCD1}">
              <a14:hiddenFill xmlns:a14="http://schemas.microsoft.com/office/drawing/2010/main">
                <a:solidFill>
                  <a:srgbClr val="FFFFFF"/>
                </a:solidFill>
              </a14:hiddenFill>
            </a:ext>
          </a:extLst>
        </p:spPr>
      </p:pic>
      <p:sp>
        <p:nvSpPr>
          <p:cNvPr id="8" name="Speech Bubble: Rectangle 7">
            <a:extLst>
              <a:ext uri="{FF2B5EF4-FFF2-40B4-BE49-F238E27FC236}">
                <a16:creationId xmlns:a16="http://schemas.microsoft.com/office/drawing/2014/main" id="{8331D199-D92D-7B1A-5DAB-5D97FA475F92}"/>
              </a:ext>
            </a:extLst>
          </p:cNvPr>
          <p:cNvSpPr/>
          <p:nvPr/>
        </p:nvSpPr>
        <p:spPr>
          <a:xfrm>
            <a:off x="12663972" y="2485483"/>
            <a:ext cx="3990159" cy="3222548"/>
          </a:xfrm>
          <a:prstGeom prst="wedgeRectCallout">
            <a:avLst>
              <a:gd name="adj1" fmla="val -60482"/>
              <a:gd name="adj2" fmla="val -596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The </a:t>
            </a:r>
            <a:r>
              <a:rPr lang="de-DE" err="1"/>
              <a:t>start</a:t>
            </a:r>
            <a:r>
              <a:rPr lang="de-DE"/>
              <a:t> </a:t>
            </a:r>
            <a:r>
              <a:rPr lang="de-DE" err="1"/>
              <a:t>page</a:t>
            </a:r>
            <a:r>
              <a:rPr lang="de-DE"/>
              <a:t> </a:t>
            </a:r>
            <a:r>
              <a:rPr lang="de-DE" err="1"/>
              <a:t>view</a:t>
            </a:r>
            <a:r>
              <a:rPr lang="de-DE"/>
              <a:t> </a:t>
            </a:r>
            <a:r>
              <a:rPr lang="de-DE" err="1"/>
              <a:t>when</a:t>
            </a:r>
            <a:r>
              <a:rPr lang="de-DE"/>
              <a:t> </a:t>
            </a:r>
            <a:r>
              <a:rPr lang="de-DE" err="1"/>
              <a:t>clicking</a:t>
            </a:r>
            <a:r>
              <a:rPr lang="de-DE"/>
              <a:t> on „About BAP“, </a:t>
            </a:r>
            <a:r>
              <a:rPr lang="de-DE" err="1"/>
              <a:t>it</a:t>
            </a:r>
            <a:r>
              <a:rPr lang="de-DE"/>
              <a:t> will </a:t>
            </a:r>
            <a:r>
              <a:rPr lang="de-DE" err="1"/>
              <a:t>show</a:t>
            </a:r>
            <a:r>
              <a:rPr lang="de-DE"/>
              <a:t> </a:t>
            </a:r>
            <a:r>
              <a:rPr lang="de-DE" err="1"/>
              <a:t>you</a:t>
            </a:r>
            <a:r>
              <a:rPr lang="de-DE"/>
              <a:t> the </a:t>
            </a:r>
            <a:r>
              <a:rPr lang="de-DE" err="1"/>
              <a:t>part</a:t>
            </a:r>
            <a:r>
              <a:rPr lang="de-DE"/>
              <a:t> </a:t>
            </a:r>
            <a:r>
              <a:rPr lang="de-DE" err="1"/>
              <a:t>of</a:t>
            </a:r>
            <a:r>
              <a:rPr lang="de-DE"/>
              <a:t> BAP </a:t>
            </a:r>
            <a:r>
              <a:rPr lang="de-DE" err="1"/>
              <a:t>description</a:t>
            </a:r>
            <a:r>
              <a:rPr lang="de-DE"/>
              <a:t>, </a:t>
            </a:r>
            <a:r>
              <a:rPr lang="de-DE" err="1"/>
              <a:t>while</a:t>
            </a:r>
            <a:r>
              <a:rPr lang="de-DE"/>
              <a:t> the 6 </a:t>
            </a:r>
            <a:r>
              <a:rPr lang="de-DE" err="1"/>
              <a:t>sub</a:t>
            </a:r>
            <a:r>
              <a:rPr lang="de-DE"/>
              <a:t> </a:t>
            </a:r>
            <a:r>
              <a:rPr lang="de-DE" err="1"/>
              <a:t>page</a:t>
            </a:r>
            <a:r>
              <a:rPr lang="de-DE"/>
              <a:t> </a:t>
            </a:r>
            <a:r>
              <a:rPr lang="de-DE" err="1"/>
              <a:t>tiles</a:t>
            </a:r>
            <a:r>
              <a:rPr lang="de-DE"/>
              <a:t> </a:t>
            </a:r>
            <a:r>
              <a:rPr lang="de-DE" err="1"/>
              <a:t>stay</a:t>
            </a:r>
            <a:r>
              <a:rPr lang="de-DE"/>
              <a:t> </a:t>
            </a:r>
            <a:r>
              <a:rPr lang="de-DE" err="1"/>
              <a:t>above</a:t>
            </a:r>
            <a:endParaRPr lang="de-DE"/>
          </a:p>
        </p:txBody>
      </p:sp>
      <p:sp>
        <p:nvSpPr>
          <p:cNvPr id="6" name="Rectangle 5">
            <a:extLst>
              <a:ext uri="{FF2B5EF4-FFF2-40B4-BE49-F238E27FC236}">
                <a16:creationId xmlns:a16="http://schemas.microsoft.com/office/drawing/2014/main" id="{B538B2CB-1164-C32D-52FC-69FCF84691C1}"/>
              </a:ext>
            </a:extLst>
          </p:cNvPr>
          <p:cNvSpPr/>
          <p:nvPr/>
        </p:nvSpPr>
        <p:spPr>
          <a:xfrm>
            <a:off x="-2" y="2745250"/>
            <a:ext cx="12217324" cy="492456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oup 12">
            <a:extLst>
              <a:ext uri="{FF2B5EF4-FFF2-40B4-BE49-F238E27FC236}">
                <a16:creationId xmlns:a16="http://schemas.microsoft.com/office/drawing/2014/main" id="{0A7682B7-AC5C-6B16-F6E9-408EC555393E}"/>
              </a:ext>
            </a:extLst>
          </p:cNvPr>
          <p:cNvGrpSpPr/>
          <p:nvPr/>
        </p:nvGrpSpPr>
        <p:grpSpPr>
          <a:xfrm>
            <a:off x="9799513" y="6266998"/>
            <a:ext cx="1644965" cy="268487"/>
            <a:chOff x="2486919" y="2034525"/>
            <a:chExt cx="1501302" cy="245039"/>
          </a:xfrm>
        </p:grpSpPr>
        <p:sp>
          <p:nvSpPr>
            <p:cNvPr id="20" name="TextBox 19">
              <a:extLst>
                <a:ext uri="{FF2B5EF4-FFF2-40B4-BE49-F238E27FC236}">
                  <a16:creationId xmlns:a16="http://schemas.microsoft.com/office/drawing/2014/main" id="{A9F80311-80A9-CD07-03FE-970AFE3509AE}"/>
                </a:ext>
              </a:extLst>
            </p:cNvPr>
            <p:cNvSpPr txBox="1"/>
            <p:nvPr/>
          </p:nvSpPr>
          <p:spPr>
            <a:xfrm>
              <a:off x="2486919" y="2043647"/>
              <a:ext cx="897524" cy="224717"/>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Powered by</a:t>
              </a:r>
              <a:endParaRPr kumimoji="0" lang="en-CA" sz="1600" b="0" i="0" u="none" strike="noStrike" kern="1200" cap="none" spc="0" normalizeH="0" baseline="0" noProof="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21" name="Picture 2" descr="SAP – Wikipedia">
              <a:extLst>
                <a:ext uri="{FF2B5EF4-FFF2-40B4-BE49-F238E27FC236}">
                  <a16:creationId xmlns:a16="http://schemas.microsoft.com/office/drawing/2014/main" id="{9561EE54-9956-8E34-1952-4AB279FA9161}"/>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3493193" y="2034525"/>
              <a:ext cx="495028" cy="245039"/>
            </a:xfrm>
            <a:prstGeom prst="rect">
              <a:avLst/>
            </a:prstGeom>
            <a:noFill/>
            <a:extLst>
              <a:ext uri="{909E8E84-426E-40DD-AFC4-6F175D3DCCD1}">
                <a14:hiddenFill xmlns:a14="http://schemas.microsoft.com/office/drawing/2010/main">
                  <a:solidFill>
                    <a:srgbClr val="FFFFFF"/>
                  </a:solidFill>
                </a14:hiddenFill>
              </a:ext>
            </a:extLst>
          </p:spPr>
        </p:pic>
      </p:grpSp>
      <p:sp>
        <p:nvSpPr>
          <p:cNvPr id="1048" name="Rectangle 1047">
            <a:extLst>
              <a:ext uri="{FF2B5EF4-FFF2-40B4-BE49-F238E27FC236}">
                <a16:creationId xmlns:a16="http://schemas.microsoft.com/office/drawing/2014/main" id="{59E0B951-86B9-1EE2-C2B5-088C92FD2E33}"/>
              </a:ext>
            </a:extLst>
          </p:cNvPr>
          <p:cNvSpPr/>
          <p:nvPr/>
        </p:nvSpPr>
        <p:spPr bwMode="gray">
          <a:xfrm>
            <a:off x="493437" y="3031792"/>
            <a:ext cx="4831503" cy="279281"/>
          </a:xfrm>
          <a:prstGeom prst="rect">
            <a:avLst/>
          </a:prstGeom>
          <a:noFill/>
          <a:ln w="19050" algn="ctr">
            <a:noFill/>
            <a:miter lim="800000"/>
            <a:headEnd/>
            <a:tailEnd/>
          </a:ln>
        </p:spPr>
        <p:txBody>
          <a:bodyPr wrap="square" lIns="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000" b="1" i="0" u="none" strike="noStrike" kern="1200" cap="all" spc="0" normalizeH="0" baseline="0" noProof="0">
                <a:ln>
                  <a:noFill/>
                </a:ln>
                <a:solidFill>
                  <a:srgbClr val="86BC25"/>
                </a:solidFill>
                <a:effectLst/>
                <a:uLnTx/>
                <a:uFillTx/>
                <a:ea typeface="Calibri" panose="020F0502020204030204" pitchFamily="34" charset="0"/>
                <a:cs typeface="Calibri" panose="020F0502020204030204" pitchFamily="34" charset="0"/>
              </a:rPr>
              <a:t>Get ahead of the AI curve</a:t>
            </a:r>
          </a:p>
        </p:txBody>
      </p:sp>
      <p:sp>
        <p:nvSpPr>
          <p:cNvPr id="1049" name="TextBox 1048">
            <a:extLst>
              <a:ext uri="{FF2B5EF4-FFF2-40B4-BE49-F238E27FC236}">
                <a16:creationId xmlns:a16="http://schemas.microsoft.com/office/drawing/2014/main" id="{5C1924A7-CF02-C32A-3AC9-3BE1CF5308A4}"/>
              </a:ext>
            </a:extLst>
          </p:cNvPr>
          <p:cNvSpPr txBox="1"/>
          <p:nvPr/>
        </p:nvSpPr>
        <p:spPr>
          <a:xfrm>
            <a:off x="626955" y="6763370"/>
            <a:ext cx="8019613" cy="49244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Experience the power of AI from one centralized SAP based platform and leverage AI for your sustainable success.</a:t>
            </a:r>
          </a:p>
        </p:txBody>
      </p:sp>
      <p:sp>
        <p:nvSpPr>
          <p:cNvPr id="1051" name="Oval 1050">
            <a:extLst>
              <a:ext uri="{FF2B5EF4-FFF2-40B4-BE49-F238E27FC236}">
                <a16:creationId xmlns:a16="http://schemas.microsoft.com/office/drawing/2014/main" id="{8EDAF9B5-FD1B-E2D8-A0BA-4B7979F3A2F7}"/>
              </a:ext>
            </a:extLst>
          </p:cNvPr>
          <p:cNvSpPr/>
          <p:nvPr/>
        </p:nvSpPr>
        <p:spPr bwMode="gray">
          <a:xfrm>
            <a:off x="554446" y="3579310"/>
            <a:ext cx="360000" cy="360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1</a:t>
            </a:r>
          </a:p>
        </p:txBody>
      </p:sp>
      <p:sp>
        <p:nvSpPr>
          <p:cNvPr id="1052" name="TextBox 1051">
            <a:extLst>
              <a:ext uri="{FF2B5EF4-FFF2-40B4-BE49-F238E27FC236}">
                <a16:creationId xmlns:a16="http://schemas.microsoft.com/office/drawing/2014/main" id="{4853A396-49D4-21C7-425D-B6DEC95745C1}"/>
              </a:ext>
            </a:extLst>
          </p:cNvPr>
          <p:cNvSpPr txBox="1"/>
          <p:nvPr/>
        </p:nvSpPr>
        <p:spPr>
          <a:xfrm>
            <a:off x="1079794" y="3557306"/>
            <a:ext cx="77448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One-Stop AI Agent Access </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for all relevant SAP AI topics</a:t>
            </a:r>
            <a:endParaRPr kumimoji="0" lang="en-US" sz="1400" b="0"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endParaRPr>
          </a:p>
        </p:txBody>
      </p:sp>
      <p:sp>
        <p:nvSpPr>
          <p:cNvPr id="1053" name="Oval 1052">
            <a:extLst>
              <a:ext uri="{FF2B5EF4-FFF2-40B4-BE49-F238E27FC236}">
                <a16:creationId xmlns:a16="http://schemas.microsoft.com/office/drawing/2014/main" id="{2F3D4F14-082A-1217-AEDE-7E455F738D9C}"/>
              </a:ext>
            </a:extLst>
          </p:cNvPr>
          <p:cNvSpPr/>
          <p:nvPr/>
        </p:nvSpPr>
        <p:spPr bwMode="gray">
          <a:xfrm>
            <a:off x="564005" y="4572056"/>
            <a:ext cx="360000" cy="360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3</a:t>
            </a:r>
          </a:p>
        </p:txBody>
      </p:sp>
      <p:sp>
        <p:nvSpPr>
          <p:cNvPr id="1054" name="TextBox 1053">
            <a:extLst>
              <a:ext uri="{FF2B5EF4-FFF2-40B4-BE49-F238E27FC236}">
                <a16:creationId xmlns:a16="http://schemas.microsoft.com/office/drawing/2014/main" id="{02DD5372-2BF1-5739-4D57-0E88037324F1}"/>
              </a:ext>
            </a:extLst>
          </p:cNvPr>
          <p:cNvSpPr txBox="1"/>
          <p:nvPr/>
        </p:nvSpPr>
        <p:spPr>
          <a:xfrm>
            <a:off x="1064373" y="4535230"/>
            <a:ext cx="77603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100% SAP technology </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allows easy integration and implementation into your IT landscape while relying on established security standards and access rights</a:t>
            </a:r>
          </a:p>
        </p:txBody>
      </p:sp>
      <p:sp>
        <p:nvSpPr>
          <p:cNvPr id="1055" name="Oval 1054">
            <a:extLst>
              <a:ext uri="{FF2B5EF4-FFF2-40B4-BE49-F238E27FC236}">
                <a16:creationId xmlns:a16="http://schemas.microsoft.com/office/drawing/2014/main" id="{B1B2152D-17FF-C7FB-5C46-D0BED913FED4}"/>
              </a:ext>
            </a:extLst>
          </p:cNvPr>
          <p:cNvSpPr/>
          <p:nvPr/>
        </p:nvSpPr>
        <p:spPr bwMode="gray">
          <a:xfrm>
            <a:off x="561972" y="5348031"/>
            <a:ext cx="360000" cy="360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4</a:t>
            </a:r>
          </a:p>
        </p:txBody>
      </p:sp>
      <p:sp>
        <p:nvSpPr>
          <p:cNvPr id="1056" name="TextBox 1055">
            <a:extLst>
              <a:ext uri="{FF2B5EF4-FFF2-40B4-BE49-F238E27FC236}">
                <a16:creationId xmlns:a16="http://schemas.microsoft.com/office/drawing/2014/main" id="{DFE1530D-C888-2C44-0A87-38EF64981E29}"/>
              </a:ext>
            </a:extLst>
          </p:cNvPr>
          <p:cNvSpPr txBox="1"/>
          <p:nvPr/>
        </p:nvSpPr>
        <p:spPr>
          <a:xfrm>
            <a:off x="1050856" y="5323872"/>
            <a:ext cx="777382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Measure, monitor,</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 </a:t>
            </a: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orchestrate and scale </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your AI Agent solutions and deliver insights on returns, success and adoption to prioritize further investments</a:t>
            </a:r>
          </a:p>
        </p:txBody>
      </p:sp>
      <p:sp>
        <p:nvSpPr>
          <p:cNvPr id="1057" name="Oval 1056">
            <a:extLst>
              <a:ext uri="{FF2B5EF4-FFF2-40B4-BE49-F238E27FC236}">
                <a16:creationId xmlns:a16="http://schemas.microsoft.com/office/drawing/2014/main" id="{A40733AD-C964-F23E-491B-82E0C1B3640B}"/>
              </a:ext>
            </a:extLst>
          </p:cNvPr>
          <p:cNvSpPr/>
          <p:nvPr/>
        </p:nvSpPr>
        <p:spPr bwMode="gray">
          <a:xfrm>
            <a:off x="564005" y="6155848"/>
            <a:ext cx="360000" cy="360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5</a:t>
            </a:r>
          </a:p>
        </p:txBody>
      </p:sp>
      <p:sp>
        <p:nvSpPr>
          <p:cNvPr id="1058" name="TextBox 1057">
            <a:extLst>
              <a:ext uri="{FF2B5EF4-FFF2-40B4-BE49-F238E27FC236}">
                <a16:creationId xmlns:a16="http://schemas.microsoft.com/office/drawing/2014/main" id="{08F1B836-4D30-075E-293E-F167EF577F3E}"/>
              </a:ext>
            </a:extLst>
          </p:cNvPr>
          <p:cNvSpPr txBox="1"/>
          <p:nvPr/>
        </p:nvSpPr>
        <p:spPr>
          <a:xfrm>
            <a:off x="1064373" y="6112513"/>
            <a:ext cx="77603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Regulatory compliance </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with EU’s AI ACT and US National AI Initiative ACT and internal regulations for your used LLMs and Agents</a:t>
            </a:r>
          </a:p>
        </p:txBody>
      </p:sp>
      <p:sp>
        <p:nvSpPr>
          <p:cNvPr id="1059" name="Oval 1058">
            <a:extLst>
              <a:ext uri="{FF2B5EF4-FFF2-40B4-BE49-F238E27FC236}">
                <a16:creationId xmlns:a16="http://schemas.microsoft.com/office/drawing/2014/main" id="{DC285C7D-0F6A-A735-ABFD-9F1C00D402B9}"/>
              </a:ext>
            </a:extLst>
          </p:cNvPr>
          <p:cNvSpPr/>
          <p:nvPr/>
        </p:nvSpPr>
        <p:spPr bwMode="gray">
          <a:xfrm>
            <a:off x="564005" y="4011260"/>
            <a:ext cx="360000" cy="360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FFFFFF"/>
                </a:solidFill>
                <a:effectLst/>
                <a:uLnTx/>
                <a:uFillTx/>
                <a:ea typeface="Calibri" panose="020F0502020204030204" pitchFamily="34" charset="0"/>
                <a:cs typeface="Calibri" panose="020F0502020204030204" pitchFamily="34" charset="0"/>
              </a:rPr>
              <a:t>2</a:t>
            </a:r>
          </a:p>
        </p:txBody>
      </p:sp>
      <p:sp>
        <p:nvSpPr>
          <p:cNvPr id="1060" name="TextBox 1059">
            <a:extLst>
              <a:ext uri="{FF2B5EF4-FFF2-40B4-BE49-F238E27FC236}">
                <a16:creationId xmlns:a16="http://schemas.microsoft.com/office/drawing/2014/main" id="{EB410645-C749-9A4F-0AC2-0CF84DEFAEDB}"/>
              </a:ext>
            </a:extLst>
          </p:cNvPr>
          <p:cNvSpPr txBox="1"/>
          <p:nvPr/>
        </p:nvSpPr>
        <p:spPr>
          <a:xfrm>
            <a:off x="1079794" y="3946375"/>
            <a:ext cx="774489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ea typeface="Calibri" panose="020F0502020204030204" pitchFamily="34" charset="0"/>
                <a:cs typeface="Calibri" panose="020F0502020204030204" pitchFamily="34" charset="0"/>
              </a:rPr>
              <a:t>Flexible customer focused platform </a:t>
            </a:r>
            <a:r>
              <a:rPr kumimoji="0" lang="en-US" sz="14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makes it easy to develop new SAP agents in a established framework </a:t>
            </a:r>
            <a:r>
              <a:rPr lang="en-US" sz="1400" b="1">
                <a:solidFill>
                  <a:srgbClr val="86BC25"/>
                </a:solidFill>
                <a:ea typeface="Calibri" panose="020F0502020204030204" pitchFamily="34" charset="0"/>
                <a:cs typeface="Calibri" panose="020F0502020204030204" pitchFamily="34" charset="0"/>
              </a:rPr>
              <a:t>based on agent framework</a:t>
            </a:r>
          </a:p>
        </p:txBody>
      </p:sp>
      <p:grpSp>
        <p:nvGrpSpPr>
          <p:cNvPr id="4" name="Group 3">
            <a:extLst>
              <a:ext uri="{FF2B5EF4-FFF2-40B4-BE49-F238E27FC236}">
                <a16:creationId xmlns:a16="http://schemas.microsoft.com/office/drawing/2014/main" id="{D8BD5539-4545-411D-1524-3559E748ED12}"/>
              </a:ext>
            </a:extLst>
          </p:cNvPr>
          <p:cNvGrpSpPr/>
          <p:nvPr/>
        </p:nvGrpSpPr>
        <p:grpSpPr>
          <a:xfrm>
            <a:off x="9760972" y="3960460"/>
            <a:ext cx="1667169" cy="1997134"/>
            <a:chOff x="5262621" y="3336237"/>
            <a:chExt cx="1667169" cy="1997134"/>
          </a:xfrm>
        </p:grpSpPr>
        <p:grpSp>
          <p:nvGrpSpPr>
            <p:cNvPr id="1062" name="Group 4">
              <a:extLst>
                <a:ext uri="{FF2B5EF4-FFF2-40B4-BE49-F238E27FC236}">
                  <a16:creationId xmlns:a16="http://schemas.microsoft.com/office/drawing/2014/main" id="{4D75153A-9131-F6D3-E553-8F4420CD8D06}"/>
                </a:ext>
              </a:extLst>
            </p:cNvPr>
            <p:cNvGrpSpPr>
              <a:grpSpLocks noChangeAspect="1"/>
            </p:cNvGrpSpPr>
            <p:nvPr/>
          </p:nvGrpSpPr>
          <p:grpSpPr bwMode="auto">
            <a:xfrm>
              <a:off x="6112072" y="3336237"/>
              <a:ext cx="817718" cy="1997134"/>
              <a:chOff x="3899" y="1111"/>
              <a:chExt cx="1049" cy="2562"/>
            </a:xfrm>
          </p:grpSpPr>
          <p:sp>
            <p:nvSpPr>
              <p:cNvPr id="3080" name="Freeform 5">
                <a:extLst>
                  <a:ext uri="{FF2B5EF4-FFF2-40B4-BE49-F238E27FC236}">
                    <a16:creationId xmlns:a16="http://schemas.microsoft.com/office/drawing/2014/main" id="{8B6CDABF-8533-2A75-8DB1-9F697006F993}"/>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1" name="Line 6">
                <a:extLst>
                  <a:ext uri="{FF2B5EF4-FFF2-40B4-BE49-F238E27FC236}">
                    <a16:creationId xmlns:a16="http://schemas.microsoft.com/office/drawing/2014/main" id="{60515FB8-1632-4449-50F0-97C734AE59CA}"/>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2" name="Freeform 7">
                <a:extLst>
                  <a:ext uri="{FF2B5EF4-FFF2-40B4-BE49-F238E27FC236}">
                    <a16:creationId xmlns:a16="http://schemas.microsoft.com/office/drawing/2014/main" id="{7DC3236A-CFDE-C42B-BDD9-69501621A683}"/>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3" name="Freeform 8">
                <a:extLst>
                  <a:ext uri="{FF2B5EF4-FFF2-40B4-BE49-F238E27FC236}">
                    <a16:creationId xmlns:a16="http://schemas.microsoft.com/office/drawing/2014/main" id="{D95F9D0B-A793-1586-8EFF-6548C013E9C0}"/>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4" name="Freeform 9">
                <a:extLst>
                  <a:ext uri="{FF2B5EF4-FFF2-40B4-BE49-F238E27FC236}">
                    <a16:creationId xmlns:a16="http://schemas.microsoft.com/office/drawing/2014/main" id="{44A269C2-0F30-9F8A-DF44-BE8518B3F970}"/>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5" name="Freeform 10">
                <a:extLst>
                  <a:ext uri="{FF2B5EF4-FFF2-40B4-BE49-F238E27FC236}">
                    <a16:creationId xmlns:a16="http://schemas.microsoft.com/office/drawing/2014/main" id="{37E419E9-B5FE-D7DD-53F2-A5F915878915}"/>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6" name="Freeform 11">
                <a:extLst>
                  <a:ext uri="{FF2B5EF4-FFF2-40B4-BE49-F238E27FC236}">
                    <a16:creationId xmlns:a16="http://schemas.microsoft.com/office/drawing/2014/main" id="{6C92798E-A7D3-5977-8845-2F219EC607AC}"/>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7" name="Freeform 12">
                <a:extLst>
                  <a:ext uri="{FF2B5EF4-FFF2-40B4-BE49-F238E27FC236}">
                    <a16:creationId xmlns:a16="http://schemas.microsoft.com/office/drawing/2014/main" id="{6E068194-B7A6-887A-5FC2-78CF8DACEE90}"/>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8" name="Freeform 13">
                <a:extLst>
                  <a:ext uri="{FF2B5EF4-FFF2-40B4-BE49-F238E27FC236}">
                    <a16:creationId xmlns:a16="http://schemas.microsoft.com/office/drawing/2014/main" id="{6BF1CCB8-8926-3059-8B13-0AB9A1CBEB0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89" name="Freeform 14">
                <a:extLst>
                  <a:ext uri="{FF2B5EF4-FFF2-40B4-BE49-F238E27FC236}">
                    <a16:creationId xmlns:a16="http://schemas.microsoft.com/office/drawing/2014/main" id="{853382A8-6B1B-6C22-F3A8-1CC8FC403D32}"/>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0" name="Line 15">
                <a:extLst>
                  <a:ext uri="{FF2B5EF4-FFF2-40B4-BE49-F238E27FC236}">
                    <a16:creationId xmlns:a16="http://schemas.microsoft.com/office/drawing/2014/main" id="{C59E2CB9-D524-5E17-E69E-C436DACC5DA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1" name="Freeform 16">
                <a:extLst>
                  <a:ext uri="{FF2B5EF4-FFF2-40B4-BE49-F238E27FC236}">
                    <a16:creationId xmlns:a16="http://schemas.microsoft.com/office/drawing/2014/main" id="{EA3FECA2-5538-E2C1-B1E2-E6C7DDC11821}"/>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2" name="Freeform 17">
                <a:extLst>
                  <a:ext uri="{FF2B5EF4-FFF2-40B4-BE49-F238E27FC236}">
                    <a16:creationId xmlns:a16="http://schemas.microsoft.com/office/drawing/2014/main" id="{43460972-08DE-970D-12BA-0EEC25CAE7E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3" name="Freeform 18">
                <a:extLst>
                  <a:ext uri="{FF2B5EF4-FFF2-40B4-BE49-F238E27FC236}">
                    <a16:creationId xmlns:a16="http://schemas.microsoft.com/office/drawing/2014/main" id="{E87E7273-4C1B-D73C-6B46-241CFC567078}"/>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4" name="Freeform 19">
                <a:extLst>
                  <a:ext uri="{FF2B5EF4-FFF2-40B4-BE49-F238E27FC236}">
                    <a16:creationId xmlns:a16="http://schemas.microsoft.com/office/drawing/2014/main" id="{D2DFE5F5-C20A-41EF-E0C0-E24F0852B854}"/>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5" name="Freeform 20">
                <a:extLst>
                  <a:ext uri="{FF2B5EF4-FFF2-40B4-BE49-F238E27FC236}">
                    <a16:creationId xmlns:a16="http://schemas.microsoft.com/office/drawing/2014/main" id="{36C4FA52-DF6C-3964-25DB-C0F63E60A2C3}"/>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6" name="Freeform 21">
                <a:extLst>
                  <a:ext uri="{FF2B5EF4-FFF2-40B4-BE49-F238E27FC236}">
                    <a16:creationId xmlns:a16="http://schemas.microsoft.com/office/drawing/2014/main" id="{E1642997-DBEC-047A-476E-F560D0D97583}"/>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7" name="Freeform 22">
                <a:extLst>
                  <a:ext uri="{FF2B5EF4-FFF2-40B4-BE49-F238E27FC236}">
                    <a16:creationId xmlns:a16="http://schemas.microsoft.com/office/drawing/2014/main" id="{21FAB7BE-D622-E7E7-CF5C-CF384336571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8" name="Freeform 23">
                <a:extLst>
                  <a:ext uri="{FF2B5EF4-FFF2-40B4-BE49-F238E27FC236}">
                    <a16:creationId xmlns:a16="http://schemas.microsoft.com/office/drawing/2014/main" id="{DCE1D87C-CF68-7BC6-A62C-127DD42C9276}"/>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99" name="Freeform 24">
                <a:extLst>
                  <a:ext uri="{FF2B5EF4-FFF2-40B4-BE49-F238E27FC236}">
                    <a16:creationId xmlns:a16="http://schemas.microsoft.com/office/drawing/2014/main" id="{09DAF23E-959A-CF22-AD8C-5B0F4F2AE053}"/>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0" name="Freeform 25">
                <a:extLst>
                  <a:ext uri="{FF2B5EF4-FFF2-40B4-BE49-F238E27FC236}">
                    <a16:creationId xmlns:a16="http://schemas.microsoft.com/office/drawing/2014/main" id="{30628CD3-3AA1-140E-621C-CB7233EB7B32}"/>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1" name="Freeform 26">
                <a:extLst>
                  <a:ext uri="{FF2B5EF4-FFF2-40B4-BE49-F238E27FC236}">
                    <a16:creationId xmlns:a16="http://schemas.microsoft.com/office/drawing/2014/main" id="{F65BF066-0D76-0E93-D797-6DF33CCE2429}"/>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2" name="Freeform 27">
                <a:extLst>
                  <a:ext uri="{FF2B5EF4-FFF2-40B4-BE49-F238E27FC236}">
                    <a16:creationId xmlns:a16="http://schemas.microsoft.com/office/drawing/2014/main" id="{33145AFC-E792-9B77-483E-69B240B19B8E}"/>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3" name="Freeform 28">
                <a:extLst>
                  <a:ext uri="{FF2B5EF4-FFF2-40B4-BE49-F238E27FC236}">
                    <a16:creationId xmlns:a16="http://schemas.microsoft.com/office/drawing/2014/main" id="{ED4D2F9B-C02C-5763-B18D-8459ACA8B42C}"/>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4" name="Freeform 29">
                <a:extLst>
                  <a:ext uri="{FF2B5EF4-FFF2-40B4-BE49-F238E27FC236}">
                    <a16:creationId xmlns:a16="http://schemas.microsoft.com/office/drawing/2014/main" id="{A509D3D4-E1E5-F6E8-BD27-10FBC835442A}"/>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5" name="Freeform 30">
                <a:extLst>
                  <a:ext uri="{FF2B5EF4-FFF2-40B4-BE49-F238E27FC236}">
                    <a16:creationId xmlns:a16="http://schemas.microsoft.com/office/drawing/2014/main" id="{D1B5DC58-124D-D6A2-AD28-7F602A763B8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6" name="Freeform 31">
                <a:extLst>
                  <a:ext uri="{FF2B5EF4-FFF2-40B4-BE49-F238E27FC236}">
                    <a16:creationId xmlns:a16="http://schemas.microsoft.com/office/drawing/2014/main" id="{C392F1A1-307C-F163-1F74-083386CC169F}"/>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7" name="Freeform 32">
                <a:extLst>
                  <a:ext uri="{FF2B5EF4-FFF2-40B4-BE49-F238E27FC236}">
                    <a16:creationId xmlns:a16="http://schemas.microsoft.com/office/drawing/2014/main" id="{0289F346-68FB-1742-D40F-669995E6DCC1}"/>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8" name="Freeform 33">
                <a:extLst>
                  <a:ext uri="{FF2B5EF4-FFF2-40B4-BE49-F238E27FC236}">
                    <a16:creationId xmlns:a16="http://schemas.microsoft.com/office/drawing/2014/main" id="{6C781ED8-AE5E-2EA0-93E2-9D0816994721}"/>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09" name="Line 34">
                <a:extLst>
                  <a:ext uri="{FF2B5EF4-FFF2-40B4-BE49-F238E27FC236}">
                    <a16:creationId xmlns:a16="http://schemas.microsoft.com/office/drawing/2014/main" id="{93AF65FD-F194-83E4-6085-CBCBE939C389}"/>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10" name="Freeform 35">
                <a:extLst>
                  <a:ext uri="{FF2B5EF4-FFF2-40B4-BE49-F238E27FC236}">
                    <a16:creationId xmlns:a16="http://schemas.microsoft.com/office/drawing/2014/main" id="{73D83B68-A9D3-E340-F249-613656EF93AA}"/>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063" name="Group 4">
              <a:extLst>
                <a:ext uri="{FF2B5EF4-FFF2-40B4-BE49-F238E27FC236}">
                  <a16:creationId xmlns:a16="http://schemas.microsoft.com/office/drawing/2014/main" id="{BBD563D1-C0D9-A505-9974-CF5C250F49AE}"/>
                </a:ext>
              </a:extLst>
            </p:cNvPr>
            <p:cNvGrpSpPr>
              <a:grpSpLocks noChangeAspect="1"/>
            </p:cNvGrpSpPr>
            <p:nvPr/>
          </p:nvGrpSpPr>
          <p:grpSpPr bwMode="auto">
            <a:xfrm flipH="1">
              <a:off x="5262621" y="3336237"/>
              <a:ext cx="817718" cy="1997134"/>
              <a:chOff x="3899" y="1111"/>
              <a:chExt cx="1049" cy="2562"/>
            </a:xfrm>
          </p:grpSpPr>
          <p:sp>
            <p:nvSpPr>
              <p:cNvPr id="1064" name="Freeform 5">
                <a:extLst>
                  <a:ext uri="{FF2B5EF4-FFF2-40B4-BE49-F238E27FC236}">
                    <a16:creationId xmlns:a16="http://schemas.microsoft.com/office/drawing/2014/main" id="{6B7EBBB5-EE6D-5525-AA7E-78485F6ED7DF}"/>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65" name="Line 6">
                <a:extLst>
                  <a:ext uri="{FF2B5EF4-FFF2-40B4-BE49-F238E27FC236}">
                    <a16:creationId xmlns:a16="http://schemas.microsoft.com/office/drawing/2014/main" id="{FFF587BE-89F9-6591-AB97-A143D4163DC1}"/>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66" name="Freeform 7">
                <a:extLst>
                  <a:ext uri="{FF2B5EF4-FFF2-40B4-BE49-F238E27FC236}">
                    <a16:creationId xmlns:a16="http://schemas.microsoft.com/office/drawing/2014/main" id="{C3C004FD-9A77-BC1C-1FDB-8312FA137C6A}"/>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67" name="Freeform 8">
                <a:extLst>
                  <a:ext uri="{FF2B5EF4-FFF2-40B4-BE49-F238E27FC236}">
                    <a16:creationId xmlns:a16="http://schemas.microsoft.com/office/drawing/2014/main" id="{CC60EE4A-2923-BDDC-E323-AF57505BEA02}"/>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68" name="Freeform 9">
                <a:extLst>
                  <a:ext uri="{FF2B5EF4-FFF2-40B4-BE49-F238E27FC236}">
                    <a16:creationId xmlns:a16="http://schemas.microsoft.com/office/drawing/2014/main" id="{ED45DD63-8DCA-D43A-C0E4-D9C4B0EE9630}"/>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69" name="Freeform 10">
                <a:extLst>
                  <a:ext uri="{FF2B5EF4-FFF2-40B4-BE49-F238E27FC236}">
                    <a16:creationId xmlns:a16="http://schemas.microsoft.com/office/drawing/2014/main" id="{F70D37E0-D836-16B1-B5FF-1E08595C1645}"/>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0" name="Freeform 11">
                <a:extLst>
                  <a:ext uri="{FF2B5EF4-FFF2-40B4-BE49-F238E27FC236}">
                    <a16:creationId xmlns:a16="http://schemas.microsoft.com/office/drawing/2014/main" id="{412E9035-4E0A-18BB-1241-FB1FC7931B4B}"/>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1" name="Freeform 12">
                <a:extLst>
                  <a:ext uri="{FF2B5EF4-FFF2-40B4-BE49-F238E27FC236}">
                    <a16:creationId xmlns:a16="http://schemas.microsoft.com/office/drawing/2014/main" id="{07C98BAE-64BB-AB97-53C4-25D210ABE70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2" name="Freeform 13">
                <a:extLst>
                  <a:ext uri="{FF2B5EF4-FFF2-40B4-BE49-F238E27FC236}">
                    <a16:creationId xmlns:a16="http://schemas.microsoft.com/office/drawing/2014/main" id="{EFD58E26-CFF5-B1D8-DA53-5C597DB17609}"/>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3" name="Freeform 14">
                <a:extLst>
                  <a:ext uri="{FF2B5EF4-FFF2-40B4-BE49-F238E27FC236}">
                    <a16:creationId xmlns:a16="http://schemas.microsoft.com/office/drawing/2014/main" id="{9DCD87E8-E1D3-D195-C857-448B3F8C2102}"/>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4" name="Line 15">
                <a:extLst>
                  <a:ext uri="{FF2B5EF4-FFF2-40B4-BE49-F238E27FC236}">
                    <a16:creationId xmlns:a16="http://schemas.microsoft.com/office/drawing/2014/main" id="{D50B7E69-AE1A-9E45-AECA-EDD210905E77}"/>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5" name="Freeform 16">
                <a:extLst>
                  <a:ext uri="{FF2B5EF4-FFF2-40B4-BE49-F238E27FC236}">
                    <a16:creationId xmlns:a16="http://schemas.microsoft.com/office/drawing/2014/main" id="{CA3F7CFF-4689-CEAE-6968-7E370BBF2DB7}"/>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6" name="Freeform 17">
                <a:extLst>
                  <a:ext uri="{FF2B5EF4-FFF2-40B4-BE49-F238E27FC236}">
                    <a16:creationId xmlns:a16="http://schemas.microsoft.com/office/drawing/2014/main" id="{7CCB5030-A0AF-E5E4-EA9A-23576AE478F8}"/>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7" name="Freeform 18">
                <a:extLst>
                  <a:ext uri="{FF2B5EF4-FFF2-40B4-BE49-F238E27FC236}">
                    <a16:creationId xmlns:a16="http://schemas.microsoft.com/office/drawing/2014/main" id="{81006AE2-C96A-96D6-B317-2CCABFF6ED57}"/>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8" name="Freeform 19">
                <a:extLst>
                  <a:ext uri="{FF2B5EF4-FFF2-40B4-BE49-F238E27FC236}">
                    <a16:creationId xmlns:a16="http://schemas.microsoft.com/office/drawing/2014/main" id="{F63A61C4-73F1-37B4-076F-0352CDF5E54C}"/>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79" name="Freeform 20">
                <a:extLst>
                  <a:ext uri="{FF2B5EF4-FFF2-40B4-BE49-F238E27FC236}">
                    <a16:creationId xmlns:a16="http://schemas.microsoft.com/office/drawing/2014/main" id="{C447EC8E-7C34-3583-BBF6-DDEC2242E82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0" name="Freeform 21">
                <a:extLst>
                  <a:ext uri="{FF2B5EF4-FFF2-40B4-BE49-F238E27FC236}">
                    <a16:creationId xmlns:a16="http://schemas.microsoft.com/office/drawing/2014/main" id="{69CA7553-38A5-E2D5-6309-A0B86A9B9AB7}"/>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1" name="Freeform 22">
                <a:extLst>
                  <a:ext uri="{FF2B5EF4-FFF2-40B4-BE49-F238E27FC236}">
                    <a16:creationId xmlns:a16="http://schemas.microsoft.com/office/drawing/2014/main" id="{5BCF117E-712E-19AF-C54E-EC5342C1B439}"/>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2" name="Freeform 23">
                <a:extLst>
                  <a:ext uri="{FF2B5EF4-FFF2-40B4-BE49-F238E27FC236}">
                    <a16:creationId xmlns:a16="http://schemas.microsoft.com/office/drawing/2014/main" id="{972B98B3-C714-6FB6-1C87-BCD4CB0EF794}"/>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3" name="Freeform 24">
                <a:extLst>
                  <a:ext uri="{FF2B5EF4-FFF2-40B4-BE49-F238E27FC236}">
                    <a16:creationId xmlns:a16="http://schemas.microsoft.com/office/drawing/2014/main" id="{2F8C811E-CA6B-727E-D308-3402F5D5CEEB}"/>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4" name="Freeform 25">
                <a:extLst>
                  <a:ext uri="{FF2B5EF4-FFF2-40B4-BE49-F238E27FC236}">
                    <a16:creationId xmlns:a16="http://schemas.microsoft.com/office/drawing/2014/main" id="{8A2EAED5-CCE3-D81C-FB64-13D5EF02EA27}"/>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5" name="Freeform 26">
                <a:extLst>
                  <a:ext uri="{FF2B5EF4-FFF2-40B4-BE49-F238E27FC236}">
                    <a16:creationId xmlns:a16="http://schemas.microsoft.com/office/drawing/2014/main" id="{ECA946CB-4C97-45E4-4295-AC850CEA322C}"/>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6" name="Freeform 27">
                <a:extLst>
                  <a:ext uri="{FF2B5EF4-FFF2-40B4-BE49-F238E27FC236}">
                    <a16:creationId xmlns:a16="http://schemas.microsoft.com/office/drawing/2014/main" id="{58A10F83-5314-96D9-281A-28117FAB48A4}"/>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87" name="Freeform 28">
                <a:extLst>
                  <a:ext uri="{FF2B5EF4-FFF2-40B4-BE49-F238E27FC236}">
                    <a16:creationId xmlns:a16="http://schemas.microsoft.com/office/drawing/2014/main" id="{E058E22F-5AD2-6485-E41A-B4A82D2042EC}"/>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2" name="Freeform 29">
                <a:extLst>
                  <a:ext uri="{FF2B5EF4-FFF2-40B4-BE49-F238E27FC236}">
                    <a16:creationId xmlns:a16="http://schemas.microsoft.com/office/drawing/2014/main" id="{C77B9B65-B299-8720-D4AC-A234808829D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3" name="Freeform 30">
                <a:extLst>
                  <a:ext uri="{FF2B5EF4-FFF2-40B4-BE49-F238E27FC236}">
                    <a16:creationId xmlns:a16="http://schemas.microsoft.com/office/drawing/2014/main" id="{F917C4A7-4C0C-521C-3D63-932E5EF2B680}"/>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4" name="Freeform 31">
                <a:extLst>
                  <a:ext uri="{FF2B5EF4-FFF2-40B4-BE49-F238E27FC236}">
                    <a16:creationId xmlns:a16="http://schemas.microsoft.com/office/drawing/2014/main" id="{9EFF20C7-C816-7EF0-3DEE-4739998D659E}"/>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5" name="Freeform 32">
                <a:extLst>
                  <a:ext uri="{FF2B5EF4-FFF2-40B4-BE49-F238E27FC236}">
                    <a16:creationId xmlns:a16="http://schemas.microsoft.com/office/drawing/2014/main" id="{97B5592E-4E70-C1AB-F4DB-B15E1970C76B}"/>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6" name="Freeform 33">
                <a:extLst>
                  <a:ext uri="{FF2B5EF4-FFF2-40B4-BE49-F238E27FC236}">
                    <a16:creationId xmlns:a16="http://schemas.microsoft.com/office/drawing/2014/main" id="{627F6483-A610-E6A0-A43B-A891C86DE957}"/>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8" name="Line 34">
                <a:extLst>
                  <a:ext uri="{FF2B5EF4-FFF2-40B4-BE49-F238E27FC236}">
                    <a16:creationId xmlns:a16="http://schemas.microsoft.com/office/drawing/2014/main" id="{4FD95E9D-7CFC-401F-7F34-5496D9AB0F6F}"/>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79" name="Freeform 35">
                <a:extLst>
                  <a:ext uri="{FF2B5EF4-FFF2-40B4-BE49-F238E27FC236}">
                    <a16:creationId xmlns:a16="http://schemas.microsoft.com/office/drawing/2014/main" id="{347DDCAD-7C5C-7E2E-9F0C-B32CB33A56B0}"/>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sp>
        <p:nvSpPr>
          <p:cNvPr id="3" name="Rectangle 2">
            <a:extLst>
              <a:ext uri="{FF2B5EF4-FFF2-40B4-BE49-F238E27FC236}">
                <a16:creationId xmlns:a16="http://schemas.microsoft.com/office/drawing/2014/main" id="{8B26724E-52B8-8A27-ECF4-D121161DA544}"/>
              </a:ext>
            </a:extLst>
          </p:cNvPr>
          <p:cNvSpPr/>
          <p:nvPr/>
        </p:nvSpPr>
        <p:spPr>
          <a:xfrm>
            <a:off x="5594463" y="4255546"/>
            <a:ext cx="1174830" cy="3252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900"/>
              <a:t>About Base </a:t>
            </a:r>
            <a:r>
              <a:rPr lang="de-DE" sz="900" err="1"/>
              <a:t>Agents</a:t>
            </a:r>
            <a:endParaRPr lang="de-DE" sz="900"/>
          </a:p>
        </p:txBody>
      </p:sp>
    </p:spTree>
    <p:extLst>
      <p:ext uri="{BB962C8B-B14F-4D97-AF65-F5344CB8AC3E}">
        <p14:creationId xmlns:p14="http://schemas.microsoft.com/office/powerpoint/2010/main" val="23451822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CF7AE3-C5A7-962A-BE1D-28FA53EA5777}"/>
            </a:ext>
          </a:extLst>
        </p:cNvPr>
        <p:cNvGrpSpPr/>
        <p:nvPr/>
      </p:nvGrpSpPr>
      <p:grpSpPr>
        <a:xfrm>
          <a:off x="0" y="0"/>
          <a:ext cx="0" cy="0"/>
          <a:chOff x="0" y="0"/>
          <a:chExt cx="0" cy="0"/>
        </a:xfrm>
      </p:grpSpPr>
      <p:sp>
        <p:nvSpPr>
          <p:cNvPr id="119" name="Rectangle 118">
            <a:extLst>
              <a:ext uri="{FF2B5EF4-FFF2-40B4-BE49-F238E27FC236}">
                <a16:creationId xmlns:a16="http://schemas.microsoft.com/office/drawing/2014/main" id="{E2464A73-20FD-5061-745B-D3FDDBC7C27C}"/>
              </a:ext>
            </a:extLst>
          </p:cNvPr>
          <p:cNvSpPr/>
          <p:nvPr/>
        </p:nvSpPr>
        <p:spPr bwMode="gray">
          <a:xfrm>
            <a:off x="4977437" y="7070807"/>
            <a:ext cx="6735567" cy="727658"/>
          </a:xfrm>
          <a:prstGeom prst="rect">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e-DE" sz="2000" b="1"/>
              <a:t>Input </a:t>
            </a:r>
            <a:r>
              <a:rPr lang="de-DE" sz="2000" b="1" err="1"/>
              <a:t>regarding</a:t>
            </a:r>
            <a:r>
              <a:rPr lang="de-DE" sz="2000" b="1"/>
              <a:t> </a:t>
            </a:r>
            <a:r>
              <a:rPr lang="de-DE" sz="2000" b="1" err="1"/>
              <a:t>Agents</a:t>
            </a:r>
            <a:r>
              <a:rPr lang="de-DE" sz="2000" b="1"/>
              <a:t> </a:t>
            </a:r>
            <a:r>
              <a:rPr lang="de-DE" sz="2000" b="1" err="1"/>
              <a:t>description</a:t>
            </a:r>
            <a:r>
              <a:rPr lang="de-DE" sz="2000" b="1"/>
              <a:t> and </a:t>
            </a:r>
            <a:r>
              <a:rPr lang="de-DE" sz="2000" b="1" err="1"/>
              <a:t>mapping</a:t>
            </a:r>
            <a:r>
              <a:rPr lang="de-DE" sz="2000" b="1"/>
              <a:t> </a:t>
            </a:r>
            <a:r>
              <a:rPr lang="de-DE" sz="2000" b="1">
                <a:sym typeface="Wingdings" panose="05000000000000000000" pitchFamily="2" charset="2"/>
              </a:rPr>
              <a:t> „</a:t>
            </a:r>
            <a:r>
              <a:rPr lang="de-DE" sz="2000" b="1" err="1">
                <a:sym typeface="Wingdings" panose="05000000000000000000" pitchFamily="2" charset="2"/>
              </a:rPr>
              <a:t>What</a:t>
            </a:r>
            <a:r>
              <a:rPr lang="de-DE" sz="2000" b="1">
                <a:sym typeface="Wingdings" panose="05000000000000000000" pitchFamily="2" charset="2"/>
              </a:rPr>
              <a:t>“ </a:t>
            </a:r>
            <a:r>
              <a:rPr lang="de-DE" sz="2000" b="1" err="1">
                <a:sym typeface="Wingdings" panose="05000000000000000000" pitchFamily="2" charset="2"/>
              </a:rPr>
              <a:t>team</a:t>
            </a:r>
            <a:r>
              <a:rPr lang="de-DE" sz="2000" b="1">
                <a:sym typeface="Wingdings" panose="05000000000000000000" pitchFamily="2" charset="2"/>
              </a:rPr>
              <a:t>  Ralf </a:t>
            </a:r>
            <a:r>
              <a:rPr lang="de-DE" sz="2000" b="1" err="1">
                <a:sym typeface="Wingdings" panose="05000000000000000000" pitchFamily="2" charset="2"/>
              </a:rPr>
              <a:t>needed</a:t>
            </a:r>
            <a:endParaRPr lang="de-DE" sz="2000" b="1"/>
          </a:p>
        </p:txBody>
      </p:sp>
      <p:graphicFrame>
        <p:nvGraphicFramePr>
          <p:cNvPr id="8" name="Table 7">
            <a:extLst>
              <a:ext uri="{FF2B5EF4-FFF2-40B4-BE49-F238E27FC236}">
                <a16:creationId xmlns:a16="http://schemas.microsoft.com/office/drawing/2014/main" id="{99843422-AEAA-1A3A-60F8-A7C492886B73}"/>
              </a:ext>
            </a:extLst>
          </p:cNvPr>
          <p:cNvGraphicFramePr>
            <a:graphicFrameLocks noGrp="1"/>
          </p:cNvGraphicFramePr>
          <p:nvPr>
            <p:extLst>
              <p:ext uri="{D42A27DB-BD31-4B8C-83A1-F6EECF244321}">
                <p14:modId xmlns:p14="http://schemas.microsoft.com/office/powerpoint/2010/main" val="1534662125"/>
              </p:ext>
            </p:extLst>
          </p:nvPr>
        </p:nvGraphicFramePr>
        <p:xfrm>
          <a:off x="483448" y="2445031"/>
          <a:ext cx="9177910" cy="3891091"/>
        </p:xfrm>
        <a:graphic>
          <a:graphicData uri="http://schemas.openxmlformats.org/drawingml/2006/table">
            <a:tbl>
              <a:tblPr firstRow="1" bandRow="1">
                <a:tableStyleId>{2D5ABB26-0587-4C30-8999-92F81FD0307C}</a:tableStyleId>
              </a:tblPr>
              <a:tblGrid>
                <a:gridCol w="2962319">
                  <a:extLst>
                    <a:ext uri="{9D8B030D-6E8A-4147-A177-3AD203B41FA5}">
                      <a16:colId xmlns:a16="http://schemas.microsoft.com/office/drawing/2014/main" val="3093126323"/>
                    </a:ext>
                  </a:extLst>
                </a:gridCol>
                <a:gridCol w="6215591">
                  <a:extLst>
                    <a:ext uri="{9D8B030D-6E8A-4147-A177-3AD203B41FA5}">
                      <a16:colId xmlns:a16="http://schemas.microsoft.com/office/drawing/2014/main" val="3639332366"/>
                    </a:ext>
                  </a:extLst>
                </a:gridCol>
              </a:tblGrid>
              <a:tr h="324931">
                <a:tc>
                  <a:txBody>
                    <a:bodyPr/>
                    <a:lstStyle/>
                    <a:p>
                      <a:r>
                        <a:rPr lang="en-GB" sz="1400" b="1">
                          <a:solidFill>
                            <a:schemeClr val="bg1"/>
                          </a:solidFill>
                          <a:latin typeface="Calibri" panose="020F0502020204030204" pitchFamily="34" charset="0"/>
                          <a:ea typeface="Calibri" panose="020F0502020204030204" pitchFamily="34" charset="0"/>
                          <a:cs typeface="Calibri" panose="020F0502020204030204" pitchFamily="34" charset="0"/>
                        </a:rPr>
                        <a:t>GenAI name</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400" b="1">
                          <a:solidFill>
                            <a:schemeClr val="bg1"/>
                          </a:solidFill>
                          <a:latin typeface="Calibri" panose="020F0502020204030204" pitchFamily="34" charset="0"/>
                          <a:ea typeface="Calibri" panose="020F0502020204030204" pitchFamily="34" charset="0"/>
                          <a:cs typeface="Calibri" panose="020F0502020204030204" pitchFamily="34" charset="0"/>
                        </a:rPr>
                        <a:t>Descrip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1311708"/>
                  </a:ext>
                </a:extLst>
              </a:tr>
              <a:tr h="400599">
                <a:tc>
                  <a:txBody>
                    <a:bodyPr/>
                    <a:lstStyle/>
                    <a:p>
                      <a:r>
                        <a:rPr lang="en-US" sz="1400" b="0" kern="0">
                          <a:solidFill>
                            <a:schemeClr val="bg1"/>
                          </a:solidFill>
                          <a:latin typeface="Calibri" panose="020F0502020204030204" pitchFamily="34" charset="0"/>
                          <a:ea typeface="Calibri" panose="020F0502020204030204" pitchFamily="34" charset="0"/>
                          <a:cs typeface="Calibri" panose="020F0502020204030204" pitchFamily="34" charset="0"/>
                        </a:rPr>
                        <a:t>Automated Accounting Advisor</a:t>
                      </a:r>
                      <a:endParaRPr lang="en-GB" sz="1400" b="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kern="0">
                          <a:solidFill>
                            <a:schemeClr val="bg1"/>
                          </a:solidFill>
                          <a:latin typeface="Calibri" panose="020F0502020204030204" pitchFamily="34" charset="0"/>
                          <a:ea typeface="Calibri" panose="020F0502020204030204" pitchFamily="34" charset="0"/>
                          <a:cs typeface="Calibri" panose="020F0502020204030204" pitchFamily="34" charset="0"/>
                        </a:rPr>
                        <a:t>The tool uses company-specific accounting details and GenAI to provide fast posting proposals to accountants, while keeping the “human in the loop”</a:t>
                      </a:r>
                      <a:r>
                        <a:rPr lang="en-US" sz="1200" b="0" i="0" u="none" strike="noStrike" kern="1200">
                          <a:solidFill>
                            <a:schemeClr val="bg1"/>
                          </a:solidFill>
                          <a:effectLst/>
                          <a:latin typeface="Calibri" panose="020F0502020204030204" pitchFamily="34" charset="0"/>
                          <a:ea typeface="Calibri" panose="020F0502020204030204" pitchFamily="34" charset="0"/>
                          <a:cs typeface="Calibri" panose="020F0502020204030204" pitchFamily="34" charset="0"/>
                        </a:rPr>
                        <a:t> and update the ERP system automatically</a:t>
                      </a:r>
                      <a:endParaRPr lang="en-GB" sz="120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7597585"/>
                  </a:ext>
                </a:extLst>
              </a:tr>
              <a:tr h="324931">
                <a:tc>
                  <a:txBody>
                    <a:bodyPr/>
                    <a:lstStyle/>
                    <a:p>
                      <a:r>
                        <a:rPr lang="en-US" sz="1400" b="0" kern="0">
                          <a:solidFill>
                            <a:schemeClr val="bg1"/>
                          </a:solidFill>
                          <a:latin typeface="Calibri" panose="020F0502020204030204" pitchFamily="34" charset="0"/>
                          <a:ea typeface="Calibri" panose="020F0502020204030204" pitchFamily="34" charset="0"/>
                          <a:cs typeface="Calibri" panose="020F0502020204030204" pitchFamily="34" charset="0"/>
                        </a:rPr>
                        <a:t>Invoice Posting Assistant</a:t>
                      </a:r>
                      <a:endParaRPr lang="en-GB" sz="1400" b="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kern="0">
                          <a:solidFill>
                            <a:schemeClr val="bg1"/>
                          </a:solidFill>
                          <a:latin typeface="Calibri" panose="020F0502020204030204" pitchFamily="34" charset="0"/>
                          <a:ea typeface="Calibri" panose="020F0502020204030204" pitchFamily="34" charset="0"/>
                          <a:cs typeface="Calibri" panose="020F0502020204030204" pitchFamily="34" charset="0"/>
                        </a:rPr>
                        <a:t>Invoice management simplified to automate invoice reading and posting using Amazon </a:t>
                      </a:r>
                      <a:r>
                        <a:rPr lang="en-US" sz="1200" kern="0" err="1">
                          <a:solidFill>
                            <a:schemeClr val="bg1"/>
                          </a:solidFill>
                          <a:latin typeface="Calibri" panose="020F0502020204030204" pitchFamily="34" charset="0"/>
                          <a:ea typeface="Calibri" panose="020F0502020204030204" pitchFamily="34" charset="0"/>
                          <a:cs typeface="Calibri" panose="020F0502020204030204" pitchFamily="34" charset="0"/>
                        </a:rPr>
                        <a:t>Textract</a:t>
                      </a:r>
                      <a:r>
                        <a:rPr lang="en-US" sz="1200" kern="0">
                          <a:solidFill>
                            <a:schemeClr val="bg1"/>
                          </a:solidFill>
                          <a:latin typeface="Calibri" panose="020F0502020204030204" pitchFamily="34" charset="0"/>
                          <a:ea typeface="Calibri" panose="020F0502020204030204" pitchFamily="34" charset="0"/>
                          <a:cs typeface="Calibri" panose="020F0502020204030204" pitchFamily="34" charset="0"/>
                        </a:rPr>
                        <a:t> &amp; SAP</a:t>
                      </a:r>
                      <a:endParaRPr lang="en-GB" sz="120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9983868"/>
                  </a:ext>
                </a:extLst>
              </a:tr>
              <a:tr h="400599">
                <a:tc>
                  <a:txBody>
                    <a:bodyPr/>
                    <a:lstStyle/>
                    <a:p>
                      <a:r>
                        <a:rPr lang="en-US" sz="1400" b="0" kern="0">
                          <a:solidFill>
                            <a:schemeClr val="bg1"/>
                          </a:solidFill>
                          <a:latin typeface="Calibri" panose="020F0502020204030204" pitchFamily="34" charset="0"/>
                          <a:ea typeface="Calibri" panose="020F0502020204030204" pitchFamily="34" charset="0"/>
                          <a:cs typeface="Calibri" panose="020F0502020204030204" pitchFamily="34" charset="0"/>
                        </a:rPr>
                        <a:t>Autonomous Data Validation</a:t>
                      </a:r>
                      <a:endParaRPr lang="en-GB" sz="1400" b="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kern="0">
                          <a:solidFill>
                            <a:schemeClr val="bg1"/>
                          </a:solidFill>
                          <a:latin typeface="Calibri" panose="020F0502020204030204" pitchFamily="34" charset="0"/>
                          <a:ea typeface="Calibri" panose="020F0502020204030204" pitchFamily="34" charset="0"/>
                          <a:cs typeface="Calibri" panose="020F0502020204030204" pitchFamily="34" charset="0"/>
                        </a:rPr>
                        <a:t>This tool accelerates data validation by using GenAI technology and help to find errors, understand big data sets and support decision making without the need of advanced technology knowledge</a:t>
                      </a:r>
                      <a:endParaRPr lang="en-GB" sz="120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9571616"/>
                  </a:ext>
                </a:extLst>
              </a:tr>
              <a:tr h="324931">
                <a:tc>
                  <a:txBody>
                    <a:bodyPr/>
                    <a:lstStyle/>
                    <a:p>
                      <a:r>
                        <a:rPr lang="en-US" sz="1400" b="0" kern="0">
                          <a:solidFill>
                            <a:schemeClr val="bg1"/>
                          </a:solidFill>
                          <a:latin typeface="Calibri" panose="020F0502020204030204" pitchFamily="34" charset="0"/>
                          <a:ea typeface="Calibri" panose="020F0502020204030204" pitchFamily="34" charset="0"/>
                          <a:cs typeface="Calibri" panose="020F0502020204030204" pitchFamily="34" charset="0"/>
                        </a:rPr>
                        <a:t>Ask your Data</a:t>
                      </a:r>
                      <a:endParaRPr lang="en-GB" sz="1400" b="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kern="0">
                          <a:solidFill>
                            <a:schemeClr val="bg1"/>
                          </a:solidFill>
                          <a:latin typeface="Calibri" panose="020F0502020204030204" pitchFamily="34" charset="0"/>
                          <a:ea typeface="Calibri" panose="020F0502020204030204" pitchFamily="34" charset="0"/>
                          <a:cs typeface="Calibri" panose="020F0502020204030204" pitchFamily="34" charset="0"/>
                        </a:rPr>
                        <a:t>User friendly chat interface, which translates natural language into SQL statement and executes it to display the results</a:t>
                      </a:r>
                      <a:endParaRPr lang="en-GB" sz="120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52081217"/>
                  </a:ext>
                </a:extLst>
              </a:tr>
              <a:tr h="324931">
                <a:tc>
                  <a:txBody>
                    <a:bodyPr/>
                    <a:lstStyle/>
                    <a:p>
                      <a:r>
                        <a:rPr lang="en-US" sz="1400" b="0" kern="0">
                          <a:solidFill>
                            <a:schemeClr val="bg1"/>
                          </a:solidFill>
                          <a:latin typeface="Calibri" panose="020F0502020204030204" pitchFamily="34" charset="0"/>
                          <a:ea typeface="Calibri" panose="020F0502020204030204" pitchFamily="34" charset="0"/>
                          <a:cs typeface="Calibri" panose="020F0502020204030204" pitchFamily="34" charset="0"/>
                        </a:rPr>
                        <a:t>Spare Parts Recognition</a:t>
                      </a:r>
                      <a:endParaRPr lang="en-GB" sz="1400" b="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kern="0">
                          <a:solidFill>
                            <a:schemeClr val="bg1"/>
                          </a:solidFill>
                          <a:latin typeface="Calibri" panose="020F0502020204030204" pitchFamily="34" charset="0"/>
                          <a:ea typeface="Calibri" panose="020F0502020204030204" pitchFamily="34" charset="0"/>
                          <a:cs typeface="Calibri" panose="020F0502020204030204" pitchFamily="34" charset="0"/>
                        </a:rPr>
                        <a:t>Advance image recognition to register and identify personal &amp; spare parts to optimize service processes</a:t>
                      </a:r>
                      <a:endParaRPr lang="en-GB" sz="120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4848278"/>
                  </a:ext>
                </a:extLst>
              </a:tr>
              <a:tr h="324931">
                <a:tc>
                  <a:txBody>
                    <a:bodyPr/>
                    <a:lstStyle/>
                    <a:p>
                      <a:r>
                        <a:rPr lang="en-US" sz="1400" b="0" kern="0">
                          <a:solidFill>
                            <a:schemeClr val="bg1"/>
                          </a:solidFill>
                          <a:latin typeface="Calibri" panose="020F0502020204030204" pitchFamily="34" charset="0"/>
                          <a:ea typeface="Calibri" panose="020F0502020204030204" pitchFamily="34" charset="0"/>
                          <a:cs typeface="Calibri" panose="020F0502020204030204" pitchFamily="34" charset="0"/>
                        </a:rPr>
                        <a:t>Business Comment Aggregation</a:t>
                      </a:r>
                      <a:endParaRPr lang="en-GB" sz="1400" b="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kern="0">
                          <a:solidFill>
                            <a:schemeClr val="bg1"/>
                          </a:solidFill>
                          <a:latin typeface="Calibri" panose="020F0502020204030204" pitchFamily="34" charset="0"/>
                          <a:ea typeface="Calibri" panose="020F0502020204030204" pitchFamily="34" charset="0"/>
                          <a:cs typeface="Calibri" panose="020F0502020204030204" pitchFamily="34" charset="0"/>
                        </a:rPr>
                        <a:t>Reading comments from SAC data models and provide a structured summary, highlight important facts and extract action points</a:t>
                      </a:r>
                      <a:endParaRPr lang="en-GB" sz="120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3752399"/>
                  </a:ext>
                </a:extLst>
              </a:tr>
              <a:tr h="400599">
                <a:tc>
                  <a:txBody>
                    <a:bodyPr/>
                    <a:lstStyle/>
                    <a:p>
                      <a:r>
                        <a:rPr lang="en-GB" sz="1400" b="0" err="1">
                          <a:solidFill>
                            <a:schemeClr val="bg1"/>
                          </a:solidFill>
                          <a:latin typeface="Calibri" panose="020F0502020204030204" pitchFamily="34" charset="0"/>
                          <a:ea typeface="Calibri" panose="020F0502020204030204" pitchFamily="34" charset="0"/>
                          <a:cs typeface="Calibri" panose="020F0502020204030204" pitchFamily="34" charset="0"/>
                        </a:rPr>
                        <a:t>SkillBridge</a:t>
                      </a:r>
                      <a:endParaRPr lang="en-GB" sz="1400" b="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en-GB" sz="1200">
                          <a:solidFill>
                            <a:schemeClr val="bg1"/>
                          </a:solidFill>
                          <a:latin typeface="Calibri" panose="020F0502020204030204" pitchFamily="34" charset="0"/>
                          <a:ea typeface="Calibri" panose="020F0502020204030204" pitchFamily="34" charset="0"/>
                          <a:cs typeface="Calibri" panose="020F0502020204030204" pitchFamily="34" charset="0"/>
                        </a:rPr>
                        <a:t>Perform skill gap analysis and recommendations to evaluate skills employees currently possess, the skills required for their roles and recommendations on how to bridge the gap based on company’s 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637328677"/>
                  </a:ext>
                </a:extLst>
              </a:tr>
            </a:tbl>
          </a:graphicData>
        </a:graphic>
      </p:graphicFrame>
      <p:grpSp>
        <p:nvGrpSpPr>
          <p:cNvPr id="3" name="Group 2">
            <a:extLst>
              <a:ext uri="{FF2B5EF4-FFF2-40B4-BE49-F238E27FC236}">
                <a16:creationId xmlns:a16="http://schemas.microsoft.com/office/drawing/2014/main" id="{07B3922D-229A-EAEE-7BE0-9BFF2505BF4B}"/>
              </a:ext>
            </a:extLst>
          </p:cNvPr>
          <p:cNvGrpSpPr/>
          <p:nvPr/>
        </p:nvGrpSpPr>
        <p:grpSpPr>
          <a:xfrm>
            <a:off x="0" y="0"/>
            <a:ext cx="12192000" cy="1400325"/>
            <a:chOff x="0" y="-44202"/>
            <a:chExt cx="12192000" cy="1400325"/>
          </a:xfrm>
        </p:grpSpPr>
        <p:sp>
          <p:nvSpPr>
            <p:cNvPr id="4" name="Rectangle 3">
              <a:extLst>
                <a:ext uri="{FF2B5EF4-FFF2-40B4-BE49-F238E27FC236}">
                  <a16:creationId xmlns:a16="http://schemas.microsoft.com/office/drawing/2014/main" id="{A52D15E5-ACA4-0B88-3650-9C64386960E7}"/>
                </a:ext>
              </a:extLst>
            </p:cNvPr>
            <p:cNvSpPr/>
            <p:nvPr/>
          </p:nvSpPr>
          <p:spPr>
            <a:xfrm>
              <a:off x="0" y="-44202"/>
              <a:ext cx="12192000" cy="140032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u="sng"/>
            </a:p>
          </p:txBody>
        </p:sp>
        <p:pic>
          <p:nvPicPr>
            <p:cNvPr id="5" name="Picture 4">
              <a:extLst>
                <a:ext uri="{FF2B5EF4-FFF2-40B4-BE49-F238E27FC236}">
                  <a16:creationId xmlns:a16="http://schemas.microsoft.com/office/drawing/2014/main" id="{3EF8B4BE-0E4D-5601-C4FC-7FDC22D8C949}"/>
                </a:ext>
              </a:extLst>
            </p:cNvPr>
            <p:cNvPicPr>
              <a:picLocks noChangeAspect="1"/>
            </p:cNvPicPr>
            <p:nvPr/>
          </p:nvPicPr>
          <p:blipFill>
            <a:blip r:embed="rId3" cstate="screen">
              <a:extLst>
                <a:ext uri="{28A0092B-C50C-407E-A947-70E740481C1C}">
                  <a14:useLocalDpi xmlns:a14="http://schemas.microsoft.com/office/drawing/2010/main"/>
                </a:ext>
              </a:extLst>
            </a:blip>
            <a:srcRect l="12359" t="29466" r="11827" b="27443"/>
            <a:stretch/>
          </p:blipFill>
          <p:spPr>
            <a:xfrm>
              <a:off x="130505" y="139288"/>
              <a:ext cx="2777795" cy="640511"/>
            </a:xfrm>
            <a:prstGeom prst="rect">
              <a:avLst/>
            </a:prstGeom>
          </p:spPr>
        </p:pic>
        <p:sp>
          <p:nvSpPr>
            <p:cNvPr id="6" name="Rectangle 5">
              <a:extLst>
                <a:ext uri="{FF2B5EF4-FFF2-40B4-BE49-F238E27FC236}">
                  <a16:creationId xmlns:a16="http://schemas.microsoft.com/office/drawing/2014/main" id="{61B2DA76-6698-EEC8-9C2C-A3B3D5E46B68}"/>
                </a:ext>
              </a:extLst>
            </p:cNvPr>
            <p:cNvSpPr/>
            <p:nvPr/>
          </p:nvSpPr>
          <p:spPr>
            <a:xfrm>
              <a:off x="11178857" y="732541"/>
              <a:ext cx="534147" cy="161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rPr>
                <a:t>My Site</a:t>
              </a:r>
            </a:p>
          </p:txBody>
        </p:sp>
        <p:sp>
          <p:nvSpPr>
            <p:cNvPr id="7" name="Rectangle 6">
              <a:extLst>
                <a:ext uri="{FF2B5EF4-FFF2-40B4-BE49-F238E27FC236}">
                  <a16:creationId xmlns:a16="http://schemas.microsoft.com/office/drawing/2014/main" id="{9FC53CAE-5582-74E5-9A59-90A177E48989}"/>
                </a:ext>
              </a:extLst>
            </p:cNvPr>
            <p:cNvSpPr/>
            <p:nvPr/>
          </p:nvSpPr>
          <p:spPr>
            <a:xfrm>
              <a:off x="10332551" y="922777"/>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Chat with a consultant</a:t>
              </a:r>
            </a:p>
          </p:txBody>
        </p:sp>
        <p:pic>
          <p:nvPicPr>
            <p:cNvPr id="11" name="Picture 4" descr="Banner">
              <a:extLst>
                <a:ext uri="{FF2B5EF4-FFF2-40B4-BE49-F238E27FC236}">
                  <a16:creationId xmlns:a16="http://schemas.microsoft.com/office/drawing/2014/main" id="{1A28ACE8-7EE0-117E-6858-41C4C9D7C0A7}"/>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381697" y="66195"/>
              <a:ext cx="1594320" cy="895532"/>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a:extLst>
              <a:ext uri="{FF2B5EF4-FFF2-40B4-BE49-F238E27FC236}">
                <a16:creationId xmlns:a16="http://schemas.microsoft.com/office/drawing/2014/main" id="{7F66EA30-C8AC-7256-90F4-C3A55B4B7B4D}"/>
              </a:ext>
            </a:extLst>
          </p:cNvPr>
          <p:cNvSpPr/>
          <p:nvPr/>
        </p:nvSpPr>
        <p:spPr>
          <a:xfrm flipV="1">
            <a:off x="0" y="1376611"/>
            <a:ext cx="12192001" cy="61174"/>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Picture 2" descr="Banner">
            <a:extLst>
              <a:ext uri="{FF2B5EF4-FFF2-40B4-BE49-F238E27FC236}">
                <a16:creationId xmlns:a16="http://schemas.microsoft.com/office/drawing/2014/main" id="{1F928148-FF76-63FF-5FB5-152A073B229F}"/>
              </a:ext>
            </a:extLst>
          </p:cNvPr>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10485728" y="4078591"/>
            <a:ext cx="1343140" cy="109119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56E6A3C-1408-411D-8871-E5DE23EEA279}"/>
              </a:ext>
            </a:extLst>
          </p:cNvPr>
          <p:cNvSpPr txBox="1"/>
          <p:nvPr/>
        </p:nvSpPr>
        <p:spPr>
          <a:xfrm>
            <a:off x="483448" y="1454441"/>
            <a:ext cx="8057536" cy="777136"/>
          </a:xfrm>
          <a:prstGeom prst="rect">
            <a:avLst/>
          </a:prstGeom>
          <a:noFill/>
        </p:spPr>
        <p:txBody>
          <a:bodyPr wrap="square">
            <a:spAutoFit/>
          </a:bodyPr>
          <a:lstStyle/>
          <a:p>
            <a:pPr>
              <a:spcAft>
                <a:spcPts val="1500"/>
              </a:spcAft>
            </a:pPr>
            <a:r>
              <a:rPr lang="en-US" b="1">
                <a:solidFill>
                  <a:schemeClr val="accent1"/>
                </a:solidFill>
                <a:latin typeface="Arial" panose="020B0604020202020204" pitchFamily="34" charset="0"/>
              </a:rPr>
              <a:t>Business Agents – Your new digital workforce force </a:t>
            </a:r>
            <a:endParaRPr lang="en-US">
              <a:solidFill>
                <a:srgbClr val="FFFFFF"/>
              </a:solidFill>
              <a:latin typeface="Arial" panose="020B0604020202020204" pitchFamily="34" charset="0"/>
            </a:endParaRPr>
          </a:p>
          <a:p>
            <a:pPr>
              <a:spcAft>
                <a:spcPts val="1500"/>
              </a:spcAft>
            </a:pPr>
            <a:r>
              <a:rPr lang="en-US" sz="1400">
                <a:solidFill>
                  <a:srgbClr val="FFFFFF"/>
                </a:solidFill>
                <a:latin typeface="Arial" panose="020B0604020202020204" pitchFamily="34" charset="0"/>
              </a:rPr>
              <a:t>Available agents in your network:</a:t>
            </a:r>
            <a:endParaRPr lang="en-US" sz="1400" b="0" i="0">
              <a:solidFill>
                <a:srgbClr val="FFFFFF"/>
              </a:solidFill>
              <a:effectLst/>
              <a:latin typeface="Arial" panose="020B0604020202020204" pitchFamily="34" charset="0"/>
            </a:endParaRPr>
          </a:p>
        </p:txBody>
      </p:sp>
    </p:spTree>
    <p:extLst>
      <p:ext uri="{BB962C8B-B14F-4D97-AF65-F5344CB8AC3E}">
        <p14:creationId xmlns:p14="http://schemas.microsoft.com/office/powerpoint/2010/main" val="5019830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09628-BD2B-EEA7-99BC-9A856D7DDFF7}"/>
            </a:ext>
          </a:extLst>
        </p:cNvPr>
        <p:cNvGrpSpPr/>
        <p:nvPr/>
      </p:nvGrpSpPr>
      <p:grpSpPr>
        <a:xfrm>
          <a:off x="0" y="0"/>
          <a:ext cx="0" cy="0"/>
          <a:chOff x="0" y="0"/>
          <a:chExt cx="0" cy="0"/>
        </a:xfrm>
      </p:grpSpPr>
      <p:sp>
        <p:nvSpPr>
          <p:cNvPr id="119" name="Rectangle 118">
            <a:extLst>
              <a:ext uri="{FF2B5EF4-FFF2-40B4-BE49-F238E27FC236}">
                <a16:creationId xmlns:a16="http://schemas.microsoft.com/office/drawing/2014/main" id="{6E6F5D25-6385-6769-7255-405425CB42B7}"/>
              </a:ext>
            </a:extLst>
          </p:cNvPr>
          <p:cNvSpPr/>
          <p:nvPr/>
        </p:nvSpPr>
        <p:spPr bwMode="gray">
          <a:xfrm>
            <a:off x="4977437" y="7070807"/>
            <a:ext cx="6735567" cy="727658"/>
          </a:xfrm>
          <a:prstGeom prst="rect">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e-DE" sz="2000" b="1"/>
              <a:t>Input </a:t>
            </a:r>
            <a:r>
              <a:rPr lang="de-DE" sz="2000" b="1" err="1"/>
              <a:t>regarding</a:t>
            </a:r>
            <a:r>
              <a:rPr lang="de-DE" sz="2000" b="1"/>
              <a:t> </a:t>
            </a:r>
            <a:r>
              <a:rPr lang="de-DE" sz="2000" b="1" err="1"/>
              <a:t>Agents</a:t>
            </a:r>
            <a:r>
              <a:rPr lang="de-DE" sz="2000" b="1"/>
              <a:t> </a:t>
            </a:r>
            <a:r>
              <a:rPr lang="de-DE" sz="2000" b="1" err="1"/>
              <a:t>description</a:t>
            </a:r>
            <a:r>
              <a:rPr lang="de-DE" sz="2000" b="1"/>
              <a:t> and </a:t>
            </a:r>
            <a:r>
              <a:rPr lang="de-DE" sz="2000" b="1" err="1"/>
              <a:t>mapping</a:t>
            </a:r>
            <a:r>
              <a:rPr lang="de-DE" sz="2000" b="1"/>
              <a:t> </a:t>
            </a:r>
            <a:r>
              <a:rPr lang="de-DE" sz="2000" b="1">
                <a:sym typeface="Wingdings" panose="05000000000000000000" pitchFamily="2" charset="2"/>
              </a:rPr>
              <a:t> „</a:t>
            </a:r>
            <a:r>
              <a:rPr lang="de-DE" sz="2000" b="1" err="1">
                <a:sym typeface="Wingdings" panose="05000000000000000000" pitchFamily="2" charset="2"/>
              </a:rPr>
              <a:t>What</a:t>
            </a:r>
            <a:r>
              <a:rPr lang="de-DE" sz="2000" b="1">
                <a:sym typeface="Wingdings" panose="05000000000000000000" pitchFamily="2" charset="2"/>
              </a:rPr>
              <a:t>“ </a:t>
            </a:r>
            <a:r>
              <a:rPr lang="de-DE" sz="2000" b="1" err="1">
                <a:sym typeface="Wingdings" panose="05000000000000000000" pitchFamily="2" charset="2"/>
              </a:rPr>
              <a:t>team</a:t>
            </a:r>
            <a:r>
              <a:rPr lang="de-DE" sz="2000" b="1">
                <a:sym typeface="Wingdings" panose="05000000000000000000" pitchFamily="2" charset="2"/>
              </a:rPr>
              <a:t>  Ralf </a:t>
            </a:r>
            <a:r>
              <a:rPr lang="de-DE" sz="2000" b="1" err="1">
                <a:sym typeface="Wingdings" panose="05000000000000000000" pitchFamily="2" charset="2"/>
              </a:rPr>
              <a:t>needed</a:t>
            </a:r>
            <a:endParaRPr lang="de-DE" sz="2000" b="1"/>
          </a:p>
        </p:txBody>
      </p:sp>
      <p:grpSp>
        <p:nvGrpSpPr>
          <p:cNvPr id="3" name="Group 2">
            <a:extLst>
              <a:ext uri="{FF2B5EF4-FFF2-40B4-BE49-F238E27FC236}">
                <a16:creationId xmlns:a16="http://schemas.microsoft.com/office/drawing/2014/main" id="{DE5C3A59-A395-7B54-A2C1-CA4ED01BCB07}"/>
              </a:ext>
            </a:extLst>
          </p:cNvPr>
          <p:cNvGrpSpPr/>
          <p:nvPr/>
        </p:nvGrpSpPr>
        <p:grpSpPr>
          <a:xfrm>
            <a:off x="0" y="0"/>
            <a:ext cx="12192000" cy="1400325"/>
            <a:chOff x="0" y="-44202"/>
            <a:chExt cx="12192000" cy="1400325"/>
          </a:xfrm>
        </p:grpSpPr>
        <p:sp>
          <p:nvSpPr>
            <p:cNvPr id="4" name="Rectangle 3">
              <a:extLst>
                <a:ext uri="{FF2B5EF4-FFF2-40B4-BE49-F238E27FC236}">
                  <a16:creationId xmlns:a16="http://schemas.microsoft.com/office/drawing/2014/main" id="{28BB5982-F43A-4155-5946-48B6853C7FBE}"/>
                </a:ext>
              </a:extLst>
            </p:cNvPr>
            <p:cNvSpPr/>
            <p:nvPr/>
          </p:nvSpPr>
          <p:spPr>
            <a:xfrm>
              <a:off x="0" y="-44202"/>
              <a:ext cx="12192000" cy="140032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u="sng"/>
            </a:p>
          </p:txBody>
        </p:sp>
        <p:pic>
          <p:nvPicPr>
            <p:cNvPr id="5" name="Picture 4">
              <a:extLst>
                <a:ext uri="{FF2B5EF4-FFF2-40B4-BE49-F238E27FC236}">
                  <a16:creationId xmlns:a16="http://schemas.microsoft.com/office/drawing/2014/main" id="{91DB3AAE-9A70-4BC8-8A92-0F3D48ADA144}"/>
                </a:ext>
              </a:extLst>
            </p:cNvPr>
            <p:cNvPicPr>
              <a:picLocks noChangeAspect="1"/>
            </p:cNvPicPr>
            <p:nvPr/>
          </p:nvPicPr>
          <p:blipFill>
            <a:blip r:embed="rId3" cstate="screen">
              <a:extLst>
                <a:ext uri="{28A0092B-C50C-407E-A947-70E740481C1C}">
                  <a14:useLocalDpi xmlns:a14="http://schemas.microsoft.com/office/drawing/2010/main"/>
                </a:ext>
              </a:extLst>
            </a:blip>
            <a:srcRect l="12359" t="29466" r="11827" b="27443"/>
            <a:stretch/>
          </p:blipFill>
          <p:spPr>
            <a:xfrm>
              <a:off x="130505" y="139288"/>
              <a:ext cx="2777795" cy="640511"/>
            </a:xfrm>
            <a:prstGeom prst="rect">
              <a:avLst/>
            </a:prstGeom>
          </p:spPr>
        </p:pic>
        <p:sp>
          <p:nvSpPr>
            <p:cNvPr id="6" name="Rectangle 5">
              <a:extLst>
                <a:ext uri="{FF2B5EF4-FFF2-40B4-BE49-F238E27FC236}">
                  <a16:creationId xmlns:a16="http://schemas.microsoft.com/office/drawing/2014/main" id="{A450D129-A9DC-A30C-01E5-A90D523BC2F8}"/>
                </a:ext>
              </a:extLst>
            </p:cNvPr>
            <p:cNvSpPr/>
            <p:nvPr/>
          </p:nvSpPr>
          <p:spPr>
            <a:xfrm>
              <a:off x="11178857" y="732541"/>
              <a:ext cx="534147" cy="161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rPr>
                <a:t>My Site</a:t>
              </a:r>
            </a:p>
          </p:txBody>
        </p:sp>
        <p:sp>
          <p:nvSpPr>
            <p:cNvPr id="7" name="Rectangle 6">
              <a:extLst>
                <a:ext uri="{FF2B5EF4-FFF2-40B4-BE49-F238E27FC236}">
                  <a16:creationId xmlns:a16="http://schemas.microsoft.com/office/drawing/2014/main" id="{098E332F-D80B-0819-FE98-315B44533898}"/>
                </a:ext>
              </a:extLst>
            </p:cNvPr>
            <p:cNvSpPr/>
            <p:nvPr/>
          </p:nvSpPr>
          <p:spPr>
            <a:xfrm>
              <a:off x="10332551" y="922777"/>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Chat with a consultant</a:t>
              </a:r>
            </a:p>
          </p:txBody>
        </p:sp>
        <p:pic>
          <p:nvPicPr>
            <p:cNvPr id="11" name="Picture 4" descr="Banner">
              <a:extLst>
                <a:ext uri="{FF2B5EF4-FFF2-40B4-BE49-F238E27FC236}">
                  <a16:creationId xmlns:a16="http://schemas.microsoft.com/office/drawing/2014/main" id="{9088583A-6D1B-D32D-D2B1-CB33A2580A42}"/>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381697" y="66195"/>
              <a:ext cx="1594320" cy="895532"/>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a:extLst>
              <a:ext uri="{FF2B5EF4-FFF2-40B4-BE49-F238E27FC236}">
                <a16:creationId xmlns:a16="http://schemas.microsoft.com/office/drawing/2014/main" id="{0D5A4994-CFAC-78A7-17AA-14D8BDB54A43}"/>
              </a:ext>
            </a:extLst>
          </p:cNvPr>
          <p:cNvSpPr/>
          <p:nvPr/>
        </p:nvSpPr>
        <p:spPr>
          <a:xfrm flipV="1">
            <a:off x="0" y="1376611"/>
            <a:ext cx="12192001" cy="61174"/>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Picture 2" descr="Banner">
            <a:extLst>
              <a:ext uri="{FF2B5EF4-FFF2-40B4-BE49-F238E27FC236}">
                <a16:creationId xmlns:a16="http://schemas.microsoft.com/office/drawing/2014/main" id="{297A0AEC-ACBB-4F98-3888-573865ABA598}"/>
              </a:ext>
            </a:extLst>
          </p:cNvPr>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10485728" y="4078591"/>
            <a:ext cx="1343140" cy="109119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33619EC-F3DE-7D09-5CA6-32FBF02F90B9}"/>
              </a:ext>
            </a:extLst>
          </p:cNvPr>
          <p:cNvSpPr txBox="1"/>
          <p:nvPr/>
        </p:nvSpPr>
        <p:spPr>
          <a:xfrm>
            <a:off x="483448" y="1454441"/>
            <a:ext cx="8057536" cy="777136"/>
          </a:xfrm>
          <a:prstGeom prst="rect">
            <a:avLst/>
          </a:prstGeom>
          <a:noFill/>
        </p:spPr>
        <p:txBody>
          <a:bodyPr wrap="square">
            <a:spAutoFit/>
          </a:bodyPr>
          <a:lstStyle/>
          <a:p>
            <a:pPr>
              <a:spcAft>
                <a:spcPts val="1500"/>
              </a:spcAft>
            </a:pPr>
            <a:r>
              <a:rPr lang="en-US" b="1">
                <a:solidFill>
                  <a:schemeClr val="accent1"/>
                </a:solidFill>
                <a:latin typeface="Arial" panose="020B0604020202020204" pitchFamily="34" charset="0"/>
              </a:rPr>
              <a:t>Business Agents – Your new digital workforce force </a:t>
            </a:r>
            <a:endParaRPr lang="en-US">
              <a:solidFill>
                <a:srgbClr val="FFFFFF"/>
              </a:solidFill>
              <a:latin typeface="Arial" panose="020B0604020202020204" pitchFamily="34" charset="0"/>
            </a:endParaRPr>
          </a:p>
          <a:p>
            <a:pPr>
              <a:spcAft>
                <a:spcPts val="1500"/>
              </a:spcAft>
            </a:pPr>
            <a:r>
              <a:rPr lang="en-US" sz="1400">
                <a:solidFill>
                  <a:srgbClr val="FFFFFF"/>
                </a:solidFill>
                <a:latin typeface="Arial" panose="020B0604020202020204" pitchFamily="34" charset="0"/>
              </a:rPr>
              <a:t>Available agents in your network:</a:t>
            </a:r>
            <a:endParaRPr lang="en-US" sz="1400" b="0" i="0">
              <a:solidFill>
                <a:srgbClr val="FFFFFF"/>
              </a:solidFill>
              <a:effectLst/>
              <a:latin typeface="Arial" panose="020B0604020202020204" pitchFamily="34" charset="0"/>
            </a:endParaRPr>
          </a:p>
        </p:txBody>
      </p:sp>
      <p:graphicFrame>
        <p:nvGraphicFramePr>
          <p:cNvPr id="10" name="Diagram 9">
            <a:extLst>
              <a:ext uri="{FF2B5EF4-FFF2-40B4-BE49-F238E27FC236}">
                <a16:creationId xmlns:a16="http://schemas.microsoft.com/office/drawing/2014/main" id="{DE56E367-A158-4641-8945-FEFB5B5487B8}"/>
              </a:ext>
            </a:extLst>
          </p:cNvPr>
          <p:cNvGraphicFramePr/>
          <p:nvPr/>
        </p:nvGraphicFramePr>
        <p:xfrm>
          <a:off x="1220523" y="4424802"/>
          <a:ext cx="8128000" cy="224730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3" name="Diagram 12">
            <a:extLst>
              <a:ext uri="{FF2B5EF4-FFF2-40B4-BE49-F238E27FC236}">
                <a16:creationId xmlns:a16="http://schemas.microsoft.com/office/drawing/2014/main" id="{C65A466F-D55A-BA44-6223-E2F7AF781BB6}"/>
              </a:ext>
            </a:extLst>
          </p:cNvPr>
          <p:cNvGraphicFramePr/>
          <p:nvPr/>
        </p:nvGraphicFramePr>
        <p:xfrm>
          <a:off x="1034702" y="2379122"/>
          <a:ext cx="8867287" cy="197412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14" name="Picture 13">
            <a:extLst>
              <a:ext uri="{FF2B5EF4-FFF2-40B4-BE49-F238E27FC236}">
                <a16:creationId xmlns:a16="http://schemas.microsoft.com/office/drawing/2014/main" id="{96449D97-3178-1A60-4019-55D7E81F888B}"/>
              </a:ext>
            </a:extLst>
          </p:cNvPr>
          <p:cNvPicPr>
            <a:picLocks noChangeAspect="1"/>
          </p:cNvPicPr>
          <p:nvPr/>
        </p:nvPicPr>
        <p:blipFill>
          <a:blip r:embed="rId16"/>
          <a:stretch>
            <a:fillRect/>
          </a:stretch>
        </p:blipFill>
        <p:spPr>
          <a:xfrm>
            <a:off x="483448" y="1885313"/>
            <a:ext cx="9523581" cy="4034182"/>
          </a:xfrm>
          <a:prstGeom prst="rect">
            <a:avLst/>
          </a:prstGeom>
        </p:spPr>
      </p:pic>
      <p:pic>
        <p:nvPicPr>
          <p:cNvPr id="16" name="Picture 15">
            <a:extLst>
              <a:ext uri="{FF2B5EF4-FFF2-40B4-BE49-F238E27FC236}">
                <a16:creationId xmlns:a16="http://schemas.microsoft.com/office/drawing/2014/main" id="{1F567D5C-3E79-F80F-A839-31CA5274D698}"/>
              </a:ext>
            </a:extLst>
          </p:cNvPr>
          <p:cNvPicPr>
            <a:picLocks noChangeAspect="1"/>
          </p:cNvPicPr>
          <p:nvPr/>
        </p:nvPicPr>
        <p:blipFill>
          <a:blip r:embed="rId17"/>
          <a:stretch>
            <a:fillRect/>
          </a:stretch>
        </p:blipFill>
        <p:spPr>
          <a:xfrm>
            <a:off x="499688" y="5919495"/>
            <a:ext cx="9569669" cy="3632930"/>
          </a:xfrm>
          <a:prstGeom prst="rect">
            <a:avLst/>
          </a:prstGeom>
        </p:spPr>
      </p:pic>
    </p:spTree>
    <p:extLst>
      <p:ext uri="{BB962C8B-B14F-4D97-AF65-F5344CB8AC3E}">
        <p14:creationId xmlns:p14="http://schemas.microsoft.com/office/powerpoint/2010/main" val="9647888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2FF2952-D75D-00E4-A002-4C5A392BF6FC}"/>
              </a:ext>
            </a:extLst>
          </p:cNvPr>
          <p:cNvSpPr/>
          <p:nvPr/>
        </p:nvSpPr>
        <p:spPr>
          <a:xfrm>
            <a:off x="2330" y="8101207"/>
            <a:ext cx="12192000" cy="366446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Picture 10">
            <a:extLst>
              <a:ext uri="{FF2B5EF4-FFF2-40B4-BE49-F238E27FC236}">
                <a16:creationId xmlns:a16="http://schemas.microsoft.com/office/drawing/2014/main" id="{4F0B8744-BBD0-2A59-10D3-059CE6560AD7}"/>
              </a:ext>
            </a:extLst>
          </p:cNvPr>
          <p:cNvPicPr>
            <a:picLocks noChangeAspect="1"/>
          </p:cNvPicPr>
          <p:nvPr/>
        </p:nvPicPr>
        <p:blipFill>
          <a:blip r:embed="rId3"/>
          <a:stretch>
            <a:fillRect/>
          </a:stretch>
        </p:blipFill>
        <p:spPr>
          <a:xfrm>
            <a:off x="2331" y="1537045"/>
            <a:ext cx="12192000" cy="6927019"/>
          </a:xfrm>
          <a:prstGeom prst="rect">
            <a:avLst/>
          </a:prstGeom>
        </p:spPr>
      </p:pic>
      <p:grpSp>
        <p:nvGrpSpPr>
          <p:cNvPr id="1239" name="Group 1238">
            <a:extLst>
              <a:ext uri="{FF2B5EF4-FFF2-40B4-BE49-F238E27FC236}">
                <a16:creationId xmlns:a16="http://schemas.microsoft.com/office/drawing/2014/main" id="{A54F7354-7FDF-F5B2-2C57-D81A1F30E43F}"/>
              </a:ext>
            </a:extLst>
          </p:cNvPr>
          <p:cNvGrpSpPr/>
          <p:nvPr/>
        </p:nvGrpSpPr>
        <p:grpSpPr>
          <a:xfrm>
            <a:off x="470325" y="5881872"/>
            <a:ext cx="8210690" cy="5545124"/>
            <a:chOff x="1970903" y="1248876"/>
            <a:chExt cx="7643248" cy="5161901"/>
          </a:xfrm>
        </p:grpSpPr>
        <p:sp>
          <p:nvSpPr>
            <p:cNvPr id="1110" name="Rectangle 1109">
              <a:extLst>
                <a:ext uri="{FF2B5EF4-FFF2-40B4-BE49-F238E27FC236}">
                  <a16:creationId xmlns:a16="http://schemas.microsoft.com/office/drawing/2014/main" id="{1E8E1B64-3B92-F962-29F6-B27B6B38AC7C}"/>
                </a:ext>
              </a:extLst>
            </p:cNvPr>
            <p:cNvSpPr/>
            <p:nvPr/>
          </p:nvSpPr>
          <p:spPr>
            <a:xfrm>
              <a:off x="1970903" y="1248876"/>
              <a:ext cx="2113903"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400" b="1">
                  <a:solidFill>
                    <a:schemeClr val="accent1"/>
                  </a:solidFill>
                  <a:latin typeface="+mj-lt"/>
                  <a:ea typeface="Sans Serif Collection" panose="020B0502040504020204" pitchFamily="34" charset="0"/>
                  <a:cs typeface="Sans Serif Collection" panose="020B0502040504020204" pitchFamily="34" charset="0"/>
                </a:rPr>
                <a:t>Agents</a:t>
              </a:r>
            </a:p>
          </p:txBody>
        </p:sp>
        <p:sp>
          <p:nvSpPr>
            <p:cNvPr id="1111" name="Rectangle 1110">
              <a:extLst>
                <a:ext uri="{FF2B5EF4-FFF2-40B4-BE49-F238E27FC236}">
                  <a16:creationId xmlns:a16="http://schemas.microsoft.com/office/drawing/2014/main" id="{D6115971-6051-B2F6-84D9-FFF3AB974D9B}"/>
                </a:ext>
              </a:extLst>
            </p:cNvPr>
            <p:cNvSpPr/>
            <p:nvPr/>
          </p:nvSpPr>
          <p:spPr>
            <a:xfrm>
              <a:off x="1970903" y="3071328"/>
              <a:ext cx="2113903"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400" b="1">
                  <a:solidFill>
                    <a:schemeClr val="accent1"/>
                  </a:solidFill>
                  <a:latin typeface="+mj-lt"/>
                  <a:ea typeface="Sans Serif Collection" panose="020B0502040504020204" pitchFamily="34" charset="0"/>
                  <a:cs typeface="Sans Serif Collection" panose="020B0502040504020204" pitchFamily="34" charset="0"/>
                </a:rPr>
                <a:t>Administration</a:t>
              </a:r>
            </a:p>
          </p:txBody>
        </p:sp>
        <p:sp>
          <p:nvSpPr>
            <p:cNvPr id="1112" name="Rectangle 1111">
              <a:extLst>
                <a:ext uri="{FF2B5EF4-FFF2-40B4-BE49-F238E27FC236}">
                  <a16:creationId xmlns:a16="http://schemas.microsoft.com/office/drawing/2014/main" id="{652C6A01-698F-6DA4-A9C0-45C2C2991095}"/>
                </a:ext>
              </a:extLst>
            </p:cNvPr>
            <p:cNvSpPr/>
            <p:nvPr/>
          </p:nvSpPr>
          <p:spPr>
            <a:xfrm>
              <a:off x="1970903" y="4902282"/>
              <a:ext cx="2113903"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400" b="1">
                  <a:solidFill>
                    <a:schemeClr val="accent1"/>
                  </a:solidFill>
                  <a:latin typeface="+mj-lt"/>
                  <a:ea typeface="Sans Serif Collection" panose="020B0502040504020204" pitchFamily="34" charset="0"/>
                  <a:cs typeface="Sans Serif Collection" panose="020B0502040504020204" pitchFamily="34" charset="0"/>
                </a:rPr>
                <a:t>Monitoring</a:t>
              </a:r>
            </a:p>
          </p:txBody>
        </p:sp>
        <p:sp>
          <p:nvSpPr>
            <p:cNvPr id="1113" name="Rectangle: Rounded Corners 1112">
              <a:extLst>
                <a:ext uri="{FF2B5EF4-FFF2-40B4-BE49-F238E27FC236}">
                  <a16:creationId xmlns:a16="http://schemas.microsoft.com/office/drawing/2014/main" id="{A465AB9E-84B2-CAF7-03CF-DF1F7D329EA1}"/>
                </a:ext>
              </a:extLst>
            </p:cNvPr>
            <p:cNvSpPr/>
            <p:nvPr/>
          </p:nvSpPr>
          <p:spPr>
            <a:xfrm>
              <a:off x="1976260" y="1602470"/>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4" name="Rectangle 1113">
              <a:extLst>
                <a:ext uri="{FF2B5EF4-FFF2-40B4-BE49-F238E27FC236}">
                  <a16:creationId xmlns:a16="http://schemas.microsoft.com/office/drawing/2014/main" id="{982CA1DA-07FC-C3FF-2DAB-AB1659BAF046}"/>
                </a:ext>
              </a:extLst>
            </p:cNvPr>
            <p:cNvSpPr/>
            <p:nvPr/>
          </p:nvSpPr>
          <p:spPr>
            <a:xfrm>
              <a:off x="2059672" y="1710121"/>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Automated Accounting Advisor</a:t>
              </a:r>
            </a:p>
          </p:txBody>
        </p:sp>
        <p:sp>
          <p:nvSpPr>
            <p:cNvPr id="1115" name="Rectangle: Rounded Corners 1114">
              <a:extLst>
                <a:ext uri="{FF2B5EF4-FFF2-40B4-BE49-F238E27FC236}">
                  <a16:creationId xmlns:a16="http://schemas.microsoft.com/office/drawing/2014/main" id="{3FB7FA67-EB01-1CD1-F387-DB3937AD7E71}"/>
                </a:ext>
              </a:extLst>
            </p:cNvPr>
            <p:cNvSpPr/>
            <p:nvPr/>
          </p:nvSpPr>
          <p:spPr>
            <a:xfrm>
              <a:off x="3262854" y="1602470"/>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6" name="Rectangle 1115">
              <a:extLst>
                <a:ext uri="{FF2B5EF4-FFF2-40B4-BE49-F238E27FC236}">
                  <a16:creationId xmlns:a16="http://schemas.microsoft.com/office/drawing/2014/main" id="{7F471CED-B9E5-26C4-3445-B9F378BBDAE3}"/>
                </a:ext>
              </a:extLst>
            </p:cNvPr>
            <p:cNvSpPr/>
            <p:nvPr/>
          </p:nvSpPr>
          <p:spPr>
            <a:xfrm>
              <a:off x="3346266" y="1710121"/>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CORA – </a:t>
              </a:r>
              <a:br>
                <a:rPr lang="en-US" sz="1000" b="1">
                  <a:solidFill>
                    <a:schemeClr val="bg1"/>
                  </a:solidFill>
                  <a:latin typeface="+mj-lt"/>
                  <a:ea typeface="Sans Serif Collection" panose="020B0502040504020204" pitchFamily="34" charset="0"/>
                  <a:cs typeface="Sans Serif Collection" panose="020B0502040504020204" pitchFamily="34" charset="0"/>
                </a:rPr>
              </a:br>
              <a:r>
                <a:rPr lang="en-US" sz="1000" b="1">
                  <a:solidFill>
                    <a:schemeClr val="bg1"/>
                  </a:solidFill>
                  <a:latin typeface="+mj-lt"/>
                  <a:ea typeface="Sans Serif Collection" panose="020B0502040504020204" pitchFamily="34" charset="0"/>
                  <a:cs typeface="Sans Serif Collection" panose="020B0502040504020204" pitchFamily="34" charset="0"/>
                </a:rPr>
                <a:t>Controlling and Reporting Agent</a:t>
              </a:r>
            </a:p>
          </p:txBody>
        </p:sp>
        <p:sp>
          <p:nvSpPr>
            <p:cNvPr id="1117" name="Rectangle: Rounded Corners 1116">
              <a:extLst>
                <a:ext uri="{FF2B5EF4-FFF2-40B4-BE49-F238E27FC236}">
                  <a16:creationId xmlns:a16="http://schemas.microsoft.com/office/drawing/2014/main" id="{C5F1F648-6FDC-06B0-32EA-1139F02919F4}"/>
                </a:ext>
              </a:extLst>
            </p:cNvPr>
            <p:cNvSpPr/>
            <p:nvPr/>
          </p:nvSpPr>
          <p:spPr>
            <a:xfrm>
              <a:off x="4549448" y="1602470"/>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8" name="Rectangle 1117">
              <a:extLst>
                <a:ext uri="{FF2B5EF4-FFF2-40B4-BE49-F238E27FC236}">
                  <a16:creationId xmlns:a16="http://schemas.microsoft.com/office/drawing/2014/main" id="{CB993F68-AEE8-7A2B-99B4-7CE53B9F0ED0}"/>
                </a:ext>
              </a:extLst>
            </p:cNvPr>
            <p:cNvSpPr/>
            <p:nvPr/>
          </p:nvSpPr>
          <p:spPr>
            <a:xfrm>
              <a:off x="4632860" y="1710121"/>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Ask your Data</a:t>
              </a:r>
            </a:p>
          </p:txBody>
        </p:sp>
        <p:sp>
          <p:nvSpPr>
            <p:cNvPr id="1119" name="Rectangle: Rounded Corners 1118">
              <a:extLst>
                <a:ext uri="{FF2B5EF4-FFF2-40B4-BE49-F238E27FC236}">
                  <a16:creationId xmlns:a16="http://schemas.microsoft.com/office/drawing/2014/main" id="{F5801DCB-FDF7-E332-ED23-2F837006BCEC}"/>
                </a:ext>
              </a:extLst>
            </p:cNvPr>
            <p:cNvSpPr/>
            <p:nvPr/>
          </p:nvSpPr>
          <p:spPr>
            <a:xfrm>
              <a:off x="5837781" y="1602470"/>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0" name="Rectangle 1119">
              <a:extLst>
                <a:ext uri="{FF2B5EF4-FFF2-40B4-BE49-F238E27FC236}">
                  <a16:creationId xmlns:a16="http://schemas.microsoft.com/office/drawing/2014/main" id="{7DB67E46-E749-A7C3-68FA-AC3AA34922E3}"/>
                </a:ext>
              </a:extLst>
            </p:cNvPr>
            <p:cNvSpPr/>
            <p:nvPr/>
          </p:nvSpPr>
          <p:spPr>
            <a:xfrm>
              <a:off x="5921193" y="1710121"/>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Business Comment Aggregation</a:t>
              </a:r>
            </a:p>
          </p:txBody>
        </p:sp>
        <p:sp>
          <p:nvSpPr>
            <p:cNvPr id="1121" name="Rectangle: Rounded Corners 1120">
              <a:extLst>
                <a:ext uri="{FF2B5EF4-FFF2-40B4-BE49-F238E27FC236}">
                  <a16:creationId xmlns:a16="http://schemas.microsoft.com/office/drawing/2014/main" id="{6EE28078-9C45-B767-E237-D01175F0976D}"/>
                </a:ext>
              </a:extLst>
            </p:cNvPr>
            <p:cNvSpPr/>
            <p:nvPr/>
          </p:nvSpPr>
          <p:spPr>
            <a:xfrm>
              <a:off x="7124375" y="1602470"/>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2" name="Rectangle 1121">
              <a:extLst>
                <a:ext uri="{FF2B5EF4-FFF2-40B4-BE49-F238E27FC236}">
                  <a16:creationId xmlns:a16="http://schemas.microsoft.com/office/drawing/2014/main" id="{DA1BB51F-41D5-845A-1064-95680134F59C}"/>
                </a:ext>
              </a:extLst>
            </p:cNvPr>
            <p:cNvSpPr/>
            <p:nvPr/>
          </p:nvSpPr>
          <p:spPr>
            <a:xfrm>
              <a:off x="7207787" y="1710121"/>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GenAI @ SCT-Auto</a:t>
              </a:r>
            </a:p>
          </p:txBody>
        </p:sp>
        <p:grpSp>
          <p:nvGrpSpPr>
            <p:cNvPr id="1123" name="Graphic 4">
              <a:extLst>
                <a:ext uri="{FF2B5EF4-FFF2-40B4-BE49-F238E27FC236}">
                  <a16:creationId xmlns:a16="http://schemas.microsoft.com/office/drawing/2014/main" id="{407F537E-2FD9-45D6-781D-25AC29EE86C9}"/>
                </a:ext>
              </a:extLst>
            </p:cNvPr>
            <p:cNvGrpSpPr/>
            <p:nvPr/>
          </p:nvGrpSpPr>
          <p:grpSpPr>
            <a:xfrm>
              <a:off x="3346266" y="2380320"/>
              <a:ext cx="338245" cy="274136"/>
              <a:chOff x="4726636" y="2942507"/>
              <a:chExt cx="233232" cy="189026"/>
            </a:xfrm>
            <a:solidFill>
              <a:schemeClr val="bg1"/>
            </a:solidFill>
          </p:grpSpPr>
          <p:sp>
            <p:nvSpPr>
              <p:cNvPr id="1124" name="Graphic 4">
                <a:extLst>
                  <a:ext uri="{FF2B5EF4-FFF2-40B4-BE49-F238E27FC236}">
                    <a16:creationId xmlns:a16="http://schemas.microsoft.com/office/drawing/2014/main" id="{EB4A84AE-7646-728D-A760-8C6D2474B132}"/>
                  </a:ext>
                </a:extLst>
              </p:cNvPr>
              <p:cNvSpPr/>
              <p:nvPr/>
            </p:nvSpPr>
            <p:spPr>
              <a:xfrm>
                <a:off x="4726636" y="2942507"/>
                <a:ext cx="233232" cy="189026"/>
              </a:xfrm>
              <a:custGeom>
                <a:avLst/>
                <a:gdLst>
                  <a:gd name="connsiteX0" fmla="*/ 210868 w 233232"/>
                  <a:gd name="connsiteY0" fmla="*/ 32 h 189026"/>
                  <a:gd name="connsiteX1" fmla="*/ 139301 w 233232"/>
                  <a:gd name="connsiteY1" fmla="*/ 32 h 189026"/>
                  <a:gd name="connsiteX2" fmla="*/ 117575 w 233232"/>
                  <a:gd name="connsiteY2" fmla="*/ 19823 h 189026"/>
                  <a:gd name="connsiteX3" fmla="*/ 117575 w 233232"/>
                  <a:gd name="connsiteY3" fmla="*/ 22376 h 189026"/>
                  <a:gd name="connsiteX4" fmla="*/ 34505 w 233232"/>
                  <a:gd name="connsiteY4" fmla="*/ 22376 h 189026"/>
                  <a:gd name="connsiteX5" fmla="*/ 15975 w 233232"/>
                  <a:gd name="connsiteY5" fmla="*/ 39613 h 189026"/>
                  <a:gd name="connsiteX6" fmla="*/ 15975 w 233232"/>
                  <a:gd name="connsiteY6" fmla="*/ 143034 h 189026"/>
                  <a:gd name="connsiteX7" fmla="*/ 11502 w 233232"/>
                  <a:gd name="connsiteY7" fmla="*/ 143034 h 189026"/>
                  <a:gd name="connsiteX8" fmla="*/ 0 w 233232"/>
                  <a:gd name="connsiteY8" fmla="*/ 154525 h 189026"/>
                  <a:gd name="connsiteX9" fmla="*/ 0 w 233232"/>
                  <a:gd name="connsiteY9" fmla="*/ 166654 h 189026"/>
                  <a:gd name="connsiteX10" fmla="*/ 24921 w 233232"/>
                  <a:gd name="connsiteY10" fmla="*/ 188998 h 189026"/>
                  <a:gd name="connsiteX11" fmla="*/ 205756 w 233232"/>
                  <a:gd name="connsiteY11" fmla="*/ 188998 h 189026"/>
                  <a:gd name="connsiteX12" fmla="*/ 230677 w 233232"/>
                  <a:gd name="connsiteY12" fmla="*/ 166654 h 189026"/>
                  <a:gd name="connsiteX13" fmla="*/ 230677 w 233232"/>
                  <a:gd name="connsiteY13" fmla="*/ 154525 h 189026"/>
                  <a:gd name="connsiteX14" fmla="*/ 219175 w 233232"/>
                  <a:gd name="connsiteY14" fmla="*/ 143034 h 189026"/>
                  <a:gd name="connsiteX15" fmla="*/ 214702 w 233232"/>
                  <a:gd name="connsiteY15" fmla="*/ 143034 h 189026"/>
                  <a:gd name="connsiteX16" fmla="*/ 214702 w 233232"/>
                  <a:gd name="connsiteY16" fmla="*/ 87493 h 189026"/>
                  <a:gd name="connsiteX17" fmla="*/ 233233 w 233232"/>
                  <a:gd name="connsiteY17" fmla="*/ 67702 h 189026"/>
                  <a:gd name="connsiteX18" fmla="*/ 233233 w 233232"/>
                  <a:gd name="connsiteY18" fmla="*/ 20461 h 189026"/>
                  <a:gd name="connsiteX19" fmla="*/ 210868 w 233232"/>
                  <a:gd name="connsiteY19" fmla="*/ 32 h 189026"/>
                  <a:gd name="connsiteX20" fmla="*/ 217258 w 233232"/>
                  <a:gd name="connsiteY20" fmla="*/ 165377 h 189026"/>
                  <a:gd name="connsiteX21" fmla="*/ 205117 w 233232"/>
                  <a:gd name="connsiteY21" fmla="*/ 174953 h 189026"/>
                  <a:gd name="connsiteX22" fmla="*/ 24282 w 233232"/>
                  <a:gd name="connsiteY22" fmla="*/ 174953 h 189026"/>
                  <a:gd name="connsiteX23" fmla="*/ 12141 w 233232"/>
                  <a:gd name="connsiteY23" fmla="*/ 165377 h 189026"/>
                  <a:gd name="connsiteX24" fmla="*/ 12141 w 233232"/>
                  <a:gd name="connsiteY24" fmla="*/ 154525 h 189026"/>
                  <a:gd name="connsiteX25" fmla="*/ 83069 w 233232"/>
                  <a:gd name="connsiteY25" fmla="*/ 154525 h 189026"/>
                  <a:gd name="connsiteX26" fmla="*/ 97127 w 233232"/>
                  <a:gd name="connsiteY26" fmla="*/ 166016 h 189026"/>
                  <a:gd name="connsiteX27" fmla="*/ 132272 w 233232"/>
                  <a:gd name="connsiteY27" fmla="*/ 166016 h 189026"/>
                  <a:gd name="connsiteX28" fmla="*/ 146329 w 233232"/>
                  <a:gd name="connsiteY28" fmla="*/ 154525 h 189026"/>
                  <a:gd name="connsiteX29" fmla="*/ 217258 w 233232"/>
                  <a:gd name="connsiteY29" fmla="*/ 154525 h 189026"/>
                  <a:gd name="connsiteX30" fmla="*/ 217258 w 233232"/>
                  <a:gd name="connsiteY30" fmla="*/ 165377 h 189026"/>
                  <a:gd name="connsiteX31" fmla="*/ 133549 w 233232"/>
                  <a:gd name="connsiteY31" fmla="*/ 142395 h 189026"/>
                  <a:gd name="connsiteX32" fmla="*/ 133549 w 233232"/>
                  <a:gd name="connsiteY32" fmla="*/ 153248 h 189026"/>
                  <a:gd name="connsiteX33" fmla="*/ 132272 w 233232"/>
                  <a:gd name="connsiteY33" fmla="*/ 153886 h 189026"/>
                  <a:gd name="connsiteX34" fmla="*/ 97127 w 233232"/>
                  <a:gd name="connsiteY34" fmla="*/ 153886 h 189026"/>
                  <a:gd name="connsiteX35" fmla="*/ 95849 w 233232"/>
                  <a:gd name="connsiteY35" fmla="*/ 153886 h 189026"/>
                  <a:gd name="connsiteX36" fmla="*/ 95849 w 233232"/>
                  <a:gd name="connsiteY36" fmla="*/ 142395 h 189026"/>
                  <a:gd name="connsiteX37" fmla="*/ 28755 w 233232"/>
                  <a:gd name="connsiteY37" fmla="*/ 142395 h 189026"/>
                  <a:gd name="connsiteX38" fmla="*/ 28755 w 233232"/>
                  <a:gd name="connsiteY38" fmla="*/ 38975 h 189026"/>
                  <a:gd name="connsiteX39" fmla="*/ 34505 w 233232"/>
                  <a:gd name="connsiteY39" fmla="*/ 34506 h 189026"/>
                  <a:gd name="connsiteX40" fmla="*/ 117575 w 233232"/>
                  <a:gd name="connsiteY40" fmla="*/ 34506 h 189026"/>
                  <a:gd name="connsiteX41" fmla="*/ 117575 w 233232"/>
                  <a:gd name="connsiteY41" fmla="*/ 67064 h 189026"/>
                  <a:gd name="connsiteX42" fmla="*/ 139301 w 233232"/>
                  <a:gd name="connsiteY42" fmla="*/ 86854 h 189026"/>
                  <a:gd name="connsiteX43" fmla="*/ 141217 w 233232"/>
                  <a:gd name="connsiteY43" fmla="*/ 86854 h 189026"/>
                  <a:gd name="connsiteX44" fmla="*/ 141217 w 233232"/>
                  <a:gd name="connsiteY44" fmla="*/ 106006 h 189026"/>
                  <a:gd name="connsiteX45" fmla="*/ 145052 w 233232"/>
                  <a:gd name="connsiteY45" fmla="*/ 111752 h 189026"/>
                  <a:gd name="connsiteX46" fmla="*/ 147607 w 233232"/>
                  <a:gd name="connsiteY46" fmla="*/ 112390 h 189026"/>
                  <a:gd name="connsiteX47" fmla="*/ 152080 w 233232"/>
                  <a:gd name="connsiteY47" fmla="*/ 111114 h 189026"/>
                  <a:gd name="connsiteX48" fmla="*/ 178918 w 233232"/>
                  <a:gd name="connsiteY48" fmla="*/ 87493 h 189026"/>
                  <a:gd name="connsiteX49" fmla="*/ 201283 w 233232"/>
                  <a:gd name="connsiteY49" fmla="*/ 87493 h 189026"/>
                  <a:gd name="connsiteX50" fmla="*/ 201283 w 233232"/>
                  <a:gd name="connsiteY50" fmla="*/ 143034 h 189026"/>
                  <a:gd name="connsiteX51" fmla="*/ 133549 w 233232"/>
                  <a:gd name="connsiteY51" fmla="*/ 142395 h 189026"/>
                  <a:gd name="connsiteX52" fmla="*/ 219175 w 233232"/>
                  <a:gd name="connsiteY52" fmla="*/ 67064 h 189026"/>
                  <a:gd name="connsiteX53" fmla="*/ 210229 w 233232"/>
                  <a:gd name="connsiteY53" fmla="*/ 74086 h 189026"/>
                  <a:gd name="connsiteX54" fmla="*/ 175723 w 233232"/>
                  <a:gd name="connsiteY54" fmla="*/ 74086 h 189026"/>
                  <a:gd name="connsiteX55" fmla="*/ 171250 w 233232"/>
                  <a:gd name="connsiteY55" fmla="*/ 75363 h 189026"/>
                  <a:gd name="connsiteX56" fmla="*/ 153358 w 233232"/>
                  <a:gd name="connsiteY56" fmla="*/ 91323 h 189026"/>
                  <a:gd name="connsiteX57" fmla="*/ 153358 w 233232"/>
                  <a:gd name="connsiteY57" fmla="*/ 79832 h 189026"/>
                  <a:gd name="connsiteX58" fmla="*/ 146969 w 233232"/>
                  <a:gd name="connsiteY58" fmla="*/ 73448 h 189026"/>
                  <a:gd name="connsiteX59" fmla="*/ 138662 w 233232"/>
                  <a:gd name="connsiteY59" fmla="*/ 73448 h 189026"/>
                  <a:gd name="connsiteX60" fmla="*/ 129716 w 233232"/>
                  <a:gd name="connsiteY60" fmla="*/ 66426 h 189026"/>
                  <a:gd name="connsiteX61" fmla="*/ 129716 w 233232"/>
                  <a:gd name="connsiteY61" fmla="*/ 19184 h 189026"/>
                  <a:gd name="connsiteX62" fmla="*/ 138662 w 233232"/>
                  <a:gd name="connsiteY62" fmla="*/ 12162 h 189026"/>
                  <a:gd name="connsiteX63" fmla="*/ 210229 w 233232"/>
                  <a:gd name="connsiteY63" fmla="*/ 12162 h 189026"/>
                  <a:gd name="connsiteX64" fmla="*/ 219175 w 233232"/>
                  <a:gd name="connsiteY64" fmla="*/ 19184 h 189026"/>
                  <a:gd name="connsiteX65" fmla="*/ 219175 w 233232"/>
                  <a:gd name="connsiteY65" fmla="*/ 67064 h 18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33232" h="189026">
                    <a:moveTo>
                      <a:pt x="210868" y="32"/>
                    </a:moveTo>
                    <a:lnTo>
                      <a:pt x="139301" y="32"/>
                    </a:lnTo>
                    <a:cubicBezTo>
                      <a:pt x="127799" y="-606"/>
                      <a:pt x="118214" y="8331"/>
                      <a:pt x="117575" y="19823"/>
                    </a:cubicBezTo>
                    <a:lnTo>
                      <a:pt x="117575" y="22376"/>
                    </a:lnTo>
                    <a:lnTo>
                      <a:pt x="34505" y="22376"/>
                    </a:lnTo>
                    <a:cubicBezTo>
                      <a:pt x="24921" y="21738"/>
                      <a:pt x="16614" y="29399"/>
                      <a:pt x="15975" y="39613"/>
                    </a:cubicBezTo>
                    <a:lnTo>
                      <a:pt x="15975" y="143034"/>
                    </a:lnTo>
                    <a:lnTo>
                      <a:pt x="11502" y="143034"/>
                    </a:lnTo>
                    <a:cubicBezTo>
                      <a:pt x="5112" y="143034"/>
                      <a:pt x="0" y="148141"/>
                      <a:pt x="0" y="154525"/>
                    </a:cubicBezTo>
                    <a:lnTo>
                      <a:pt x="0" y="166654"/>
                    </a:lnTo>
                    <a:cubicBezTo>
                      <a:pt x="639" y="179422"/>
                      <a:pt x="11502" y="189637"/>
                      <a:pt x="24921" y="188998"/>
                    </a:cubicBezTo>
                    <a:lnTo>
                      <a:pt x="205756" y="188998"/>
                    </a:lnTo>
                    <a:cubicBezTo>
                      <a:pt x="218536" y="189637"/>
                      <a:pt x="230038" y="179422"/>
                      <a:pt x="230677" y="166654"/>
                    </a:cubicBezTo>
                    <a:lnTo>
                      <a:pt x="230677" y="154525"/>
                    </a:lnTo>
                    <a:cubicBezTo>
                      <a:pt x="230677" y="148141"/>
                      <a:pt x="224926" y="143034"/>
                      <a:pt x="219175" y="143034"/>
                    </a:cubicBezTo>
                    <a:lnTo>
                      <a:pt x="214702" y="143034"/>
                    </a:lnTo>
                    <a:lnTo>
                      <a:pt x="214702" y="87493"/>
                    </a:lnTo>
                    <a:cubicBezTo>
                      <a:pt x="224926" y="86854"/>
                      <a:pt x="233233" y="78555"/>
                      <a:pt x="233233" y="67702"/>
                    </a:cubicBezTo>
                    <a:lnTo>
                      <a:pt x="233233" y="20461"/>
                    </a:lnTo>
                    <a:cubicBezTo>
                      <a:pt x="231316" y="8331"/>
                      <a:pt x="221731" y="-606"/>
                      <a:pt x="210868" y="32"/>
                    </a:cubicBezTo>
                    <a:close/>
                    <a:moveTo>
                      <a:pt x="217258" y="165377"/>
                    </a:moveTo>
                    <a:cubicBezTo>
                      <a:pt x="216619" y="171123"/>
                      <a:pt x="210868" y="175592"/>
                      <a:pt x="205117" y="174953"/>
                    </a:cubicBezTo>
                    <a:lnTo>
                      <a:pt x="24282" y="174953"/>
                    </a:lnTo>
                    <a:cubicBezTo>
                      <a:pt x="18531" y="175592"/>
                      <a:pt x="12780" y="171123"/>
                      <a:pt x="12141" y="165377"/>
                    </a:cubicBezTo>
                    <a:lnTo>
                      <a:pt x="12141" y="154525"/>
                    </a:lnTo>
                    <a:lnTo>
                      <a:pt x="83069" y="154525"/>
                    </a:lnTo>
                    <a:cubicBezTo>
                      <a:pt x="84347" y="161547"/>
                      <a:pt x="90098" y="166016"/>
                      <a:pt x="97127" y="166016"/>
                    </a:cubicBezTo>
                    <a:lnTo>
                      <a:pt x="132272" y="166016"/>
                    </a:lnTo>
                    <a:cubicBezTo>
                      <a:pt x="139301" y="166016"/>
                      <a:pt x="145052" y="161547"/>
                      <a:pt x="146329" y="154525"/>
                    </a:cubicBezTo>
                    <a:lnTo>
                      <a:pt x="217258" y="154525"/>
                    </a:lnTo>
                    <a:lnTo>
                      <a:pt x="217258" y="165377"/>
                    </a:lnTo>
                    <a:close/>
                    <a:moveTo>
                      <a:pt x="133549" y="142395"/>
                    </a:moveTo>
                    <a:lnTo>
                      <a:pt x="133549" y="153248"/>
                    </a:lnTo>
                    <a:cubicBezTo>
                      <a:pt x="132911" y="153886"/>
                      <a:pt x="132911" y="153886"/>
                      <a:pt x="132272" y="153886"/>
                    </a:cubicBezTo>
                    <a:lnTo>
                      <a:pt x="97127" y="153886"/>
                    </a:lnTo>
                    <a:cubicBezTo>
                      <a:pt x="96488" y="153886"/>
                      <a:pt x="95849" y="153248"/>
                      <a:pt x="95849" y="153886"/>
                    </a:cubicBezTo>
                    <a:lnTo>
                      <a:pt x="95849" y="142395"/>
                    </a:lnTo>
                    <a:lnTo>
                      <a:pt x="28755" y="142395"/>
                    </a:lnTo>
                    <a:lnTo>
                      <a:pt x="28755" y="38975"/>
                    </a:lnTo>
                    <a:cubicBezTo>
                      <a:pt x="28755" y="36421"/>
                      <a:pt x="31310" y="34506"/>
                      <a:pt x="34505" y="34506"/>
                    </a:cubicBezTo>
                    <a:lnTo>
                      <a:pt x="117575" y="34506"/>
                    </a:lnTo>
                    <a:lnTo>
                      <a:pt x="117575" y="67064"/>
                    </a:lnTo>
                    <a:cubicBezTo>
                      <a:pt x="118214" y="78555"/>
                      <a:pt x="127799" y="87493"/>
                      <a:pt x="139301" y="86854"/>
                    </a:cubicBezTo>
                    <a:lnTo>
                      <a:pt x="141217" y="86854"/>
                    </a:lnTo>
                    <a:lnTo>
                      <a:pt x="141217" y="106006"/>
                    </a:lnTo>
                    <a:cubicBezTo>
                      <a:pt x="141217" y="108560"/>
                      <a:pt x="142496" y="110475"/>
                      <a:pt x="145052" y="111752"/>
                    </a:cubicBezTo>
                    <a:cubicBezTo>
                      <a:pt x="145690" y="112390"/>
                      <a:pt x="146969" y="112390"/>
                      <a:pt x="147607" y="112390"/>
                    </a:cubicBezTo>
                    <a:cubicBezTo>
                      <a:pt x="148885" y="112390"/>
                      <a:pt x="150802" y="111752"/>
                      <a:pt x="152080" y="111114"/>
                    </a:cubicBezTo>
                    <a:lnTo>
                      <a:pt x="178918" y="87493"/>
                    </a:lnTo>
                    <a:lnTo>
                      <a:pt x="201283" y="87493"/>
                    </a:lnTo>
                    <a:lnTo>
                      <a:pt x="201283" y="143034"/>
                    </a:lnTo>
                    <a:lnTo>
                      <a:pt x="133549" y="142395"/>
                    </a:lnTo>
                    <a:close/>
                    <a:moveTo>
                      <a:pt x="219175" y="67064"/>
                    </a:moveTo>
                    <a:cubicBezTo>
                      <a:pt x="218536" y="71533"/>
                      <a:pt x="214702" y="74725"/>
                      <a:pt x="210229" y="74086"/>
                    </a:cubicBezTo>
                    <a:lnTo>
                      <a:pt x="175723" y="74086"/>
                    </a:lnTo>
                    <a:cubicBezTo>
                      <a:pt x="174445" y="74086"/>
                      <a:pt x="172528" y="74725"/>
                      <a:pt x="171250" y="75363"/>
                    </a:cubicBezTo>
                    <a:lnTo>
                      <a:pt x="153358" y="91323"/>
                    </a:lnTo>
                    <a:lnTo>
                      <a:pt x="153358" y="79832"/>
                    </a:lnTo>
                    <a:cubicBezTo>
                      <a:pt x="153358" y="76002"/>
                      <a:pt x="150802" y="73448"/>
                      <a:pt x="146969" y="73448"/>
                    </a:cubicBezTo>
                    <a:lnTo>
                      <a:pt x="138662" y="73448"/>
                    </a:lnTo>
                    <a:cubicBezTo>
                      <a:pt x="134189" y="74086"/>
                      <a:pt x="130354" y="70894"/>
                      <a:pt x="129716" y="66426"/>
                    </a:cubicBezTo>
                    <a:lnTo>
                      <a:pt x="129716" y="19184"/>
                    </a:lnTo>
                    <a:cubicBezTo>
                      <a:pt x="130354" y="14715"/>
                      <a:pt x="134189" y="11523"/>
                      <a:pt x="138662" y="12162"/>
                    </a:cubicBezTo>
                    <a:lnTo>
                      <a:pt x="210229" y="12162"/>
                    </a:lnTo>
                    <a:cubicBezTo>
                      <a:pt x="214702" y="11523"/>
                      <a:pt x="218536" y="14715"/>
                      <a:pt x="219175" y="19184"/>
                    </a:cubicBezTo>
                    <a:lnTo>
                      <a:pt x="219175" y="67064"/>
                    </a:lnTo>
                    <a:close/>
                  </a:path>
                </a:pathLst>
              </a:custGeom>
              <a:grpFill/>
              <a:ln w="6390" cap="flat">
                <a:noFill/>
                <a:prstDash val="solid"/>
                <a:miter/>
              </a:ln>
            </p:spPr>
            <p:txBody>
              <a:bodyPr rtlCol="0" anchor="ctr"/>
              <a:lstStyle/>
              <a:p>
                <a:endParaRPr lang="en-US"/>
              </a:p>
            </p:txBody>
          </p:sp>
          <p:sp>
            <p:nvSpPr>
              <p:cNvPr id="1125" name="Graphic 4">
                <a:extLst>
                  <a:ext uri="{FF2B5EF4-FFF2-40B4-BE49-F238E27FC236}">
                    <a16:creationId xmlns:a16="http://schemas.microsoft.com/office/drawing/2014/main" id="{FF030054-21AF-FBD8-A3A8-13CF61358635}"/>
                  </a:ext>
                </a:extLst>
              </p:cNvPr>
              <p:cNvSpPr/>
              <p:nvPr/>
            </p:nvSpPr>
            <p:spPr>
              <a:xfrm>
                <a:off x="4916417" y="2978290"/>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5975" y="3830"/>
                      <a:pt x="12780" y="0"/>
                      <a:pt x="8307" y="0"/>
                    </a:cubicBezTo>
                    <a:lnTo>
                      <a:pt x="8307" y="0"/>
                    </a:lnTo>
                    <a:close/>
                  </a:path>
                </a:pathLst>
              </a:custGeom>
              <a:grpFill/>
              <a:ln w="6390" cap="flat">
                <a:noFill/>
                <a:prstDash val="solid"/>
                <a:miter/>
              </a:ln>
            </p:spPr>
            <p:txBody>
              <a:bodyPr rtlCol="0" anchor="ctr"/>
              <a:lstStyle/>
              <a:p>
                <a:endParaRPr lang="en-US"/>
              </a:p>
            </p:txBody>
          </p:sp>
          <p:sp>
            <p:nvSpPr>
              <p:cNvPr id="1126" name="Graphic 4">
                <a:extLst>
                  <a:ext uri="{FF2B5EF4-FFF2-40B4-BE49-F238E27FC236}">
                    <a16:creationId xmlns:a16="http://schemas.microsoft.com/office/drawing/2014/main" id="{0E023170-F4E8-7273-ADF1-FE19CD4E23F4}"/>
                  </a:ext>
                </a:extLst>
              </p:cNvPr>
              <p:cNvSpPr/>
              <p:nvPr/>
            </p:nvSpPr>
            <p:spPr>
              <a:xfrm>
                <a:off x="4892774" y="2978290"/>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830"/>
                      <a:pt x="12780" y="0"/>
                      <a:pt x="8307" y="0"/>
                    </a:cubicBezTo>
                    <a:lnTo>
                      <a:pt x="8307" y="0"/>
                    </a:lnTo>
                    <a:close/>
                  </a:path>
                </a:pathLst>
              </a:custGeom>
              <a:grpFill/>
              <a:ln w="6390" cap="flat">
                <a:noFill/>
                <a:prstDash val="solid"/>
                <a:miter/>
              </a:ln>
            </p:spPr>
            <p:txBody>
              <a:bodyPr rtlCol="0" anchor="ctr"/>
              <a:lstStyle/>
              <a:p>
                <a:endParaRPr lang="en-US"/>
              </a:p>
            </p:txBody>
          </p:sp>
          <p:sp>
            <p:nvSpPr>
              <p:cNvPr id="1127" name="Graphic 4">
                <a:extLst>
                  <a:ext uri="{FF2B5EF4-FFF2-40B4-BE49-F238E27FC236}">
                    <a16:creationId xmlns:a16="http://schemas.microsoft.com/office/drawing/2014/main" id="{38C0D6CA-5881-C89A-32C5-D343A0CAAB9F}"/>
                  </a:ext>
                </a:extLst>
              </p:cNvPr>
              <p:cNvSpPr/>
              <p:nvPr/>
            </p:nvSpPr>
            <p:spPr>
              <a:xfrm>
                <a:off x="4869770" y="2978290"/>
                <a:ext cx="16614" cy="16598"/>
              </a:xfrm>
              <a:custGeom>
                <a:avLst/>
                <a:gdLst>
                  <a:gd name="connsiteX0" fmla="*/ 8307 w 16614"/>
                  <a:gd name="connsiteY0" fmla="*/ 0 h 16598"/>
                  <a:gd name="connsiteX1" fmla="*/ 0 w 16614"/>
                  <a:gd name="connsiteY1" fmla="*/ 8299 h 16598"/>
                  <a:gd name="connsiteX2" fmla="*/ 8307 w 16614"/>
                  <a:gd name="connsiteY2" fmla="*/ 16598 h 16598"/>
                  <a:gd name="connsiteX3" fmla="*/ 16614 w 16614"/>
                  <a:gd name="connsiteY3" fmla="*/ 8299 h 16598"/>
                  <a:gd name="connsiteX4" fmla="*/ 8307 w 16614"/>
                  <a:gd name="connsiteY4" fmla="*/ 0 h 16598"/>
                  <a:gd name="connsiteX5" fmla="*/ 8307 w 16614"/>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4" h="16598">
                    <a:moveTo>
                      <a:pt x="8307" y="0"/>
                    </a:moveTo>
                    <a:cubicBezTo>
                      <a:pt x="3834" y="0"/>
                      <a:pt x="0" y="3830"/>
                      <a:pt x="0" y="8299"/>
                    </a:cubicBezTo>
                    <a:cubicBezTo>
                      <a:pt x="0" y="12768"/>
                      <a:pt x="3834" y="16598"/>
                      <a:pt x="8307" y="16598"/>
                    </a:cubicBezTo>
                    <a:cubicBezTo>
                      <a:pt x="12780" y="16598"/>
                      <a:pt x="16614" y="12768"/>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1128" name="Graphic 4">
                <a:extLst>
                  <a:ext uri="{FF2B5EF4-FFF2-40B4-BE49-F238E27FC236}">
                    <a16:creationId xmlns:a16="http://schemas.microsoft.com/office/drawing/2014/main" id="{CC022F56-CB14-CEBF-EACC-21357846B6FE}"/>
                  </a:ext>
                </a:extLst>
              </p:cNvPr>
              <p:cNvSpPr/>
              <p:nvPr/>
            </p:nvSpPr>
            <p:spPr>
              <a:xfrm>
                <a:off x="4782229" y="2986589"/>
                <a:ext cx="52397" cy="52348"/>
              </a:xfrm>
              <a:custGeom>
                <a:avLst/>
                <a:gdLst>
                  <a:gd name="connsiteX0" fmla="*/ 26199 w 52397"/>
                  <a:gd name="connsiteY0" fmla="*/ 52349 h 52348"/>
                  <a:gd name="connsiteX1" fmla="*/ 52397 w 52397"/>
                  <a:gd name="connsiteY1" fmla="*/ 26174 h 52348"/>
                  <a:gd name="connsiteX2" fmla="*/ 26199 w 52397"/>
                  <a:gd name="connsiteY2" fmla="*/ 0 h 52348"/>
                  <a:gd name="connsiteX3" fmla="*/ 0 w 52397"/>
                  <a:gd name="connsiteY3" fmla="*/ 26174 h 52348"/>
                  <a:gd name="connsiteX4" fmla="*/ 0 w 52397"/>
                  <a:gd name="connsiteY4" fmla="*/ 26174 h 52348"/>
                  <a:gd name="connsiteX5" fmla="*/ 26199 w 52397"/>
                  <a:gd name="connsiteY5" fmla="*/ 52349 h 52348"/>
                  <a:gd name="connsiteX6" fmla="*/ 26199 w 52397"/>
                  <a:gd name="connsiteY6" fmla="*/ 12130 h 52348"/>
                  <a:gd name="connsiteX7" fmla="*/ 39617 w 52397"/>
                  <a:gd name="connsiteY7" fmla="*/ 25536 h 52348"/>
                  <a:gd name="connsiteX8" fmla="*/ 26199 w 52397"/>
                  <a:gd name="connsiteY8" fmla="*/ 38942 h 52348"/>
                  <a:gd name="connsiteX9" fmla="*/ 12780 w 52397"/>
                  <a:gd name="connsiteY9" fmla="*/ 25536 h 52348"/>
                  <a:gd name="connsiteX10" fmla="*/ 12780 w 52397"/>
                  <a:gd name="connsiteY10" fmla="*/ 25536 h 52348"/>
                  <a:gd name="connsiteX11" fmla="*/ 26199 w 52397"/>
                  <a:gd name="connsiteY11" fmla="*/ 12130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97" h="52348">
                    <a:moveTo>
                      <a:pt x="26199" y="52349"/>
                    </a:moveTo>
                    <a:cubicBezTo>
                      <a:pt x="40895" y="52349"/>
                      <a:pt x="52397" y="40857"/>
                      <a:pt x="52397" y="26174"/>
                    </a:cubicBezTo>
                    <a:cubicBezTo>
                      <a:pt x="52397" y="11491"/>
                      <a:pt x="40895" y="0"/>
                      <a:pt x="26199" y="0"/>
                    </a:cubicBezTo>
                    <a:cubicBezTo>
                      <a:pt x="11502" y="0"/>
                      <a:pt x="0" y="11491"/>
                      <a:pt x="0" y="26174"/>
                    </a:cubicBezTo>
                    <a:lnTo>
                      <a:pt x="0" y="26174"/>
                    </a:lnTo>
                    <a:cubicBezTo>
                      <a:pt x="0" y="40219"/>
                      <a:pt x="11502" y="52349"/>
                      <a:pt x="26199" y="52349"/>
                    </a:cubicBezTo>
                    <a:close/>
                    <a:moveTo>
                      <a:pt x="26199" y="12130"/>
                    </a:moveTo>
                    <a:cubicBezTo>
                      <a:pt x="33867" y="12130"/>
                      <a:pt x="39617" y="17875"/>
                      <a:pt x="39617" y="25536"/>
                    </a:cubicBezTo>
                    <a:cubicBezTo>
                      <a:pt x="39617" y="33197"/>
                      <a:pt x="33867" y="38942"/>
                      <a:pt x="26199" y="38942"/>
                    </a:cubicBezTo>
                    <a:cubicBezTo>
                      <a:pt x="18531" y="38942"/>
                      <a:pt x="12780" y="33197"/>
                      <a:pt x="12780" y="25536"/>
                    </a:cubicBezTo>
                    <a:lnTo>
                      <a:pt x="12780" y="25536"/>
                    </a:lnTo>
                    <a:cubicBezTo>
                      <a:pt x="12780" y="18514"/>
                      <a:pt x="18531" y="12130"/>
                      <a:pt x="26199" y="12130"/>
                    </a:cubicBezTo>
                    <a:close/>
                  </a:path>
                </a:pathLst>
              </a:custGeom>
              <a:grpFill/>
              <a:ln w="6390" cap="flat">
                <a:noFill/>
                <a:prstDash val="solid"/>
                <a:miter/>
              </a:ln>
            </p:spPr>
            <p:txBody>
              <a:bodyPr rtlCol="0" anchor="ctr"/>
              <a:lstStyle/>
              <a:p>
                <a:endParaRPr lang="en-US"/>
              </a:p>
            </p:txBody>
          </p:sp>
          <p:sp>
            <p:nvSpPr>
              <p:cNvPr id="1129" name="Graphic 4">
                <a:extLst>
                  <a:ext uri="{FF2B5EF4-FFF2-40B4-BE49-F238E27FC236}">
                    <a16:creationId xmlns:a16="http://schemas.microsoft.com/office/drawing/2014/main" id="{01664F68-6CFC-4617-8371-69C932271E04}"/>
                  </a:ext>
                </a:extLst>
              </p:cNvPr>
              <p:cNvSpPr/>
              <p:nvPr/>
            </p:nvSpPr>
            <p:spPr>
              <a:xfrm>
                <a:off x="4767531" y="3044045"/>
                <a:ext cx="81791" cy="31281"/>
              </a:xfrm>
              <a:custGeom>
                <a:avLst/>
                <a:gdLst>
                  <a:gd name="connsiteX0" fmla="*/ 58788 w 81791"/>
                  <a:gd name="connsiteY0" fmla="*/ 0 h 31281"/>
                  <a:gd name="connsiteX1" fmla="*/ 23004 w 81791"/>
                  <a:gd name="connsiteY1" fmla="*/ 0 h 31281"/>
                  <a:gd name="connsiteX2" fmla="*/ 0 w 81791"/>
                  <a:gd name="connsiteY2" fmla="*/ 22982 h 31281"/>
                  <a:gd name="connsiteX3" fmla="*/ 0 w 81791"/>
                  <a:gd name="connsiteY3" fmla="*/ 31281 h 31281"/>
                  <a:gd name="connsiteX4" fmla="*/ 12780 w 81791"/>
                  <a:gd name="connsiteY4" fmla="*/ 31281 h 31281"/>
                  <a:gd name="connsiteX5" fmla="*/ 12780 w 81791"/>
                  <a:gd name="connsiteY5" fmla="*/ 22982 h 31281"/>
                  <a:gd name="connsiteX6" fmla="*/ 23004 w 81791"/>
                  <a:gd name="connsiteY6" fmla="*/ 12768 h 31281"/>
                  <a:gd name="connsiteX7" fmla="*/ 58788 w 81791"/>
                  <a:gd name="connsiteY7" fmla="*/ 12768 h 31281"/>
                  <a:gd name="connsiteX8" fmla="*/ 69012 w 81791"/>
                  <a:gd name="connsiteY8" fmla="*/ 22982 h 31281"/>
                  <a:gd name="connsiteX9" fmla="*/ 69012 w 81791"/>
                  <a:gd name="connsiteY9" fmla="*/ 31281 h 31281"/>
                  <a:gd name="connsiteX10" fmla="*/ 81792 w 81791"/>
                  <a:gd name="connsiteY10" fmla="*/ 31281 h 31281"/>
                  <a:gd name="connsiteX11" fmla="*/ 81792 w 81791"/>
                  <a:gd name="connsiteY11" fmla="*/ 22982 h 31281"/>
                  <a:gd name="connsiteX12" fmla="*/ 58788 w 81791"/>
                  <a:gd name="connsiteY12" fmla="*/ 0 h 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791" h="31281">
                    <a:moveTo>
                      <a:pt x="58788" y="0"/>
                    </a:moveTo>
                    <a:lnTo>
                      <a:pt x="23004" y="0"/>
                    </a:lnTo>
                    <a:cubicBezTo>
                      <a:pt x="10224" y="0"/>
                      <a:pt x="0" y="10214"/>
                      <a:pt x="0" y="22982"/>
                    </a:cubicBezTo>
                    <a:lnTo>
                      <a:pt x="0" y="31281"/>
                    </a:lnTo>
                    <a:lnTo>
                      <a:pt x="12780" y="31281"/>
                    </a:lnTo>
                    <a:lnTo>
                      <a:pt x="12780" y="22982"/>
                    </a:lnTo>
                    <a:cubicBezTo>
                      <a:pt x="12780" y="17237"/>
                      <a:pt x="17253" y="12768"/>
                      <a:pt x="23004" y="12768"/>
                    </a:cubicBezTo>
                    <a:lnTo>
                      <a:pt x="58788" y="12768"/>
                    </a:lnTo>
                    <a:cubicBezTo>
                      <a:pt x="64539" y="12768"/>
                      <a:pt x="69012" y="17237"/>
                      <a:pt x="69012" y="22982"/>
                    </a:cubicBezTo>
                    <a:lnTo>
                      <a:pt x="69012" y="31281"/>
                    </a:lnTo>
                    <a:lnTo>
                      <a:pt x="81792" y="31281"/>
                    </a:lnTo>
                    <a:lnTo>
                      <a:pt x="81792" y="22982"/>
                    </a:lnTo>
                    <a:cubicBezTo>
                      <a:pt x="81792" y="10214"/>
                      <a:pt x="71567" y="0"/>
                      <a:pt x="58788" y="0"/>
                    </a:cubicBezTo>
                    <a:close/>
                  </a:path>
                </a:pathLst>
              </a:custGeom>
              <a:grpFill/>
              <a:ln w="6390" cap="flat">
                <a:noFill/>
                <a:prstDash val="solid"/>
                <a:miter/>
              </a:ln>
            </p:spPr>
            <p:txBody>
              <a:bodyPr rtlCol="0" anchor="ctr"/>
              <a:lstStyle/>
              <a:p>
                <a:endParaRPr lang="en-US"/>
              </a:p>
            </p:txBody>
          </p:sp>
        </p:grpSp>
        <p:grpSp>
          <p:nvGrpSpPr>
            <p:cNvPr id="1130" name="Graphic 4">
              <a:extLst>
                <a:ext uri="{FF2B5EF4-FFF2-40B4-BE49-F238E27FC236}">
                  <a16:creationId xmlns:a16="http://schemas.microsoft.com/office/drawing/2014/main" id="{855588A2-D5FC-03A5-2D3B-458CB24D158C}"/>
                </a:ext>
              </a:extLst>
            </p:cNvPr>
            <p:cNvGrpSpPr/>
            <p:nvPr/>
          </p:nvGrpSpPr>
          <p:grpSpPr>
            <a:xfrm>
              <a:off x="5921193" y="2391597"/>
              <a:ext cx="304900" cy="251582"/>
              <a:chOff x="7860777" y="3920566"/>
              <a:chExt cx="242939" cy="200456"/>
            </a:xfrm>
            <a:solidFill>
              <a:schemeClr val="bg1"/>
            </a:solidFill>
          </p:grpSpPr>
          <p:sp>
            <p:nvSpPr>
              <p:cNvPr id="1131" name="Graphic 4">
                <a:extLst>
                  <a:ext uri="{FF2B5EF4-FFF2-40B4-BE49-F238E27FC236}">
                    <a16:creationId xmlns:a16="http://schemas.microsoft.com/office/drawing/2014/main" id="{5D20122E-C50A-AE2A-F129-EE7E3AD9C3FB}"/>
                  </a:ext>
                </a:extLst>
              </p:cNvPr>
              <p:cNvSpPr/>
              <p:nvPr/>
            </p:nvSpPr>
            <p:spPr>
              <a:xfrm>
                <a:off x="7867290" y="3920566"/>
                <a:ext cx="68372" cy="68308"/>
              </a:xfrm>
              <a:custGeom>
                <a:avLst/>
                <a:gdLst>
                  <a:gd name="connsiteX0" fmla="*/ 34506 w 68372"/>
                  <a:gd name="connsiteY0" fmla="*/ 68309 h 68308"/>
                  <a:gd name="connsiteX1" fmla="*/ 68373 w 68372"/>
                  <a:gd name="connsiteY1" fmla="*/ 34474 h 68308"/>
                  <a:gd name="connsiteX2" fmla="*/ 34506 w 68372"/>
                  <a:gd name="connsiteY2" fmla="*/ 0 h 68308"/>
                  <a:gd name="connsiteX3" fmla="*/ 0 w 68372"/>
                  <a:gd name="connsiteY3" fmla="*/ 33835 h 68308"/>
                  <a:gd name="connsiteX4" fmla="*/ 0 w 68372"/>
                  <a:gd name="connsiteY4" fmla="*/ 33835 h 68308"/>
                  <a:gd name="connsiteX5" fmla="*/ 34506 w 68372"/>
                  <a:gd name="connsiteY5" fmla="*/ 68309 h 68308"/>
                  <a:gd name="connsiteX6" fmla="*/ 34506 w 68372"/>
                  <a:gd name="connsiteY6" fmla="*/ 13406 h 68308"/>
                  <a:gd name="connsiteX7" fmla="*/ 55593 w 68372"/>
                  <a:gd name="connsiteY7" fmla="*/ 34474 h 68308"/>
                  <a:gd name="connsiteX8" fmla="*/ 34506 w 68372"/>
                  <a:gd name="connsiteY8" fmla="*/ 56179 h 68308"/>
                  <a:gd name="connsiteX9" fmla="*/ 12780 w 68372"/>
                  <a:gd name="connsiteY9" fmla="*/ 35112 h 68308"/>
                  <a:gd name="connsiteX10" fmla="*/ 12780 w 68372"/>
                  <a:gd name="connsiteY10" fmla="*/ 35112 h 68308"/>
                  <a:gd name="connsiteX11" fmla="*/ 34506 w 68372"/>
                  <a:gd name="connsiteY11" fmla="*/ 13406 h 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372" h="68308">
                    <a:moveTo>
                      <a:pt x="34506" y="68309"/>
                    </a:moveTo>
                    <a:cubicBezTo>
                      <a:pt x="53037" y="68309"/>
                      <a:pt x="68373" y="52987"/>
                      <a:pt x="68373" y="34474"/>
                    </a:cubicBezTo>
                    <a:cubicBezTo>
                      <a:pt x="68373" y="15960"/>
                      <a:pt x="53037" y="638"/>
                      <a:pt x="34506" y="0"/>
                    </a:cubicBezTo>
                    <a:cubicBezTo>
                      <a:pt x="15975" y="0"/>
                      <a:pt x="640" y="15322"/>
                      <a:pt x="0" y="33835"/>
                    </a:cubicBezTo>
                    <a:cubicBezTo>
                      <a:pt x="0" y="33835"/>
                      <a:pt x="0" y="33835"/>
                      <a:pt x="0" y="33835"/>
                    </a:cubicBezTo>
                    <a:cubicBezTo>
                      <a:pt x="0" y="53626"/>
                      <a:pt x="15336" y="68309"/>
                      <a:pt x="34506" y="68309"/>
                    </a:cubicBezTo>
                    <a:close/>
                    <a:moveTo>
                      <a:pt x="34506" y="13406"/>
                    </a:moveTo>
                    <a:cubicBezTo>
                      <a:pt x="46008" y="13406"/>
                      <a:pt x="55593" y="22982"/>
                      <a:pt x="55593" y="34474"/>
                    </a:cubicBezTo>
                    <a:cubicBezTo>
                      <a:pt x="55593" y="45965"/>
                      <a:pt x="46008" y="55541"/>
                      <a:pt x="34506" y="56179"/>
                    </a:cubicBezTo>
                    <a:cubicBezTo>
                      <a:pt x="23004" y="56179"/>
                      <a:pt x="13419" y="46603"/>
                      <a:pt x="12780" y="35112"/>
                    </a:cubicBezTo>
                    <a:cubicBezTo>
                      <a:pt x="12780" y="35112"/>
                      <a:pt x="12780" y="35112"/>
                      <a:pt x="12780" y="35112"/>
                    </a:cubicBezTo>
                    <a:cubicBezTo>
                      <a:pt x="12780" y="22982"/>
                      <a:pt x="22365" y="13406"/>
                      <a:pt x="34506" y="13406"/>
                    </a:cubicBezTo>
                    <a:close/>
                  </a:path>
                </a:pathLst>
              </a:custGeom>
              <a:grpFill/>
              <a:ln w="6390" cap="flat">
                <a:noFill/>
                <a:prstDash val="solid"/>
                <a:miter/>
              </a:ln>
            </p:spPr>
            <p:txBody>
              <a:bodyPr rtlCol="0" anchor="ctr"/>
              <a:lstStyle/>
              <a:p>
                <a:endParaRPr lang="en-US"/>
              </a:p>
            </p:txBody>
          </p:sp>
          <p:sp>
            <p:nvSpPr>
              <p:cNvPr id="1132" name="Graphic 4">
                <a:extLst>
                  <a:ext uri="{FF2B5EF4-FFF2-40B4-BE49-F238E27FC236}">
                    <a16:creationId xmlns:a16="http://schemas.microsoft.com/office/drawing/2014/main" id="{E7EA6F2D-E184-F22E-E5FB-C8F1096997DA}"/>
                  </a:ext>
                </a:extLst>
              </p:cNvPr>
              <p:cNvSpPr/>
              <p:nvPr/>
            </p:nvSpPr>
            <p:spPr>
              <a:xfrm>
                <a:off x="7860777" y="3991428"/>
                <a:ext cx="143596" cy="129594"/>
              </a:xfrm>
              <a:custGeom>
                <a:avLst/>
                <a:gdLst>
                  <a:gd name="connsiteX0" fmla="*/ 128561 w 143596"/>
                  <a:gd name="connsiteY0" fmla="*/ 75331 h 129594"/>
                  <a:gd name="connsiteX1" fmla="*/ 100445 w 143596"/>
                  <a:gd name="connsiteY1" fmla="*/ 71500 h 129594"/>
                  <a:gd name="connsiteX2" fmla="*/ 99166 w 143596"/>
                  <a:gd name="connsiteY2" fmla="*/ 43411 h 129594"/>
                  <a:gd name="connsiteX3" fmla="*/ 56993 w 143596"/>
                  <a:gd name="connsiteY3" fmla="*/ 1915 h 129594"/>
                  <a:gd name="connsiteX4" fmla="*/ 12263 w 143596"/>
                  <a:gd name="connsiteY4" fmla="*/ 1915 h 129594"/>
                  <a:gd name="connsiteX5" fmla="*/ 4596 w 143596"/>
                  <a:gd name="connsiteY5" fmla="*/ 4469 h 129594"/>
                  <a:gd name="connsiteX6" fmla="*/ 122 w 143596"/>
                  <a:gd name="connsiteY6" fmla="*/ 12768 h 129594"/>
                  <a:gd name="connsiteX7" fmla="*/ 8430 w 143596"/>
                  <a:gd name="connsiteY7" fmla="*/ 17237 h 129594"/>
                  <a:gd name="connsiteX8" fmla="*/ 9068 w 143596"/>
                  <a:gd name="connsiteY8" fmla="*/ 17237 h 129594"/>
                  <a:gd name="connsiteX9" fmla="*/ 14820 w 143596"/>
                  <a:gd name="connsiteY9" fmla="*/ 15322 h 129594"/>
                  <a:gd name="connsiteX10" fmla="*/ 55076 w 143596"/>
                  <a:gd name="connsiteY10" fmla="*/ 15322 h 129594"/>
                  <a:gd name="connsiteX11" fmla="*/ 86387 w 143596"/>
                  <a:gd name="connsiteY11" fmla="*/ 44049 h 129594"/>
                  <a:gd name="connsiteX12" fmla="*/ 87665 w 143596"/>
                  <a:gd name="connsiteY12" fmla="*/ 77246 h 129594"/>
                  <a:gd name="connsiteX13" fmla="*/ 93416 w 143596"/>
                  <a:gd name="connsiteY13" fmla="*/ 83630 h 129594"/>
                  <a:gd name="connsiteX14" fmla="*/ 126643 w 143596"/>
                  <a:gd name="connsiteY14" fmla="*/ 88099 h 129594"/>
                  <a:gd name="connsiteX15" fmla="*/ 131116 w 143596"/>
                  <a:gd name="connsiteY15" fmla="*/ 94483 h 129594"/>
                  <a:gd name="connsiteX16" fmla="*/ 131116 w 143596"/>
                  <a:gd name="connsiteY16" fmla="*/ 94483 h 129594"/>
                  <a:gd name="connsiteX17" fmla="*/ 126005 w 143596"/>
                  <a:gd name="connsiteY17" fmla="*/ 97675 h 129594"/>
                  <a:gd name="connsiteX18" fmla="*/ 80636 w 143596"/>
                  <a:gd name="connsiteY18" fmla="*/ 91291 h 129594"/>
                  <a:gd name="connsiteX19" fmla="*/ 71690 w 143596"/>
                  <a:gd name="connsiteY19" fmla="*/ 81076 h 129594"/>
                  <a:gd name="connsiteX20" fmla="*/ 70412 w 143596"/>
                  <a:gd name="connsiteY20" fmla="*/ 42134 h 129594"/>
                  <a:gd name="connsiteX21" fmla="*/ 64022 w 143596"/>
                  <a:gd name="connsiteY21" fmla="*/ 35750 h 129594"/>
                  <a:gd name="connsiteX22" fmla="*/ 57632 w 143596"/>
                  <a:gd name="connsiteY22" fmla="*/ 42134 h 129594"/>
                  <a:gd name="connsiteX23" fmla="*/ 58910 w 143596"/>
                  <a:gd name="connsiteY23" fmla="*/ 81076 h 129594"/>
                  <a:gd name="connsiteX24" fmla="*/ 62744 w 143596"/>
                  <a:gd name="connsiteY24" fmla="*/ 93206 h 129594"/>
                  <a:gd name="connsiteX25" fmla="*/ 62744 w 143596"/>
                  <a:gd name="connsiteY25" fmla="*/ 123211 h 129594"/>
                  <a:gd name="connsiteX26" fmla="*/ 69134 w 143596"/>
                  <a:gd name="connsiteY26" fmla="*/ 129595 h 129594"/>
                  <a:gd name="connsiteX27" fmla="*/ 75524 w 143596"/>
                  <a:gd name="connsiteY27" fmla="*/ 123211 h 129594"/>
                  <a:gd name="connsiteX28" fmla="*/ 75524 w 143596"/>
                  <a:gd name="connsiteY28" fmla="*/ 102782 h 129594"/>
                  <a:gd name="connsiteX29" fmla="*/ 78719 w 143596"/>
                  <a:gd name="connsiteY29" fmla="*/ 103420 h 129594"/>
                  <a:gd name="connsiteX30" fmla="*/ 124087 w 143596"/>
                  <a:gd name="connsiteY30" fmla="*/ 109804 h 129594"/>
                  <a:gd name="connsiteX31" fmla="*/ 126005 w 143596"/>
                  <a:gd name="connsiteY31" fmla="*/ 109804 h 129594"/>
                  <a:gd name="connsiteX32" fmla="*/ 143257 w 143596"/>
                  <a:gd name="connsiteY32" fmla="*/ 96398 h 129594"/>
                  <a:gd name="connsiteX33" fmla="*/ 143257 w 143596"/>
                  <a:gd name="connsiteY33" fmla="*/ 95760 h 129594"/>
                  <a:gd name="connsiteX34" fmla="*/ 128561 w 143596"/>
                  <a:gd name="connsiteY34" fmla="*/ 75331 h 129594"/>
                  <a:gd name="connsiteX35" fmla="*/ 128561 w 143596"/>
                  <a:gd name="connsiteY35" fmla="*/ 75331 h 12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3596" h="129594">
                    <a:moveTo>
                      <a:pt x="128561" y="75331"/>
                    </a:moveTo>
                    <a:lnTo>
                      <a:pt x="100445" y="71500"/>
                    </a:lnTo>
                    <a:lnTo>
                      <a:pt x="99166" y="43411"/>
                    </a:lnTo>
                    <a:cubicBezTo>
                      <a:pt x="97889" y="19152"/>
                      <a:pt x="77441" y="5107"/>
                      <a:pt x="56993" y="1915"/>
                    </a:cubicBezTo>
                    <a:cubicBezTo>
                      <a:pt x="42297" y="-638"/>
                      <a:pt x="26961" y="-638"/>
                      <a:pt x="12263" y="1915"/>
                    </a:cubicBezTo>
                    <a:cubicBezTo>
                      <a:pt x="9707" y="2554"/>
                      <a:pt x="7152" y="3192"/>
                      <a:pt x="4596" y="4469"/>
                    </a:cubicBezTo>
                    <a:cubicBezTo>
                      <a:pt x="1401" y="5746"/>
                      <a:pt x="-516" y="8938"/>
                      <a:pt x="122" y="12768"/>
                    </a:cubicBezTo>
                    <a:cubicBezTo>
                      <a:pt x="1401" y="15960"/>
                      <a:pt x="4596" y="17875"/>
                      <a:pt x="8430" y="17237"/>
                    </a:cubicBezTo>
                    <a:cubicBezTo>
                      <a:pt x="8430" y="17237"/>
                      <a:pt x="9068" y="17237"/>
                      <a:pt x="9068" y="17237"/>
                    </a:cubicBezTo>
                    <a:cubicBezTo>
                      <a:pt x="10986" y="16598"/>
                      <a:pt x="12902" y="15960"/>
                      <a:pt x="14820" y="15322"/>
                    </a:cubicBezTo>
                    <a:cubicBezTo>
                      <a:pt x="28238" y="12768"/>
                      <a:pt x="41657" y="12768"/>
                      <a:pt x="55076" y="15322"/>
                    </a:cubicBezTo>
                    <a:cubicBezTo>
                      <a:pt x="69773" y="17237"/>
                      <a:pt x="85748" y="27451"/>
                      <a:pt x="86387" y="44049"/>
                    </a:cubicBezTo>
                    <a:lnTo>
                      <a:pt x="87665" y="77246"/>
                    </a:lnTo>
                    <a:cubicBezTo>
                      <a:pt x="87665" y="80438"/>
                      <a:pt x="90221" y="82992"/>
                      <a:pt x="93416" y="83630"/>
                    </a:cubicBezTo>
                    <a:lnTo>
                      <a:pt x="126643" y="88099"/>
                    </a:lnTo>
                    <a:cubicBezTo>
                      <a:pt x="129838" y="88737"/>
                      <a:pt x="131756" y="91291"/>
                      <a:pt x="131116" y="94483"/>
                    </a:cubicBezTo>
                    <a:cubicBezTo>
                      <a:pt x="131116" y="94483"/>
                      <a:pt x="131116" y="94483"/>
                      <a:pt x="131116" y="94483"/>
                    </a:cubicBezTo>
                    <a:cubicBezTo>
                      <a:pt x="130477" y="97036"/>
                      <a:pt x="128561" y="98313"/>
                      <a:pt x="126005" y="97675"/>
                    </a:cubicBezTo>
                    <a:lnTo>
                      <a:pt x="80636" y="91291"/>
                    </a:lnTo>
                    <a:cubicBezTo>
                      <a:pt x="75524" y="90652"/>
                      <a:pt x="71690" y="86184"/>
                      <a:pt x="71690" y="81076"/>
                    </a:cubicBezTo>
                    <a:lnTo>
                      <a:pt x="70412" y="42134"/>
                    </a:lnTo>
                    <a:cubicBezTo>
                      <a:pt x="70412" y="38304"/>
                      <a:pt x="67217" y="35750"/>
                      <a:pt x="64022" y="35750"/>
                    </a:cubicBezTo>
                    <a:cubicBezTo>
                      <a:pt x="60188" y="35750"/>
                      <a:pt x="57632" y="38942"/>
                      <a:pt x="57632" y="42134"/>
                    </a:cubicBezTo>
                    <a:lnTo>
                      <a:pt x="58910" y="81076"/>
                    </a:lnTo>
                    <a:cubicBezTo>
                      <a:pt x="58910" y="85545"/>
                      <a:pt x="60827" y="90014"/>
                      <a:pt x="62744" y="93206"/>
                    </a:cubicBezTo>
                    <a:lnTo>
                      <a:pt x="62744" y="123211"/>
                    </a:lnTo>
                    <a:cubicBezTo>
                      <a:pt x="62744" y="127041"/>
                      <a:pt x="65300" y="129595"/>
                      <a:pt x="69134" y="129595"/>
                    </a:cubicBezTo>
                    <a:cubicBezTo>
                      <a:pt x="72968" y="129595"/>
                      <a:pt x="75524" y="127041"/>
                      <a:pt x="75524" y="123211"/>
                    </a:cubicBezTo>
                    <a:lnTo>
                      <a:pt x="75524" y="102782"/>
                    </a:lnTo>
                    <a:cubicBezTo>
                      <a:pt x="76802" y="102782"/>
                      <a:pt x="77441" y="103420"/>
                      <a:pt x="78719" y="103420"/>
                    </a:cubicBezTo>
                    <a:lnTo>
                      <a:pt x="124087" y="109804"/>
                    </a:lnTo>
                    <a:cubicBezTo>
                      <a:pt x="124726" y="109804"/>
                      <a:pt x="125366" y="109804"/>
                      <a:pt x="126005" y="109804"/>
                    </a:cubicBezTo>
                    <a:cubicBezTo>
                      <a:pt x="134311" y="109804"/>
                      <a:pt x="141341" y="104059"/>
                      <a:pt x="143257" y="96398"/>
                    </a:cubicBezTo>
                    <a:lnTo>
                      <a:pt x="143257" y="95760"/>
                    </a:lnTo>
                    <a:cubicBezTo>
                      <a:pt x="145174" y="86822"/>
                      <a:pt x="138784" y="77246"/>
                      <a:pt x="128561" y="75331"/>
                    </a:cubicBezTo>
                    <a:cubicBezTo>
                      <a:pt x="128561" y="75331"/>
                      <a:pt x="128561" y="75331"/>
                      <a:pt x="128561" y="75331"/>
                    </a:cubicBezTo>
                    <a:close/>
                  </a:path>
                </a:pathLst>
              </a:custGeom>
              <a:grpFill/>
              <a:ln w="6390" cap="flat">
                <a:noFill/>
                <a:prstDash val="solid"/>
                <a:miter/>
              </a:ln>
            </p:spPr>
            <p:txBody>
              <a:bodyPr rtlCol="0" anchor="ctr"/>
              <a:lstStyle/>
              <a:p>
                <a:endParaRPr lang="en-US"/>
              </a:p>
            </p:txBody>
          </p:sp>
          <p:sp>
            <p:nvSpPr>
              <p:cNvPr id="1133" name="Graphic 4">
                <a:extLst>
                  <a:ext uri="{FF2B5EF4-FFF2-40B4-BE49-F238E27FC236}">
                    <a16:creationId xmlns:a16="http://schemas.microsoft.com/office/drawing/2014/main" id="{FCF10D2C-9B89-8534-12C2-1F115D4C944E}"/>
                  </a:ext>
                </a:extLst>
              </p:cNvPr>
              <p:cNvSpPr/>
              <p:nvPr/>
            </p:nvSpPr>
            <p:spPr>
              <a:xfrm>
                <a:off x="7942052" y="3925035"/>
                <a:ext cx="161664" cy="148108"/>
              </a:xfrm>
              <a:custGeom>
                <a:avLst/>
                <a:gdLst>
                  <a:gd name="connsiteX0" fmla="*/ 140579 w 161664"/>
                  <a:gd name="connsiteY0" fmla="*/ 125126 h 148108"/>
                  <a:gd name="connsiteX1" fmla="*/ 161665 w 161664"/>
                  <a:gd name="connsiteY1" fmla="*/ 104059 h 148108"/>
                  <a:gd name="connsiteX2" fmla="*/ 161665 w 161664"/>
                  <a:gd name="connsiteY2" fmla="*/ 21067 h 148108"/>
                  <a:gd name="connsiteX3" fmla="*/ 140579 w 161664"/>
                  <a:gd name="connsiteY3" fmla="*/ 0 h 148108"/>
                  <a:gd name="connsiteX4" fmla="*/ 21086 w 161664"/>
                  <a:gd name="connsiteY4" fmla="*/ 0 h 148108"/>
                  <a:gd name="connsiteX5" fmla="*/ 0 w 161664"/>
                  <a:gd name="connsiteY5" fmla="*/ 21067 h 148108"/>
                  <a:gd name="connsiteX6" fmla="*/ 0 w 161664"/>
                  <a:gd name="connsiteY6" fmla="*/ 58733 h 148108"/>
                  <a:gd name="connsiteX7" fmla="*/ 6390 w 161664"/>
                  <a:gd name="connsiteY7" fmla="*/ 65117 h 148108"/>
                  <a:gd name="connsiteX8" fmla="*/ 12780 w 161664"/>
                  <a:gd name="connsiteY8" fmla="*/ 58733 h 148108"/>
                  <a:gd name="connsiteX9" fmla="*/ 12780 w 161664"/>
                  <a:gd name="connsiteY9" fmla="*/ 21067 h 148108"/>
                  <a:gd name="connsiteX10" fmla="*/ 21086 w 161664"/>
                  <a:gd name="connsiteY10" fmla="*/ 12768 h 148108"/>
                  <a:gd name="connsiteX11" fmla="*/ 140579 w 161664"/>
                  <a:gd name="connsiteY11" fmla="*/ 12768 h 148108"/>
                  <a:gd name="connsiteX12" fmla="*/ 148885 w 161664"/>
                  <a:gd name="connsiteY12" fmla="*/ 21067 h 148108"/>
                  <a:gd name="connsiteX13" fmla="*/ 148885 w 161664"/>
                  <a:gd name="connsiteY13" fmla="*/ 92568 h 148108"/>
                  <a:gd name="connsiteX14" fmla="*/ 113740 w 161664"/>
                  <a:gd name="connsiteY14" fmla="*/ 92568 h 148108"/>
                  <a:gd name="connsiteX15" fmla="*/ 80513 w 161664"/>
                  <a:gd name="connsiteY15" fmla="*/ 70224 h 148108"/>
                  <a:gd name="connsiteX16" fmla="*/ 47286 w 161664"/>
                  <a:gd name="connsiteY16" fmla="*/ 92568 h 148108"/>
                  <a:gd name="connsiteX17" fmla="*/ 34506 w 161664"/>
                  <a:gd name="connsiteY17" fmla="*/ 92568 h 148108"/>
                  <a:gd name="connsiteX18" fmla="*/ 28116 w 161664"/>
                  <a:gd name="connsiteY18" fmla="*/ 98952 h 148108"/>
                  <a:gd name="connsiteX19" fmla="*/ 34506 w 161664"/>
                  <a:gd name="connsiteY19" fmla="*/ 105336 h 148108"/>
                  <a:gd name="connsiteX20" fmla="*/ 148885 w 161664"/>
                  <a:gd name="connsiteY20" fmla="*/ 105336 h 148108"/>
                  <a:gd name="connsiteX21" fmla="*/ 140579 w 161664"/>
                  <a:gd name="connsiteY21" fmla="*/ 112997 h 148108"/>
                  <a:gd name="connsiteX22" fmla="*/ 34506 w 161664"/>
                  <a:gd name="connsiteY22" fmla="*/ 112997 h 148108"/>
                  <a:gd name="connsiteX23" fmla="*/ 28116 w 161664"/>
                  <a:gd name="connsiteY23" fmla="*/ 119381 h 148108"/>
                  <a:gd name="connsiteX24" fmla="*/ 34506 w 161664"/>
                  <a:gd name="connsiteY24" fmla="*/ 125765 h 148108"/>
                  <a:gd name="connsiteX25" fmla="*/ 61982 w 161664"/>
                  <a:gd name="connsiteY25" fmla="*/ 125765 h 148108"/>
                  <a:gd name="connsiteX26" fmla="*/ 61982 w 161664"/>
                  <a:gd name="connsiteY26" fmla="*/ 141724 h 148108"/>
                  <a:gd name="connsiteX27" fmla="*/ 68372 w 161664"/>
                  <a:gd name="connsiteY27" fmla="*/ 148108 h 148108"/>
                  <a:gd name="connsiteX28" fmla="*/ 155275 w 161664"/>
                  <a:gd name="connsiteY28" fmla="*/ 148108 h 148108"/>
                  <a:gd name="connsiteX29" fmla="*/ 161665 w 161664"/>
                  <a:gd name="connsiteY29" fmla="*/ 141724 h 148108"/>
                  <a:gd name="connsiteX30" fmla="*/ 155275 w 161664"/>
                  <a:gd name="connsiteY30" fmla="*/ 135341 h 148108"/>
                  <a:gd name="connsiteX31" fmla="*/ 99044 w 161664"/>
                  <a:gd name="connsiteY31" fmla="*/ 135341 h 148108"/>
                  <a:gd name="connsiteX32" fmla="*/ 99044 w 161664"/>
                  <a:gd name="connsiteY32" fmla="*/ 125765 h 148108"/>
                  <a:gd name="connsiteX33" fmla="*/ 140579 w 161664"/>
                  <a:gd name="connsiteY33" fmla="*/ 125126 h 148108"/>
                  <a:gd name="connsiteX34" fmla="*/ 81152 w 161664"/>
                  <a:gd name="connsiteY34" fmla="*/ 82353 h 148108"/>
                  <a:gd name="connsiteX35" fmla="*/ 100961 w 161664"/>
                  <a:gd name="connsiteY35" fmla="*/ 91929 h 148108"/>
                  <a:gd name="connsiteX36" fmla="*/ 61343 w 161664"/>
                  <a:gd name="connsiteY36" fmla="*/ 91929 h 148108"/>
                  <a:gd name="connsiteX37" fmla="*/ 81152 w 161664"/>
                  <a:gd name="connsiteY37" fmla="*/ 82353 h 148108"/>
                  <a:gd name="connsiteX38" fmla="*/ 81152 w 161664"/>
                  <a:gd name="connsiteY38" fmla="*/ 82353 h 148108"/>
                  <a:gd name="connsiteX39" fmla="*/ 86903 w 161664"/>
                  <a:gd name="connsiteY39" fmla="*/ 134702 h 148108"/>
                  <a:gd name="connsiteX40" fmla="*/ 75401 w 161664"/>
                  <a:gd name="connsiteY40" fmla="*/ 134702 h 148108"/>
                  <a:gd name="connsiteX41" fmla="*/ 75401 w 161664"/>
                  <a:gd name="connsiteY41" fmla="*/ 125126 h 148108"/>
                  <a:gd name="connsiteX42" fmla="*/ 86903 w 161664"/>
                  <a:gd name="connsiteY42" fmla="*/ 125126 h 148108"/>
                  <a:gd name="connsiteX43" fmla="*/ 86903 w 161664"/>
                  <a:gd name="connsiteY43" fmla="*/ 134702 h 14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61664" h="148108">
                    <a:moveTo>
                      <a:pt x="140579" y="125126"/>
                    </a:moveTo>
                    <a:cubicBezTo>
                      <a:pt x="152080" y="125126"/>
                      <a:pt x="161665" y="115550"/>
                      <a:pt x="161665" y="104059"/>
                    </a:cubicBezTo>
                    <a:lnTo>
                      <a:pt x="161665" y="21067"/>
                    </a:lnTo>
                    <a:cubicBezTo>
                      <a:pt x="161665" y="9576"/>
                      <a:pt x="152080" y="0"/>
                      <a:pt x="140579" y="0"/>
                    </a:cubicBezTo>
                    <a:lnTo>
                      <a:pt x="21086" y="0"/>
                    </a:lnTo>
                    <a:cubicBezTo>
                      <a:pt x="9585" y="0"/>
                      <a:pt x="0" y="9576"/>
                      <a:pt x="0" y="21067"/>
                    </a:cubicBezTo>
                    <a:lnTo>
                      <a:pt x="0" y="58733"/>
                    </a:lnTo>
                    <a:cubicBezTo>
                      <a:pt x="0" y="62563"/>
                      <a:pt x="2556" y="65117"/>
                      <a:pt x="6390" y="65117"/>
                    </a:cubicBezTo>
                    <a:cubicBezTo>
                      <a:pt x="10224" y="65117"/>
                      <a:pt x="12780" y="62563"/>
                      <a:pt x="12780" y="58733"/>
                    </a:cubicBezTo>
                    <a:lnTo>
                      <a:pt x="12780" y="21067"/>
                    </a:lnTo>
                    <a:cubicBezTo>
                      <a:pt x="12780" y="16598"/>
                      <a:pt x="16614" y="12768"/>
                      <a:pt x="21086" y="12768"/>
                    </a:cubicBezTo>
                    <a:lnTo>
                      <a:pt x="140579" y="12768"/>
                    </a:lnTo>
                    <a:cubicBezTo>
                      <a:pt x="145051" y="12768"/>
                      <a:pt x="148885" y="16598"/>
                      <a:pt x="148885" y="21067"/>
                    </a:cubicBezTo>
                    <a:lnTo>
                      <a:pt x="148885" y="92568"/>
                    </a:lnTo>
                    <a:lnTo>
                      <a:pt x="113740" y="92568"/>
                    </a:lnTo>
                    <a:cubicBezTo>
                      <a:pt x="111185" y="81077"/>
                      <a:pt x="101600" y="70224"/>
                      <a:pt x="80513" y="70224"/>
                    </a:cubicBezTo>
                    <a:cubicBezTo>
                      <a:pt x="59426" y="70224"/>
                      <a:pt x="49841" y="81077"/>
                      <a:pt x="47286" y="92568"/>
                    </a:cubicBezTo>
                    <a:lnTo>
                      <a:pt x="34506" y="92568"/>
                    </a:lnTo>
                    <a:cubicBezTo>
                      <a:pt x="30671" y="92568"/>
                      <a:pt x="28116" y="95121"/>
                      <a:pt x="28116" y="98952"/>
                    </a:cubicBezTo>
                    <a:cubicBezTo>
                      <a:pt x="28116" y="102782"/>
                      <a:pt x="30671" y="105336"/>
                      <a:pt x="34506" y="105336"/>
                    </a:cubicBezTo>
                    <a:lnTo>
                      <a:pt x="148885" y="105336"/>
                    </a:lnTo>
                    <a:cubicBezTo>
                      <a:pt x="148246" y="109805"/>
                      <a:pt x="145051" y="112997"/>
                      <a:pt x="140579" y="112997"/>
                    </a:cubicBezTo>
                    <a:lnTo>
                      <a:pt x="34506" y="112997"/>
                    </a:lnTo>
                    <a:cubicBezTo>
                      <a:pt x="30671" y="112997"/>
                      <a:pt x="28116" y="115550"/>
                      <a:pt x="28116" y="119381"/>
                    </a:cubicBezTo>
                    <a:cubicBezTo>
                      <a:pt x="28116" y="123211"/>
                      <a:pt x="30671" y="125765"/>
                      <a:pt x="34506" y="125765"/>
                    </a:cubicBezTo>
                    <a:lnTo>
                      <a:pt x="61982" y="125765"/>
                    </a:lnTo>
                    <a:lnTo>
                      <a:pt x="61982" y="141724"/>
                    </a:lnTo>
                    <a:cubicBezTo>
                      <a:pt x="61982" y="145555"/>
                      <a:pt x="64538" y="148108"/>
                      <a:pt x="68372" y="148108"/>
                    </a:cubicBezTo>
                    <a:lnTo>
                      <a:pt x="155275" y="148108"/>
                    </a:lnTo>
                    <a:cubicBezTo>
                      <a:pt x="159110" y="148108"/>
                      <a:pt x="161665" y="145555"/>
                      <a:pt x="161665" y="141724"/>
                    </a:cubicBezTo>
                    <a:cubicBezTo>
                      <a:pt x="161665" y="137894"/>
                      <a:pt x="159110" y="135341"/>
                      <a:pt x="155275" y="135341"/>
                    </a:cubicBezTo>
                    <a:lnTo>
                      <a:pt x="99044" y="135341"/>
                    </a:lnTo>
                    <a:lnTo>
                      <a:pt x="99044" y="125765"/>
                    </a:lnTo>
                    <a:lnTo>
                      <a:pt x="140579" y="125126"/>
                    </a:lnTo>
                    <a:close/>
                    <a:moveTo>
                      <a:pt x="81152" y="82353"/>
                    </a:moveTo>
                    <a:cubicBezTo>
                      <a:pt x="93932" y="82353"/>
                      <a:pt x="99044" y="87461"/>
                      <a:pt x="100961" y="91929"/>
                    </a:cubicBezTo>
                    <a:lnTo>
                      <a:pt x="61343" y="91929"/>
                    </a:lnTo>
                    <a:cubicBezTo>
                      <a:pt x="63261" y="87461"/>
                      <a:pt x="68372" y="82353"/>
                      <a:pt x="81152" y="82353"/>
                    </a:cubicBezTo>
                    <a:lnTo>
                      <a:pt x="81152" y="82353"/>
                    </a:lnTo>
                    <a:close/>
                    <a:moveTo>
                      <a:pt x="86903" y="134702"/>
                    </a:moveTo>
                    <a:lnTo>
                      <a:pt x="75401" y="134702"/>
                    </a:lnTo>
                    <a:lnTo>
                      <a:pt x="75401" y="125126"/>
                    </a:lnTo>
                    <a:lnTo>
                      <a:pt x="86903" y="125126"/>
                    </a:lnTo>
                    <a:lnTo>
                      <a:pt x="86903" y="134702"/>
                    </a:lnTo>
                    <a:close/>
                  </a:path>
                </a:pathLst>
              </a:custGeom>
              <a:grpFill/>
              <a:ln w="6390" cap="flat">
                <a:noFill/>
                <a:prstDash val="solid"/>
                <a:miter/>
              </a:ln>
            </p:spPr>
            <p:txBody>
              <a:bodyPr rtlCol="0" anchor="ctr"/>
              <a:lstStyle/>
              <a:p>
                <a:endParaRPr lang="en-US"/>
              </a:p>
            </p:txBody>
          </p:sp>
          <p:sp>
            <p:nvSpPr>
              <p:cNvPr id="1134" name="Graphic 4">
                <a:extLst>
                  <a:ext uri="{FF2B5EF4-FFF2-40B4-BE49-F238E27FC236}">
                    <a16:creationId xmlns:a16="http://schemas.microsoft.com/office/drawing/2014/main" id="{1F22FEDD-0232-4E02-F7F5-9FF45FAC141F}"/>
                  </a:ext>
                </a:extLst>
              </p:cNvPr>
              <p:cNvSpPr/>
              <p:nvPr/>
            </p:nvSpPr>
            <p:spPr>
              <a:xfrm>
                <a:off x="7998283" y="3944186"/>
                <a:ext cx="48564" cy="48518"/>
              </a:xfrm>
              <a:custGeom>
                <a:avLst/>
                <a:gdLst>
                  <a:gd name="connsiteX0" fmla="*/ 48564 w 48564"/>
                  <a:gd name="connsiteY0" fmla="*/ 24259 h 48518"/>
                  <a:gd name="connsiteX1" fmla="*/ 24282 w 48564"/>
                  <a:gd name="connsiteY1" fmla="*/ 0 h 48518"/>
                  <a:gd name="connsiteX2" fmla="*/ 0 w 48564"/>
                  <a:gd name="connsiteY2" fmla="*/ 24259 h 48518"/>
                  <a:gd name="connsiteX3" fmla="*/ 24282 w 48564"/>
                  <a:gd name="connsiteY3" fmla="*/ 48518 h 48518"/>
                  <a:gd name="connsiteX4" fmla="*/ 48564 w 48564"/>
                  <a:gd name="connsiteY4" fmla="*/ 24259 h 48518"/>
                  <a:gd name="connsiteX5" fmla="*/ 48564 w 48564"/>
                  <a:gd name="connsiteY5" fmla="*/ 24259 h 48518"/>
                  <a:gd name="connsiteX6" fmla="*/ 13419 w 48564"/>
                  <a:gd name="connsiteY6" fmla="*/ 24259 h 48518"/>
                  <a:gd name="connsiteX7" fmla="*/ 24921 w 48564"/>
                  <a:gd name="connsiteY7" fmla="*/ 12768 h 48518"/>
                  <a:gd name="connsiteX8" fmla="*/ 36423 w 48564"/>
                  <a:gd name="connsiteY8" fmla="*/ 24259 h 48518"/>
                  <a:gd name="connsiteX9" fmla="*/ 24921 w 48564"/>
                  <a:gd name="connsiteY9" fmla="*/ 35750 h 48518"/>
                  <a:gd name="connsiteX10" fmla="*/ 24921 w 48564"/>
                  <a:gd name="connsiteY10" fmla="*/ 35750 h 48518"/>
                  <a:gd name="connsiteX11" fmla="*/ 13419 w 48564"/>
                  <a:gd name="connsiteY11" fmla="*/ 24259 h 48518"/>
                  <a:gd name="connsiteX12" fmla="*/ 13419 w 48564"/>
                  <a:gd name="connsiteY12" fmla="*/ 24259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64" h="48518">
                    <a:moveTo>
                      <a:pt x="48564" y="24259"/>
                    </a:moveTo>
                    <a:cubicBezTo>
                      <a:pt x="48564" y="10853"/>
                      <a:pt x="37701" y="0"/>
                      <a:pt x="24282" y="0"/>
                    </a:cubicBezTo>
                    <a:cubicBezTo>
                      <a:pt x="10863" y="0"/>
                      <a:pt x="0" y="10853"/>
                      <a:pt x="0" y="24259"/>
                    </a:cubicBezTo>
                    <a:cubicBezTo>
                      <a:pt x="0" y="37665"/>
                      <a:pt x="10863" y="48518"/>
                      <a:pt x="24282" y="48518"/>
                    </a:cubicBezTo>
                    <a:cubicBezTo>
                      <a:pt x="37701" y="48518"/>
                      <a:pt x="48564" y="37665"/>
                      <a:pt x="48564" y="24259"/>
                    </a:cubicBezTo>
                    <a:cubicBezTo>
                      <a:pt x="48564" y="24259"/>
                      <a:pt x="48564" y="24259"/>
                      <a:pt x="48564" y="24259"/>
                    </a:cubicBezTo>
                    <a:close/>
                    <a:moveTo>
                      <a:pt x="13419" y="24259"/>
                    </a:moveTo>
                    <a:cubicBezTo>
                      <a:pt x="13419" y="17875"/>
                      <a:pt x="18531" y="12768"/>
                      <a:pt x="24921" y="12768"/>
                    </a:cubicBezTo>
                    <a:cubicBezTo>
                      <a:pt x="31311" y="12768"/>
                      <a:pt x="36423" y="17875"/>
                      <a:pt x="36423" y="24259"/>
                    </a:cubicBezTo>
                    <a:cubicBezTo>
                      <a:pt x="36423" y="30643"/>
                      <a:pt x="31311" y="35750"/>
                      <a:pt x="24921" y="35750"/>
                    </a:cubicBezTo>
                    <a:cubicBezTo>
                      <a:pt x="24921" y="35750"/>
                      <a:pt x="24921" y="35750"/>
                      <a:pt x="24921" y="35750"/>
                    </a:cubicBezTo>
                    <a:cubicBezTo>
                      <a:pt x="18531" y="35750"/>
                      <a:pt x="13419" y="30643"/>
                      <a:pt x="13419" y="24259"/>
                    </a:cubicBezTo>
                    <a:cubicBezTo>
                      <a:pt x="13419" y="24259"/>
                      <a:pt x="13419" y="24259"/>
                      <a:pt x="13419" y="24259"/>
                    </a:cubicBezTo>
                    <a:close/>
                  </a:path>
                </a:pathLst>
              </a:custGeom>
              <a:grpFill/>
              <a:ln w="6390" cap="flat">
                <a:noFill/>
                <a:prstDash val="solid"/>
                <a:miter/>
              </a:ln>
            </p:spPr>
            <p:txBody>
              <a:bodyPr rtlCol="0" anchor="ctr"/>
              <a:lstStyle/>
              <a:p>
                <a:endParaRPr lang="en-US"/>
              </a:p>
            </p:txBody>
          </p:sp>
        </p:grpSp>
        <p:grpSp>
          <p:nvGrpSpPr>
            <p:cNvPr id="1135" name="Graphic 4">
              <a:extLst>
                <a:ext uri="{FF2B5EF4-FFF2-40B4-BE49-F238E27FC236}">
                  <a16:creationId xmlns:a16="http://schemas.microsoft.com/office/drawing/2014/main" id="{A8FC0E09-C5A3-0330-E0A8-F0E246C8B947}"/>
                </a:ext>
              </a:extLst>
            </p:cNvPr>
            <p:cNvGrpSpPr/>
            <p:nvPr/>
          </p:nvGrpSpPr>
          <p:grpSpPr>
            <a:xfrm>
              <a:off x="2059640" y="2398693"/>
              <a:ext cx="301202" cy="237346"/>
              <a:chOff x="3675491" y="3915459"/>
              <a:chExt cx="226842" cy="178750"/>
            </a:xfrm>
            <a:solidFill>
              <a:schemeClr val="bg1"/>
            </a:solidFill>
          </p:grpSpPr>
          <p:sp>
            <p:nvSpPr>
              <p:cNvPr id="1136" name="Graphic 4">
                <a:extLst>
                  <a:ext uri="{FF2B5EF4-FFF2-40B4-BE49-F238E27FC236}">
                    <a16:creationId xmlns:a16="http://schemas.microsoft.com/office/drawing/2014/main" id="{A2A4772B-08AC-2ECB-6A2A-C1EF19496245}"/>
                  </a:ext>
                </a:extLst>
              </p:cNvPr>
              <p:cNvSpPr/>
              <p:nvPr/>
            </p:nvSpPr>
            <p:spPr>
              <a:xfrm>
                <a:off x="3709358" y="4015687"/>
                <a:ext cx="12779" cy="33196"/>
              </a:xfrm>
              <a:custGeom>
                <a:avLst/>
                <a:gdLst>
                  <a:gd name="connsiteX0" fmla="*/ 6390 w 12779"/>
                  <a:gd name="connsiteY0" fmla="*/ 33196 h 33196"/>
                  <a:gd name="connsiteX1" fmla="*/ 0 w 12779"/>
                  <a:gd name="connsiteY1" fmla="*/ 26812 h 33196"/>
                  <a:gd name="connsiteX2" fmla="*/ 0 w 12779"/>
                  <a:gd name="connsiteY2" fmla="*/ 6384 h 33196"/>
                  <a:gd name="connsiteX3" fmla="*/ 6390 w 12779"/>
                  <a:gd name="connsiteY3" fmla="*/ 0 h 33196"/>
                  <a:gd name="connsiteX4" fmla="*/ 12780 w 12779"/>
                  <a:gd name="connsiteY4" fmla="*/ 6384 h 33196"/>
                  <a:gd name="connsiteX5" fmla="*/ 12780 w 12779"/>
                  <a:gd name="connsiteY5" fmla="*/ 26812 h 33196"/>
                  <a:gd name="connsiteX6" fmla="*/ 6390 w 12779"/>
                  <a:gd name="connsiteY6" fmla="*/ 33196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3196">
                    <a:moveTo>
                      <a:pt x="6390" y="33196"/>
                    </a:moveTo>
                    <a:cubicBezTo>
                      <a:pt x="2556" y="33196"/>
                      <a:pt x="0" y="30643"/>
                      <a:pt x="0" y="26812"/>
                    </a:cubicBezTo>
                    <a:lnTo>
                      <a:pt x="0" y="6384"/>
                    </a:lnTo>
                    <a:cubicBezTo>
                      <a:pt x="0" y="2553"/>
                      <a:pt x="2556" y="0"/>
                      <a:pt x="6390" y="0"/>
                    </a:cubicBezTo>
                    <a:cubicBezTo>
                      <a:pt x="10224" y="0"/>
                      <a:pt x="12780" y="2553"/>
                      <a:pt x="12780" y="6384"/>
                    </a:cubicBezTo>
                    <a:lnTo>
                      <a:pt x="12780" y="26812"/>
                    </a:lnTo>
                    <a:cubicBezTo>
                      <a:pt x="12780" y="30004"/>
                      <a:pt x="10224" y="33196"/>
                      <a:pt x="6390" y="33196"/>
                    </a:cubicBezTo>
                  </a:path>
                </a:pathLst>
              </a:custGeom>
              <a:grpFill/>
              <a:ln w="6390" cap="flat">
                <a:noFill/>
                <a:prstDash val="solid"/>
                <a:miter/>
              </a:ln>
            </p:spPr>
            <p:txBody>
              <a:bodyPr rtlCol="0" anchor="ctr"/>
              <a:lstStyle/>
              <a:p>
                <a:endParaRPr lang="en-US"/>
              </a:p>
            </p:txBody>
          </p:sp>
          <p:sp>
            <p:nvSpPr>
              <p:cNvPr id="1137" name="Graphic 4">
                <a:extLst>
                  <a:ext uri="{FF2B5EF4-FFF2-40B4-BE49-F238E27FC236}">
                    <a16:creationId xmlns:a16="http://schemas.microsoft.com/office/drawing/2014/main" id="{2B14E821-4FD1-162C-1FED-EFEBDEA9BA14}"/>
                  </a:ext>
                </a:extLst>
              </p:cNvPr>
              <p:cNvSpPr/>
              <p:nvPr/>
            </p:nvSpPr>
            <p:spPr>
              <a:xfrm>
                <a:off x="3675491" y="3915459"/>
                <a:ext cx="226842" cy="157045"/>
              </a:xfrm>
              <a:custGeom>
                <a:avLst/>
                <a:gdLst>
                  <a:gd name="connsiteX0" fmla="*/ 28755 w 226842"/>
                  <a:gd name="connsiteY0" fmla="*/ 13406 h 157045"/>
                  <a:gd name="connsiteX1" fmla="*/ 12780 w 226842"/>
                  <a:gd name="connsiteY1" fmla="*/ 29366 h 157045"/>
                  <a:gd name="connsiteX2" fmla="*/ 12780 w 226842"/>
                  <a:gd name="connsiteY2" fmla="*/ 128957 h 157045"/>
                  <a:gd name="connsiteX3" fmla="*/ 28755 w 226842"/>
                  <a:gd name="connsiteY3" fmla="*/ 144916 h 157045"/>
                  <a:gd name="connsiteX4" fmla="*/ 198088 w 226842"/>
                  <a:gd name="connsiteY4" fmla="*/ 144916 h 157045"/>
                  <a:gd name="connsiteX5" fmla="*/ 214063 w 226842"/>
                  <a:gd name="connsiteY5" fmla="*/ 128957 h 157045"/>
                  <a:gd name="connsiteX6" fmla="*/ 214063 w 226842"/>
                  <a:gd name="connsiteY6" fmla="*/ 29366 h 157045"/>
                  <a:gd name="connsiteX7" fmla="*/ 198088 w 226842"/>
                  <a:gd name="connsiteY7" fmla="*/ 13406 h 157045"/>
                  <a:gd name="connsiteX8" fmla="*/ 28755 w 226842"/>
                  <a:gd name="connsiteY8" fmla="*/ 13406 h 157045"/>
                  <a:gd name="connsiteX9" fmla="*/ 198088 w 226842"/>
                  <a:gd name="connsiteY9" fmla="*/ 157046 h 157045"/>
                  <a:gd name="connsiteX10" fmla="*/ 28755 w 226842"/>
                  <a:gd name="connsiteY10" fmla="*/ 157046 h 157045"/>
                  <a:gd name="connsiteX11" fmla="*/ 0 w 226842"/>
                  <a:gd name="connsiteY11" fmla="*/ 128318 h 157045"/>
                  <a:gd name="connsiteX12" fmla="*/ 0 w 226842"/>
                  <a:gd name="connsiteY12" fmla="*/ 28728 h 157045"/>
                  <a:gd name="connsiteX13" fmla="*/ 28755 w 226842"/>
                  <a:gd name="connsiteY13" fmla="*/ 0 h 157045"/>
                  <a:gd name="connsiteX14" fmla="*/ 198088 w 226842"/>
                  <a:gd name="connsiteY14" fmla="*/ 0 h 157045"/>
                  <a:gd name="connsiteX15" fmla="*/ 226843 w 226842"/>
                  <a:gd name="connsiteY15" fmla="*/ 28728 h 157045"/>
                  <a:gd name="connsiteX16" fmla="*/ 226843 w 226842"/>
                  <a:gd name="connsiteY16" fmla="*/ 128318 h 157045"/>
                  <a:gd name="connsiteX17" fmla="*/ 198088 w 226842"/>
                  <a:gd name="connsiteY17" fmla="*/ 157046 h 15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42" h="157045">
                    <a:moveTo>
                      <a:pt x="28755" y="13406"/>
                    </a:moveTo>
                    <a:cubicBezTo>
                      <a:pt x="19809" y="13406"/>
                      <a:pt x="12780" y="20429"/>
                      <a:pt x="12780" y="29366"/>
                    </a:cubicBezTo>
                    <a:lnTo>
                      <a:pt x="12780" y="128957"/>
                    </a:lnTo>
                    <a:cubicBezTo>
                      <a:pt x="12780" y="137256"/>
                      <a:pt x="19809" y="144916"/>
                      <a:pt x="28755" y="144916"/>
                    </a:cubicBezTo>
                    <a:lnTo>
                      <a:pt x="198088" y="144916"/>
                    </a:lnTo>
                    <a:cubicBezTo>
                      <a:pt x="207034" y="144916"/>
                      <a:pt x="214063" y="137894"/>
                      <a:pt x="214063" y="128957"/>
                    </a:cubicBezTo>
                    <a:lnTo>
                      <a:pt x="214063" y="29366"/>
                    </a:lnTo>
                    <a:cubicBezTo>
                      <a:pt x="214063" y="20429"/>
                      <a:pt x="207034" y="13406"/>
                      <a:pt x="198088" y="13406"/>
                    </a:cubicBezTo>
                    <a:lnTo>
                      <a:pt x="28755" y="13406"/>
                    </a:lnTo>
                    <a:close/>
                    <a:moveTo>
                      <a:pt x="198088" y="157046"/>
                    </a:moveTo>
                    <a:lnTo>
                      <a:pt x="28755" y="157046"/>
                    </a:lnTo>
                    <a:cubicBezTo>
                      <a:pt x="12780" y="157046"/>
                      <a:pt x="0" y="144278"/>
                      <a:pt x="0" y="128318"/>
                    </a:cubicBezTo>
                    <a:lnTo>
                      <a:pt x="0" y="28728"/>
                    </a:lnTo>
                    <a:cubicBezTo>
                      <a:pt x="0" y="12768"/>
                      <a:pt x="12780" y="0"/>
                      <a:pt x="28755" y="0"/>
                    </a:cubicBezTo>
                    <a:lnTo>
                      <a:pt x="198088" y="0"/>
                    </a:lnTo>
                    <a:cubicBezTo>
                      <a:pt x="214063" y="0"/>
                      <a:pt x="226843" y="12768"/>
                      <a:pt x="226843" y="28728"/>
                    </a:cubicBezTo>
                    <a:lnTo>
                      <a:pt x="226843" y="128318"/>
                    </a:lnTo>
                    <a:cubicBezTo>
                      <a:pt x="226843" y="144278"/>
                      <a:pt x="214063" y="157046"/>
                      <a:pt x="198088" y="157046"/>
                    </a:cubicBezTo>
                  </a:path>
                </a:pathLst>
              </a:custGeom>
              <a:grpFill/>
              <a:ln w="6390" cap="flat">
                <a:noFill/>
                <a:prstDash val="solid"/>
                <a:miter/>
              </a:ln>
            </p:spPr>
            <p:txBody>
              <a:bodyPr rtlCol="0" anchor="ctr"/>
              <a:lstStyle/>
              <a:p>
                <a:endParaRPr lang="en-US"/>
              </a:p>
            </p:txBody>
          </p:sp>
          <p:sp>
            <p:nvSpPr>
              <p:cNvPr id="1138" name="Graphic 4">
                <a:extLst>
                  <a:ext uri="{FF2B5EF4-FFF2-40B4-BE49-F238E27FC236}">
                    <a16:creationId xmlns:a16="http://schemas.microsoft.com/office/drawing/2014/main" id="{B9F6ECA4-DA25-015D-3118-0A2047BDD14F}"/>
                  </a:ext>
                </a:extLst>
              </p:cNvPr>
              <p:cNvSpPr/>
              <p:nvPr/>
            </p:nvSpPr>
            <p:spPr>
              <a:xfrm>
                <a:off x="3824377" y="3988874"/>
                <a:ext cx="12779" cy="61924"/>
              </a:xfrm>
              <a:custGeom>
                <a:avLst/>
                <a:gdLst>
                  <a:gd name="connsiteX0" fmla="*/ 6390 w 12779"/>
                  <a:gd name="connsiteY0" fmla="*/ 61925 h 61924"/>
                  <a:gd name="connsiteX1" fmla="*/ 0 w 12779"/>
                  <a:gd name="connsiteY1" fmla="*/ 55541 h 61924"/>
                  <a:gd name="connsiteX2" fmla="*/ 0 w 12779"/>
                  <a:gd name="connsiteY2" fmla="*/ 6384 h 61924"/>
                  <a:gd name="connsiteX3" fmla="*/ 6390 w 12779"/>
                  <a:gd name="connsiteY3" fmla="*/ 0 h 61924"/>
                  <a:gd name="connsiteX4" fmla="*/ 12780 w 12779"/>
                  <a:gd name="connsiteY4" fmla="*/ 6384 h 61924"/>
                  <a:gd name="connsiteX5" fmla="*/ 12780 w 12779"/>
                  <a:gd name="connsiteY5" fmla="*/ 55541 h 61924"/>
                  <a:gd name="connsiteX6" fmla="*/ 6390 w 12779"/>
                  <a:gd name="connsiteY6" fmla="*/ 61925 h 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1924">
                    <a:moveTo>
                      <a:pt x="6390" y="61925"/>
                    </a:moveTo>
                    <a:cubicBezTo>
                      <a:pt x="2556" y="61925"/>
                      <a:pt x="0" y="59371"/>
                      <a:pt x="0" y="55541"/>
                    </a:cubicBezTo>
                    <a:lnTo>
                      <a:pt x="0" y="6384"/>
                    </a:lnTo>
                    <a:cubicBezTo>
                      <a:pt x="0" y="2553"/>
                      <a:pt x="2556" y="0"/>
                      <a:pt x="6390" y="0"/>
                    </a:cubicBezTo>
                    <a:cubicBezTo>
                      <a:pt x="10224" y="0"/>
                      <a:pt x="12780" y="2553"/>
                      <a:pt x="12780" y="6384"/>
                    </a:cubicBezTo>
                    <a:lnTo>
                      <a:pt x="12780" y="55541"/>
                    </a:lnTo>
                    <a:cubicBezTo>
                      <a:pt x="12780" y="59371"/>
                      <a:pt x="9585" y="61925"/>
                      <a:pt x="6390" y="61925"/>
                    </a:cubicBezTo>
                  </a:path>
                </a:pathLst>
              </a:custGeom>
              <a:grpFill/>
              <a:ln w="6390" cap="flat">
                <a:noFill/>
                <a:prstDash val="solid"/>
                <a:miter/>
              </a:ln>
            </p:spPr>
            <p:txBody>
              <a:bodyPr rtlCol="0" anchor="ctr"/>
              <a:lstStyle/>
              <a:p>
                <a:endParaRPr lang="en-US"/>
              </a:p>
            </p:txBody>
          </p:sp>
          <p:sp>
            <p:nvSpPr>
              <p:cNvPr id="1139" name="Graphic 4">
                <a:extLst>
                  <a:ext uri="{FF2B5EF4-FFF2-40B4-BE49-F238E27FC236}">
                    <a16:creationId xmlns:a16="http://schemas.microsoft.com/office/drawing/2014/main" id="{5DEF4E28-3D6C-5A26-CF4E-D07F1DC7AE58}"/>
                  </a:ext>
                </a:extLst>
              </p:cNvPr>
              <p:cNvSpPr/>
              <p:nvPr/>
            </p:nvSpPr>
            <p:spPr>
              <a:xfrm>
                <a:off x="3853132" y="3974829"/>
                <a:ext cx="12779" cy="75969"/>
              </a:xfrm>
              <a:custGeom>
                <a:avLst/>
                <a:gdLst>
                  <a:gd name="connsiteX0" fmla="*/ 6390 w 12779"/>
                  <a:gd name="connsiteY0" fmla="*/ 75970 h 75969"/>
                  <a:gd name="connsiteX1" fmla="*/ 0 w 12779"/>
                  <a:gd name="connsiteY1" fmla="*/ 69586 h 75969"/>
                  <a:gd name="connsiteX2" fmla="*/ 0 w 12779"/>
                  <a:gd name="connsiteY2" fmla="*/ 6384 h 75969"/>
                  <a:gd name="connsiteX3" fmla="*/ 6390 w 12779"/>
                  <a:gd name="connsiteY3" fmla="*/ 0 h 75969"/>
                  <a:gd name="connsiteX4" fmla="*/ 12780 w 12779"/>
                  <a:gd name="connsiteY4" fmla="*/ 6384 h 75969"/>
                  <a:gd name="connsiteX5" fmla="*/ 12780 w 12779"/>
                  <a:gd name="connsiteY5" fmla="*/ 69586 h 75969"/>
                  <a:gd name="connsiteX6" fmla="*/ 6390 w 12779"/>
                  <a:gd name="connsiteY6" fmla="*/ 75970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5969">
                    <a:moveTo>
                      <a:pt x="6390" y="75970"/>
                    </a:moveTo>
                    <a:cubicBezTo>
                      <a:pt x="2556" y="75970"/>
                      <a:pt x="0" y="73416"/>
                      <a:pt x="0" y="69586"/>
                    </a:cubicBezTo>
                    <a:lnTo>
                      <a:pt x="0" y="6384"/>
                    </a:lnTo>
                    <a:cubicBezTo>
                      <a:pt x="0" y="2554"/>
                      <a:pt x="2556" y="0"/>
                      <a:pt x="6390" y="0"/>
                    </a:cubicBezTo>
                    <a:cubicBezTo>
                      <a:pt x="10224" y="0"/>
                      <a:pt x="12780" y="2554"/>
                      <a:pt x="12780" y="6384"/>
                    </a:cubicBezTo>
                    <a:lnTo>
                      <a:pt x="12780" y="69586"/>
                    </a:lnTo>
                    <a:cubicBezTo>
                      <a:pt x="12780" y="73416"/>
                      <a:pt x="9585" y="75970"/>
                      <a:pt x="6390" y="75970"/>
                    </a:cubicBezTo>
                  </a:path>
                </a:pathLst>
              </a:custGeom>
              <a:grpFill/>
              <a:ln w="6390" cap="flat">
                <a:noFill/>
                <a:prstDash val="solid"/>
                <a:miter/>
              </a:ln>
            </p:spPr>
            <p:txBody>
              <a:bodyPr rtlCol="0" anchor="ctr"/>
              <a:lstStyle/>
              <a:p>
                <a:endParaRPr lang="en-US"/>
              </a:p>
            </p:txBody>
          </p:sp>
          <p:sp>
            <p:nvSpPr>
              <p:cNvPr id="1140" name="Graphic 4">
                <a:extLst>
                  <a:ext uri="{FF2B5EF4-FFF2-40B4-BE49-F238E27FC236}">
                    <a16:creationId xmlns:a16="http://schemas.microsoft.com/office/drawing/2014/main" id="{0F575E4B-9BF7-D4A9-67F5-1814D272BA5F}"/>
                  </a:ext>
                </a:extLst>
              </p:cNvPr>
              <p:cNvSpPr/>
              <p:nvPr/>
            </p:nvSpPr>
            <p:spPr>
              <a:xfrm>
                <a:off x="3795622" y="4002919"/>
                <a:ext cx="12779" cy="47879"/>
              </a:xfrm>
              <a:custGeom>
                <a:avLst/>
                <a:gdLst>
                  <a:gd name="connsiteX0" fmla="*/ 6390 w 12779"/>
                  <a:gd name="connsiteY0" fmla="*/ 47880 h 47879"/>
                  <a:gd name="connsiteX1" fmla="*/ 0 w 12779"/>
                  <a:gd name="connsiteY1" fmla="*/ 41496 h 47879"/>
                  <a:gd name="connsiteX2" fmla="*/ 0 w 12779"/>
                  <a:gd name="connsiteY2" fmla="*/ 6384 h 47879"/>
                  <a:gd name="connsiteX3" fmla="*/ 6390 w 12779"/>
                  <a:gd name="connsiteY3" fmla="*/ 0 h 47879"/>
                  <a:gd name="connsiteX4" fmla="*/ 12780 w 12779"/>
                  <a:gd name="connsiteY4" fmla="*/ 6384 h 47879"/>
                  <a:gd name="connsiteX5" fmla="*/ 12780 w 12779"/>
                  <a:gd name="connsiteY5" fmla="*/ 41496 h 47879"/>
                  <a:gd name="connsiteX6" fmla="*/ 6390 w 12779"/>
                  <a:gd name="connsiteY6" fmla="*/ 47880 h 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7879">
                    <a:moveTo>
                      <a:pt x="6390" y="47880"/>
                    </a:moveTo>
                    <a:cubicBezTo>
                      <a:pt x="2556" y="47880"/>
                      <a:pt x="0" y="45326"/>
                      <a:pt x="0" y="41496"/>
                    </a:cubicBezTo>
                    <a:lnTo>
                      <a:pt x="0" y="6384"/>
                    </a:lnTo>
                    <a:cubicBezTo>
                      <a:pt x="0" y="2553"/>
                      <a:pt x="2556" y="0"/>
                      <a:pt x="6390" y="0"/>
                    </a:cubicBezTo>
                    <a:cubicBezTo>
                      <a:pt x="10224" y="0"/>
                      <a:pt x="12780" y="2553"/>
                      <a:pt x="12780" y="6384"/>
                    </a:cubicBezTo>
                    <a:lnTo>
                      <a:pt x="12780" y="41496"/>
                    </a:lnTo>
                    <a:cubicBezTo>
                      <a:pt x="12780" y="45326"/>
                      <a:pt x="10224" y="47880"/>
                      <a:pt x="6390" y="47880"/>
                    </a:cubicBezTo>
                  </a:path>
                </a:pathLst>
              </a:custGeom>
              <a:grpFill/>
              <a:ln w="6390" cap="flat">
                <a:noFill/>
                <a:prstDash val="solid"/>
                <a:miter/>
              </a:ln>
            </p:spPr>
            <p:txBody>
              <a:bodyPr rtlCol="0" anchor="ctr"/>
              <a:lstStyle/>
              <a:p>
                <a:endParaRPr lang="en-US"/>
              </a:p>
            </p:txBody>
          </p:sp>
          <p:sp>
            <p:nvSpPr>
              <p:cNvPr id="1141" name="Graphic 4">
                <a:extLst>
                  <a:ext uri="{FF2B5EF4-FFF2-40B4-BE49-F238E27FC236}">
                    <a16:creationId xmlns:a16="http://schemas.microsoft.com/office/drawing/2014/main" id="{AD5FB8E5-070B-DFC9-C64D-1EE125B4B2A5}"/>
                  </a:ext>
                </a:extLst>
              </p:cNvPr>
              <p:cNvSpPr/>
              <p:nvPr/>
            </p:nvSpPr>
            <p:spPr>
              <a:xfrm>
                <a:off x="3766867" y="3990151"/>
                <a:ext cx="12779" cy="60647"/>
              </a:xfrm>
              <a:custGeom>
                <a:avLst/>
                <a:gdLst>
                  <a:gd name="connsiteX0" fmla="*/ 6390 w 12779"/>
                  <a:gd name="connsiteY0" fmla="*/ 60648 h 60647"/>
                  <a:gd name="connsiteX1" fmla="*/ 0 w 12779"/>
                  <a:gd name="connsiteY1" fmla="*/ 54264 h 60647"/>
                  <a:gd name="connsiteX2" fmla="*/ 0 w 12779"/>
                  <a:gd name="connsiteY2" fmla="*/ 6384 h 60647"/>
                  <a:gd name="connsiteX3" fmla="*/ 6390 w 12779"/>
                  <a:gd name="connsiteY3" fmla="*/ 0 h 60647"/>
                  <a:gd name="connsiteX4" fmla="*/ 12780 w 12779"/>
                  <a:gd name="connsiteY4" fmla="*/ 6384 h 60647"/>
                  <a:gd name="connsiteX5" fmla="*/ 12780 w 12779"/>
                  <a:gd name="connsiteY5" fmla="*/ 54264 h 60647"/>
                  <a:gd name="connsiteX6" fmla="*/ 6390 w 12779"/>
                  <a:gd name="connsiteY6" fmla="*/ 60648 h 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0647">
                    <a:moveTo>
                      <a:pt x="6390" y="60648"/>
                    </a:moveTo>
                    <a:cubicBezTo>
                      <a:pt x="2556" y="60648"/>
                      <a:pt x="0" y="58094"/>
                      <a:pt x="0" y="54264"/>
                    </a:cubicBezTo>
                    <a:lnTo>
                      <a:pt x="0" y="6384"/>
                    </a:lnTo>
                    <a:cubicBezTo>
                      <a:pt x="0" y="2553"/>
                      <a:pt x="2556" y="0"/>
                      <a:pt x="6390" y="0"/>
                    </a:cubicBezTo>
                    <a:cubicBezTo>
                      <a:pt x="10224" y="0"/>
                      <a:pt x="12780" y="2553"/>
                      <a:pt x="12780" y="6384"/>
                    </a:cubicBezTo>
                    <a:lnTo>
                      <a:pt x="12780" y="54264"/>
                    </a:lnTo>
                    <a:cubicBezTo>
                      <a:pt x="12780" y="58094"/>
                      <a:pt x="10224" y="60648"/>
                      <a:pt x="6390" y="60648"/>
                    </a:cubicBezTo>
                  </a:path>
                </a:pathLst>
              </a:custGeom>
              <a:grpFill/>
              <a:ln w="6390" cap="flat">
                <a:noFill/>
                <a:prstDash val="solid"/>
                <a:miter/>
              </a:ln>
            </p:spPr>
            <p:txBody>
              <a:bodyPr rtlCol="0" anchor="ctr"/>
              <a:lstStyle/>
              <a:p>
                <a:endParaRPr lang="en-US"/>
              </a:p>
            </p:txBody>
          </p:sp>
          <p:sp>
            <p:nvSpPr>
              <p:cNvPr id="1142" name="Graphic 4">
                <a:extLst>
                  <a:ext uri="{FF2B5EF4-FFF2-40B4-BE49-F238E27FC236}">
                    <a16:creationId xmlns:a16="http://schemas.microsoft.com/office/drawing/2014/main" id="{9389ACF5-3AC2-E9ED-D015-D84B18E7F5F1}"/>
                  </a:ext>
                </a:extLst>
              </p:cNvPr>
              <p:cNvSpPr/>
              <p:nvPr/>
            </p:nvSpPr>
            <p:spPr>
              <a:xfrm>
                <a:off x="3738113" y="4007388"/>
                <a:ext cx="12779" cy="43411"/>
              </a:xfrm>
              <a:custGeom>
                <a:avLst/>
                <a:gdLst>
                  <a:gd name="connsiteX0" fmla="*/ 6390 w 12779"/>
                  <a:gd name="connsiteY0" fmla="*/ 43411 h 43411"/>
                  <a:gd name="connsiteX1" fmla="*/ 0 w 12779"/>
                  <a:gd name="connsiteY1" fmla="*/ 37027 h 43411"/>
                  <a:gd name="connsiteX2" fmla="*/ 0 w 12779"/>
                  <a:gd name="connsiteY2" fmla="*/ 6384 h 43411"/>
                  <a:gd name="connsiteX3" fmla="*/ 6390 w 12779"/>
                  <a:gd name="connsiteY3" fmla="*/ 0 h 43411"/>
                  <a:gd name="connsiteX4" fmla="*/ 12780 w 12779"/>
                  <a:gd name="connsiteY4" fmla="*/ 6384 h 43411"/>
                  <a:gd name="connsiteX5" fmla="*/ 12780 w 12779"/>
                  <a:gd name="connsiteY5" fmla="*/ 37027 h 43411"/>
                  <a:gd name="connsiteX6" fmla="*/ 6390 w 12779"/>
                  <a:gd name="connsiteY6" fmla="*/ 43411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3411">
                    <a:moveTo>
                      <a:pt x="6390" y="43411"/>
                    </a:moveTo>
                    <a:cubicBezTo>
                      <a:pt x="2556" y="43411"/>
                      <a:pt x="0" y="40858"/>
                      <a:pt x="0" y="37027"/>
                    </a:cubicBezTo>
                    <a:lnTo>
                      <a:pt x="0" y="6384"/>
                    </a:lnTo>
                    <a:cubicBezTo>
                      <a:pt x="0" y="2554"/>
                      <a:pt x="2556" y="0"/>
                      <a:pt x="6390" y="0"/>
                    </a:cubicBezTo>
                    <a:cubicBezTo>
                      <a:pt x="10224" y="0"/>
                      <a:pt x="12780" y="2554"/>
                      <a:pt x="12780" y="6384"/>
                    </a:cubicBezTo>
                    <a:lnTo>
                      <a:pt x="12780" y="37027"/>
                    </a:lnTo>
                    <a:cubicBezTo>
                      <a:pt x="12780" y="40858"/>
                      <a:pt x="10224" y="43411"/>
                      <a:pt x="6390" y="43411"/>
                    </a:cubicBezTo>
                  </a:path>
                </a:pathLst>
              </a:custGeom>
              <a:grpFill/>
              <a:ln w="6390" cap="flat">
                <a:noFill/>
                <a:prstDash val="solid"/>
                <a:miter/>
              </a:ln>
            </p:spPr>
            <p:txBody>
              <a:bodyPr rtlCol="0" anchor="ctr"/>
              <a:lstStyle/>
              <a:p>
                <a:endParaRPr lang="en-US"/>
              </a:p>
            </p:txBody>
          </p:sp>
          <p:sp>
            <p:nvSpPr>
              <p:cNvPr id="1143" name="Graphic 4">
                <a:extLst>
                  <a:ext uri="{FF2B5EF4-FFF2-40B4-BE49-F238E27FC236}">
                    <a16:creationId xmlns:a16="http://schemas.microsoft.com/office/drawing/2014/main" id="{4B1A82FD-C1D1-EA14-53AE-79C31001ABCA}"/>
                  </a:ext>
                </a:extLst>
              </p:cNvPr>
              <p:cNvSpPr/>
              <p:nvPr/>
            </p:nvSpPr>
            <p:spPr>
              <a:xfrm>
                <a:off x="3696716" y="3936526"/>
                <a:ext cx="179684" cy="74692"/>
              </a:xfrm>
              <a:custGeom>
                <a:avLst/>
                <a:gdLst>
                  <a:gd name="connsiteX0" fmla="*/ 6252 w 179684"/>
                  <a:gd name="connsiteY0" fmla="*/ 74693 h 74692"/>
                  <a:gd name="connsiteX1" fmla="*/ 501 w 179684"/>
                  <a:gd name="connsiteY1" fmla="*/ 70862 h 74692"/>
                  <a:gd name="connsiteX2" fmla="*/ 3057 w 179684"/>
                  <a:gd name="connsiteY2" fmla="*/ 62563 h 74692"/>
                  <a:gd name="connsiteX3" fmla="*/ 79098 w 179684"/>
                  <a:gd name="connsiteY3" fmla="*/ 24259 h 74692"/>
                  <a:gd name="connsiteX4" fmla="*/ 86127 w 179684"/>
                  <a:gd name="connsiteY4" fmla="*/ 24898 h 74692"/>
                  <a:gd name="connsiteX5" fmla="*/ 106574 w 179684"/>
                  <a:gd name="connsiteY5" fmla="*/ 40858 h 74692"/>
                  <a:gd name="connsiteX6" fmla="*/ 154499 w 179684"/>
                  <a:gd name="connsiteY6" fmla="*/ 11491 h 74692"/>
                  <a:gd name="connsiteX7" fmla="*/ 151943 w 179684"/>
                  <a:gd name="connsiteY7" fmla="*/ 5746 h 74692"/>
                  <a:gd name="connsiteX8" fmla="*/ 158972 w 179684"/>
                  <a:gd name="connsiteY8" fmla="*/ 0 h 74692"/>
                  <a:gd name="connsiteX9" fmla="*/ 173669 w 179684"/>
                  <a:gd name="connsiteY9" fmla="*/ 1277 h 74692"/>
                  <a:gd name="connsiteX10" fmla="*/ 174308 w 179684"/>
                  <a:gd name="connsiteY10" fmla="*/ 1277 h 74692"/>
                  <a:gd name="connsiteX11" fmla="*/ 174308 w 179684"/>
                  <a:gd name="connsiteY11" fmla="*/ 1277 h 74692"/>
                  <a:gd name="connsiteX12" fmla="*/ 174308 w 179684"/>
                  <a:gd name="connsiteY12" fmla="*/ 1277 h 74692"/>
                  <a:gd name="connsiteX13" fmla="*/ 174947 w 179684"/>
                  <a:gd name="connsiteY13" fmla="*/ 1277 h 74692"/>
                  <a:gd name="connsiteX14" fmla="*/ 174947 w 179684"/>
                  <a:gd name="connsiteY14" fmla="*/ 1277 h 74692"/>
                  <a:gd name="connsiteX15" fmla="*/ 178781 w 179684"/>
                  <a:gd name="connsiteY15" fmla="*/ 3830 h 74692"/>
                  <a:gd name="connsiteX16" fmla="*/ 178781 w 179684"/>
                  <a:gd name="connsiteY16" fmla="*/ 3830 h 74692"/>
                  <a:gd name="connsiteX17" fmla="*/ 178781 w 179684"/>
                  <a:gd name="connsiteY17" fmla="*/ 3830 h 74692"/>
                  <a:gd name="connsiteX18" fmla="*/ 178781 w 179684"/>
                  <a:gd name="connsiteY18" fmla="*/ 3830 h 74692"/>
                  <a:gd name="connsiteX19" fmla="*/ 178781 w 179684"/>
                  <a:gd name="connsiteY19" fmla="*/ 3830 h 74692"/>
                  <a:gd name="connsiteX20" fmla="*/ 178781 w 179684"/>
                  <a:gd name="connsiteY20" fmla="*/ 3830 h 74692"/>
                  <a:gd name="connsiteX21" fmla="*/ 178781 w 179684"/>
                  <a:gd name="connsiteY21" fmla="*/ 3830 h 74692"/>
                  <a:gd name="connsiteX22" fmla="*/ 179419 w 179684"/>
                  <a:gd name="connsiteY22" fmla="*/ 8299 h 74692"/>
                  <a:gd name="connsiteX23" fmla="*/ 179419 w 179684"/>
                  <a:gd name="connsiteY23" fmla="*/ 8938 h 74692"/>
                  <a:gd name="connsiteX24" fmla="*/ 179419 w 179684"/>
                  <a:gd name="connsiteY24" fmla="*/ 8938 h 74692"/>
                  <a:gd name="connsiteX25" fmla="*/ 179419 w 179684"/>
                  <a:gd name="connsiteY25" fmla="*/ 9576 h 74692"/>
                  <a:gd name="connsiteX26" fmla="*/ 174947 w 179684"/>
                  <a:gd name="connsiteY26" fmla="*/ 22982 h 74692"/>
                  <a:gd name="connsiteX27" fmla="*/ 166640 w 179684"/>
                  <a:gd name="connsiteY27" fmla="*/ 26813 h 74692"/>
                  <a:gd name="connsiteX28" fmla="*/ 162806 w 179684"/>
                  <a:gd name="connsiteY28" fmla="*/ 21706 h 74692"/>
                  <a:gd name="connsiteX29" fmla="*/ 110408 w 179684"/>
                  <a:gd name="connsiteY29" fmla="*/ 53626 h 74692"/>
                  <a:gd name="connsiteX30" fmla="*/ 103379 w 179684"/>
                  <a:gd name="connsiteY30" fmla="*/ 52987 h 74692"/>
                  <a:gd name="connsiteX31" fmla="*/ 82293 w 179684"/>
                  <a:gd name="connsiteY31" fmla="*/ 36389 h 74692"/>
                  <a:gd name="connsiteX32" fmla="*/ 9447 w 179684"/>
                  <a:gd name="connsiteY32" fmla="*/ 72778 h 74692"/>
                  <a:gd name="connsiteX33" fmla="*/ 6252 w 179684"/>
                  <a:gd name="connsiteY33" fmla="*/ 7469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9684" h="74692">
                    <a:moveTo>
                      <a:pt x="6252" y="74693"/>
                    </a:moveTo>
                    <a:cubicBezTo>
                      <a:pt x="3696" y="74693"/>
                      <a:pt x="1779" y="73416"/>
                      <a:pt x="501" y="70862"/>
                    </a:cubicBezTo>
                    <a:cubicBezTo>
                      <a:pt x="-776" y="67670"/>
                      <a:pt x="501" y="63840"/>
                      <a:pt x="3057" y="62563"/>
                    </a:cubicBezTo>
                    <a:lnTo>
                      <a:pt x="79098" y="24259"/>
                    </a:lnTo>
                    <a:cubicBezTo>
                      <a:pt x="81015" y="22982"/>
                      <a:pt x="84210" y="23621"/>
                      <a:pt x="86127" y="24898"/>
                    </a:cubicBezTo>
                    <a:lnTo>
                      <a:pt x="106574" y="40858"/>
                    </a:lnTo>
                    <a:lnTo>
                      <a:pt x="154499" y="11491"/>
                    </a:lnTo>
                    <a:cubicBezTo>
                      <a:pt x="152582" y="10214"/>
                      <a:pt x="151304" y="7661"/>
                      <a:pt x="151943" y="5746"/>
                    </a:cubicBezTo>
                    <a:cubicBezTo>
                      <a:pt x="152582" y="2554"/>
                      <a:pt x="155138" y="0"/>
                      <a:pt x="158972" y="0"/>
                    </a:cubicBezTo>
                    <a:lnTo>
                      <a:pt x="173669" y="1277"/>
                    </a:lnTo>
                    <a:cubicBezTo>
                      <a:pt x="173669" y="1277"/>
                      <a:pt x="174308" y="1277"/>
                      <a:pt x="174308" y="1277"/>
                    </a:cubicBezTo>
                    <a:cubicBezTo>
                      <a:pt x="174308" y="1277"/>
                      <a:pt x="174308" y="1277"/>
                      <a:pt x="174308" y="1277"/>
                    </a:cubicBezTo>
                    <a:lnTo>
                      <a:pt x="174308" y="1277"/>
                    </a:lnTo>
                    <a:cubicBezTo>
                      <a:pt x="174308" y="1277"/>
                      <a:pt x="174947" y="1277"/>
                      <a:pt x="174947" y="1277"/>
                    </a:cubicBezTo>
                    <a:cubicBezTo>
                      <a:pt x="174947" y="1277"/>
                      <a:pt x="174947" y="1277"/>
                      <a:pt x="174947" y="1277"/>
                    </a:cubicBezTo>
                    <a:cubicBezTo>
                      <a:pt x="176225" y="1915"/>
                      <a:pt x="177503" y="2554"/>
                      <a:pt x="178781" y="3830"/>
                    </a:cubicBezTo>
                    <a:lnTo>
                      <a:pt x="178781" y="3830"/>
                    </a:lnTo>
                    <a:cubicBezTo>
                      <a:pt x="178781" y="3830"/>
                      <a:pt x="178781" y="3830"/>
                      <a:pt x="178781" y="3830"/>
                    </a:cubicBezTo>
                    <a:cubicBezTo>
                      <a:pt x="178781" y="3830"/>
                      <a:pt x="178781" y="3830"/>
                      <a:pt x="178781" y="3830"/>
                    </a:cubicBezTo>
                    <a:lnTo>
                      <a:pt x="178781" y="3830"/>
                    </a:lnTo>
                    <a:lnTo>
                      <a:pt x="178781" y="3830"/>
                    </a:lnTo>
                    <a:cubicBezTo>
                      <a:pt x="178781" y="3830"/>
                      <a:pt x="178781" y="3830"/>
                      <a:pt x="178781" y="3830"/>
                    </a:cubicBezTo>
                    <a:cubicBezTo>
                      <a:pt x="179419" y="5107"/>
                      <a:pt x="180059" y="7022"/>
                      <a:pt x="179419" y="8299"/>
                    </a:cubicBezTo>
                    <a:cubicBezTo>
                      <a:pt x="179419" y="8299"/>
                      <a:pt x="179419" y="8938"/>
                      <a:pt x="179419" y="8938"/>
                    </a:cubicBezTo>
                    <a:cubicBezTo>
                      <a:pt x="179419" y="8938"/>
                      <a:pt x="179419" y="8938"/>
                      <a:pt x="179419" y="8938"/>
                    </a:cubicBezTo>
                    <a:cubicBezTo>
                      <a:pt x="179419" y="8938"/>
                      <a:pt x="179419" y="9576"/>
                      <a:pt x="179419" y="9576"/>
                    </a:cubicBezTo>
                    <a:lnTo>
                      <a:pt x="174947" y="22982"/>
                    </a:lnTo>
                    <a:cubicBezTo>
                      <a:pt x="173669" y="26174"/>
                      <a:pt x="169835" y="28090"/>
                      <a:pt x="166640" y="26813"/>
                    </a:cubicBezTo>
                    <a:cubicBezTo>
                      <a:pt x="164084" y="26174"/>
                      <a:pt x="162806" y="24259"/>
                      <a:pt x="162806" y="21706"/>
                    </a:cubicBezTo>
                    <a:lnTo>
                      <a:pt x="110408" y="53626"/>
                    </a:lnTo>
                    <a:cubicBezTo>
                      <a:pt x="107852" y="54902"/>
                      <a:pt x="105296" y="54902"/>
                      <a:pt x="103379" y="52987"/>
                    </a:cubicBezTo>
                    <a:lnTo>
                      <a:pt x="82293" y="36389"/>
                    </a:lnTo>
                    <a:lnTo>
                      <a:pt x="9447" y="72778"/>
                    </a:lnTo>
                    <a:cubicBezTo>
                      <a:pt x="8169" y="74054"/>
                      <a:pt x="7530" y="74693"/>
                      <a:pt x="6252" y="74693"/>
                    </a:cubicBezTo>
                  </a:path>
                </a:pathLst>
              </a:custGeom>
              <a:grpFill/>
              <a:ln w="6390" cap="flat">
                <a:noFill/>
                <a:prstDash val="solid"/>
                <a:miter/>
              </a:ln>
            </p:spPr>
            <p:txBody>
              <a:bodyPr rtlCol="0" anchor="ctr"/>
              <a:lstStyle/>
              <a:p>
                <a:endParaRPr lang="en-US"/>
              </a:p>
            </p:txBody>
          </p:sp>
          <p:sp>
            <p:nvSpPr>
              <p:cNvPr id="1144" name="Graphic 4">
                <a:extLst>
                  <a:ext uri="{FF2B5EF4-FFF2-40B4-BE49-F238E27FC236}">
                    <a16:creationId xmlns:a16="http://schemas.microsoft.com/office/drawing/2014/main" id="{236A4CF8-FE09-E644-3103-FD1C55FB5E55}"/>
                  </a:ext>
                </a:extLst>
              </p:cNvPr>
              <p:cNvSpPr/>
              <p:nvPr/>
            </p:nvSpPr>
            <p:spPr>
              <a:xfrm>
                <a:off x="3709358" y="4081442"/>
                <a:ext cx="159109" cy="12767"/>
              </a:xfrm>
              <a:custGeom>
                <a:avLst/>
                <a:gdLst>
                  <a:gd name="connsiteX0" fmla="*/ 152720 w 159109"/>
                  <a:gd name="connsiteY0" fmla="*/ 12768 h 12767"/>
                  <a:gd name="connsiteX1" fmla="*/ 6390 w 159109"/>
                  <a:gd name="connsiteY1" fmla="*/ 12768 h 12767"/>
                  <a:gd name="connsiteX2" fmla="*/ 0 w 159109"/>
                  <a:gd name="connsiteY2" fmla="*/ 6384 h 12767"/>
                  <a:gd name="connsiteX3" fmla="*/ 6390 w 159109"/>
                  <a:gd name="connsiteY3" fmla="*/ 0 h 12767"/>
                  <a:gd name="connsiteX4" fmla="*/ 152720 w 159109"/>
                  <a:gd name="connsiteY4" fmla="*/ 0 h 12767"/>
                  <a:gd name="connsiteX5" fmla="*/ 159110 w 159109"/>
                  <a:gd name="connsiteY5" fmla="*/ 6384 h 12767"/>
                  <a:gd name="connsiteX6" fmla="*/ 152720 w 159109"/>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109" h="12767">
                    <a:moveTo>
                      <a:pt x="152720" y="12768"/>
                    </a:moveTo>
                    <a:lnTo>
                      <a:pt x="6390" y="12768"/>
                    </a:lnTo>
                    <a:cubicBezTo>
                      <a:pt x="2556" y="12768"/>
                      <a:pt x="0" y="10214"/>
                      <a:pt x="0" y="6384"/>
                    </a:cubicBezTo>
                    <a:cubicBezTo>
                      <a:pt x="0" y="2553"/>
                      <a:pt x="2556" y="0"/>
                      <a:pt x="6390" y="0"/>
                    </a:cubicBezTo>
                    <a:lnTo>
                      <a:pt x="152720" y="0"/>
                    </a:lnTo>
                    <a:cubicBezTo>
                      <a:pt x="156553" y="0"/>
                      <a:pt x="159110" y="2553"/>
                      <a:pt x="159110" y="6384"/>
                    </a:cubicBezTo>
                    <a:cubicBezTo>
                      <a:pt x="159110" y="10214"/>
                      <a:pt x="156553" y="12768"/>
                      <a:pt x="152720" y="12768"/>
                    </a:cubicBezTo>
                  </a:path>
                </a:pathLst>
              </a:custGeom>
              <a:grpFill/>
              <a:ln w="6390" cap="flat">
                <a:noFill/>
                <a:prstDash val="solid"/>
                <a:miter/>
              </a:ln>
            </p:spPr>
            <p:txBody>
              <a:bodyPr rtlCol="0" anchor="ctr"/>
              <a:lstStyle/>
              <a:p>
                <a:endParaRPr lang="en-US"/>
              </a:p>
            </p:txBody>
          </p:sp>
        </p:grpSp>
        <p:sp>
          <p:nvSpPr>
            <p:cNvPr id="1145" name="Rectangle: Rounded Corners 1144">
              <a:extLst>
                <a:ext uri="{FF2B5EF4-FFF2-40B4-BE49-F238E27FC236}">
                  <a16:creationId xmlns:a16="http://schemas.microsoft.com/office/drawing/2014/main" id="{71F486FC-0EAF-8C37-4459-71CE9CFC266A}"/>
                </a:ext>
              </a:extLst>
            </p:cNvPr>
            <p:cNvSpPr/>
            <p:nvPr/>
          </p:nvSpPr>
          <p:spPr>
            <a:xfrm>
              <a:off x="8410969" y="1602470"/>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6" name="Rectangle 1145">
              <a:extLst>
                <a:ext uri="{FF2B5EF4-FFF2-40B4-BE49-F238E27FC236}">
                  <a16:creationId xmlns:a16="http://schemas.microsoft.com/office/drawing/2014/main" id="{F1703397-7467-B59F-B71A-7E4D43F1ADC3}"/>
                </a:ext>
              </a:extLst>
            </p:cNvPr>
            <p:cNvSpPr/>
            <p:nvPr/>
          </p:nvSpPr>
          <p:spPr>
            <a:xfrm>
              <a:off x="8494381" y="1710121"/>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Autonomous Data Validation</a:t>
              </a:r>
            </a:p>
          </p:txBody>
        </p:sp>
        <p:grpSp>
          <p:nvGrpSpPr>
            <p:cNvPr id="1147" name="Graphic 4">
              <a:extLst>
                <a:ext uri="{FF2B5EF4-FFF2-40B4-BE49-F238E27FC236}">
                  <a16:creationId xmlns:a16="http://schemas.microsoft.com/office/drawing/2014/main" id="{10B0DCE8-8AAC-BB54-D519-B67C972D831D}"/>
                </a:ext>
              </a:extLst>
            </p:cNvPr>
            <p:cNvGrpSpPr>
              <a:grpSpLocks noChangeAspect="1"/>
            </p:cNvGrpSpPr>
            <p:nvPr/>
          </p:nvGrpSpPr>
          <p:grpSpPr>
            <a:xfrm>
              <a:off x="8495108" y="2380320"/>
              <a:ext cx="249786" cy="274137"/>
              <a:chOff x="1589177" y="981380"/>
              <a:chExt cx="214062" cy="234930"/>
            </a:xfrm>
            <a:solidFill>
              <a:schemeClr val="bg1"/>
            </a:solidFill>
          </p:grpSpPr>
          <p:sp>
            <p:nvSpPr>
              <p:cNvPr id="1148" name="Graphic 4">
                <a:extLst>
                  <a:ext uri="{FF2B5EF4-FFF2-40B4-BE49-F238E27FC236}">
                    <a16:creationId xmlns:a16="http://schemas.microsoft.com/office/drawing/2014/main" id="{E46DB17D-001C-EFD0-28BB-09329CAAFDAA}"/>
                  </a:ext>
                </a:extLst>
              </p:cNvPr>
              <p:cNvSpPr/>
              <p:nvPr/>
            </p:nvSpPr>
            <p:spPr>
              <a:xfrm>
                <a:off x="1589177" y="981380"/>
                <a:ext cx="214062" cy="234930"/>
              </a:xfrm>
              <a:custGeom>
                <a:avLst/>
                <a:gdLst>
                  <a:gd name="connsiteX0" fmla="*/ 198727 w 214062"/>
                  <a:gd name="connsiteY0" fmla="*/ 28089 h 234930"/>
                  <a:gd name="connsiteX1" fmla="*/ 163582 w 214062"/>
                  <a:gd name="connsiteY1" fmla="*/ 28089 h 234930"/>
                  <a:gd name="connsiteX2" fmla="*/ 163582 w 214062"/>
                  <a:gd name="connsiteY2" fmla="*/ 6384 h 234930"/>
                  <a:gd name="connsiteX3" fmla="*/ 157192 w 214062"/>
                  <a:gd name="connsiteY3" fmla="*/ 0 h 234930"/>
                  <a:gd name="connsiteX4" fmla="*/ 54953 w 214062"/>
                  <a:gd name="connsiteY4" fmla="*/ 0 h 234930"/>
                  <a:gd name="connsiteX5" fmla="*/ 48563 w 214062"/>
                  <a:gd name="connsiteY5" fmla="*/ 6384 h 234930"/>
                  <a:gd name="connsiteX6" fmla="*/ 48563 w 214062"/>
                  <a:gd name="connsiteY6" fmla="*/ 62563 h 234930"/>
                  <a:gd name="connsiteX7" fmla="*/ 54953 w 214062"/>
                  <a:gd name="connsiteY7" fmla="*/ 68947 h 234930"/>
                  <a:gd name="connsiteX8" fmla="*/ 99683 w 214062"/>
                  <a:gd name="connsiteY8" fmla="*/ 68947 h 234930"/>
                  <a:gd name="connsiteX9" fmla="*/ 99683 w 214062"/>
                  <a:gd name="connsiteY9" fmla="*/ 82992 h 234930"/>
                  <a:gd name="connsiteX10" fmla="*/ 54953 w 214062"/>
                  <a:gd name="connsiteY10" fmla="*/ 82992 h 234930"/>
                  <a:gd name="connsiteX11" fmla="*/ 48563 w 214062"/>
                  <a:gd name="connsiteY11" fmla="*/ 89376 h 234930"/>
                  <a:gd name="connsiteX12" fmla="*/ 48563 w 214062"/>
                  <a:gd name="connsiteY12" fmla="*/ 145555 h 234930"/>
                  <a:gd name="connsiteX13" fmla="*/ 54953 w 214062"/>
                  <a:gd name="connsiteY13" fmla="*/ 151939 h 234930"/>
                  <a:gd name="connsiteX14" fmla="*/ 99683 w 214062"/>
                  <a:gd name="connsiteY14" fmla="*/ 151939 h 234930"/>
                  <a:gd name="connsiteX15" fmla="*/ 99683 w 214062"/>
                  <a:gd name="connsiteY15" fmla="*/ 165984 h 234930"/>
                  <a:gd name="connsiteX16" fmla="*/ 54953 w 214062"/>
                  <a:gd name="connsiteY16" fmla="*/ 165984 h 234930"/>
                  <a:gd name="connsiteX17" fmla="*/ 48563 w 214062"/>
                  <a:gd name="connsiteY17" fmla="*/ 172368 h 234930"/>
                  <a:gd name="connsiteX18" fmla="*/ 48563 w 214062"/>
                  <a:gd name="connsiteY18" fmla="*/ 194073 h 234930"/>
                  <a:gd name="connsiteX19" fmla="*/ 14697 w 214062"/>
                  <a:gd name="connsiteY19" fmla="*/ 194073 h 234930"/>
                  <a:gd name="connsiteX20" fmla="*/ 12780 w 214062"/>
                  <a:gd name="connsiteY20" fmla="*/ 192158 h 234930"/>
                  <a:gd name="connsiteX21" fmla="*/ 12780 w 214062"/>
                  <a:gd name="connsiteY21" fmla="*/ 42134 h 234930"/>
                  <a:gd name="connsiteX22" fmla="*/ 14697 w 214062"/>
                  <a:gd name="connsiteY22" fmla="*/ 40219 h 234930"/>
                  <a:gd name="connsiteX23" fmla="*/ 24282 w 214062"/>
                  <a:gd name="connsiteY23" fmla="*/ 40219 h 234930"/>
                  <a:gd name="connsiteX24" fmla="*/ 22365 w 214062"/>
                  <a:gd name="connsiteY24" fmla="*/ 42134 h 234930"/>
                  <a:gd name="connsiteX25" fmla="*/ 22365 w 214062"/>
                  <a:gd name="connsiteY25" fmla="*/ 51072 h 234930"/>
                  <a:gd name="connsiteX26" fmla="*/ 31311 w 214062"/>
                  <a:gd name="connsiteY26" fmla="*/ 51072 h 234930"/>
                  <a:gd name="connsiteX27" fmla="*/ 31311 w 214062"/>
                  <a:gd name="connsiteY27" fmla="*/ 51072 h 234930"/>
                  <a:gd name="connsiteX28" fmla="*/ 44091 w 214062"/>
                  <a:gd name="connsiteY28" fmla="*/ 38304 h 234930"/>
                  <a:gd name="connsiteX29" fmla="*/ 44091 w 214062"/>
                  <a:gd name="connsiteY29" fmla="*/ 29366 h 234930"/>
                  <a:gd name="connsiteX30" fmla="*/ 44091 w 214062"/>
                  <a:gd name="connsiteY30" fmla="*/ 29366 h 234930"/>
                  <a:gd name="connsiteX31" fmla="*/ 31311 w 214062"/>
                  <a:gd name="connsiteY31" fmla="*/ 16598 h 234930"/>
                  <a:gd name="connsiteX32" fmla="*/ 22365 w 214062"/>
                  <a:gd name="connsiteY32" fmla="*/ 16598 h 234930"/>
                  <a:gd name="connsiteX33" fmla="*/ 22365 w 214062"/>
                  <a:gd name="connsiteY33" fmla="*/ 16598 h 234930"/>
                  <a:gd name="connsiteX34" fmla="*/ 22365 w 214062"/>
                  <a:gd name="connsiteY34" fmla="*/ 25536 h 234930"/>
                  <a:gd name="connsiteX35" fmla="*/ 24282 w 214062"/>
                  <a:gd name="connsiteY35" fmla="*/ 27451 h 234930"/>
                  <a:gd name="connsiteX36" fmla="*/ 14697 w 214062"/>
                  <a:gd name="connsiteY36" fmla="*/ 27451 h 234930"/>
                  <a:gd name="connsiteX37" fmla="*/ 0 w 214062"/>
                  <a:gd name="connsiteY37" fmla="*/ 42134 h 234930"/>
                  <a:gd name="connsiteX38" fmla="*/ 0 w 214062"/>
                  <a:gd name="connsiteY38" fmla="*/ 192158 h 234930"/>
                  <a:gd name="connsiteX39" fmla="*/ 14697 w 214062"/>
                  <a:gd name="connsiteY39" fmla="*/ 206841 h 234930"/>
                  <a:gd name="connsiteX40" fmla="*/ 49202 w 214062"/>
                  <a:gd name="connsiteY40" fmla="*/ 206841 h 234930"/>
                  <a:gd name="connsiteX41" fmla="*/ 49202 w 214062"/>
                  <a:gd name="connsiteY41" fmla="*/ 228546 h 234930"/>
                  <a:gd name="connsiteX42" fmla="*/ 55592 w 214062"/>
                  <a:gd name="connsiteY42" fmla="*/ 234930 h 234930"/>
                  <a:gd name="connsiteX43" fmla="*/ 157831 w 214062"/>
                  <a:gd name="connsiteY43" fmla="*/ 234930 h 234930"/>
                  <a:gd name="connsiteX44" fmla="*/ 164221 w 214062"/>
                  <a:gd name="connsiteY44" fmla="*/ 228546 h 234930"/>
                  <a:gd name="connsiteX45" fmla="*/ 164221 w 214062"/>
                  <a:gd name="connsiteY45" fmla="*/ 172368 h 234930"/>
                  <a:gd name="connsiteX46" fmla="*/ 157831 w 214062"/>
                  <a:gd name="connsiteY46" fmla="*/ 165984 h 234930"/>
                  <a:gd name="connsiteX47" fmla="*/ 113102 w 214062"/>
                  <a:gd name="connsiteY47" fmla="*/ 165984 h 234930"/>
                  <a:gd name="connsiteX48" fmla="*/ 113102 w 214062"/>
                  <a:gd name="connsiteY48" fmla="*/ 151939 h 234930"/>
                  <a:gd name="connsiteX49" fmla="*/ 157831 w 214062"/>
                  <a:gd name="connsiteY49" fmla="*/ 151939 h 234930"/>
                  <a:gd name="connsiteX50" fmla="*/ 164221 w 214062"/>
                  <a:gd name="connsiteY50" fmla="*/ 145555 h 234930"/>
                  <a:gd name="connsiteX51" fmla="*/ 164221 w 214062"/>
                  <a:gd name="connsiteY51" fmla="*/ 89376 h 234930"/>
                  <a:gd name="connsiteX52" fmla="*/ 157831 w 214062"/>
                  <a:gd name="connsiteY52" fmla="*/ 82992 h 234930"/>
                  <a:gd name="connsiteX53" fmla="*/ 113102 w 214062"/>
                  <a:gd name="connsiteY53" fmla="*/ 82992 h 234930"/>
                  <a:gd name="connsiteX54" fmla="*/ 113102 w 214062"/>
                  <a:gd name="connsiteY54" fmla="*/ 68947 h 234930"/>
                  <a:gd name="connsiteX55" fmla="*/ 157831 w 214062"/>
                  <a:gd name="connsiteY55" fmla="*/ 68947 h 234930"/>
                  <a:gd name="connsiteX56" fmla="*/ 164221 w 214062"/>
                  <a:gd name="connsiteY56" fmla="*/ 62563 h 234930"/>
                  <a:gd name="connsiteX57" fmla="*/ 164221 w 214062"/>
                  <a:gd name="connsiteY57" fmla="*/ 40857 h 234930"/>
                  <a:gd name="connsiteX58" fmla="*/ 199366 w 214062"/>
                  <a:gd name="connsiteY58" fmla="*/ 40857 h 234930"/>
                  <a:gd name="connsiteX59" fmla="*/ 201283 w 214062"/>
                  <a:gd name="connsiteY59" fmla="*/ 42773 h 234930"/>
                  <a:gd name="connsiteX60" fmla="*/ 201283 w 214062"/>
                  <a:gd name="connsiteY60" fmla="*/ 42773 h 234930"/>
                  <a:gd name="connsiteX61" fmla="*/ 201283 w 214062"/>
                  <a:gd name="connsiteY61" fmla="*/ 192796 h 234930"/>
                  <a:gd name="connsiteX62" fmla="*/ 199366 w 214062"/>
                  <a:gd name="connsiteY62" fmla="*/ 194711 h 234930"/>
                  <a:gd name="connsiteX63" fmla="*/ 199366 w 214062"/>
                  <a:gd name="connsiteY63" fmla="*/ 194711 h 234930"/>
                  <a:gd name="connsiteX64" fmla="*/ 189781 w 214062"/>
                  <a:gd name="connsiteY64" fmla="*/ 194711 h 234930"/>
                  <a:gd name="connsiteX65" fmla="*/ 191698 w 214062"/>
                  <a:gd name="connsiteY65" fmla="*/ 192796 h 234930"/>
                  <a:gd name="connsiteX66" fmla="*/ 191698 w 214062"/>
                  <a:gd name="connsiteY66" fmla="*/ 183859 h 234930"/>
                  <a:gd name="connsiteX67" fmla="*/ 182752 w 214062"/>
                  <a:gd name="connsiteY67" fmla="*/ 183859 h 234930"/>
                  <a:gd name="connsiteX68" fmla="*/ 169972 w 214062"/>
                  <a:gd name="connsiteY68" fmla="*/ 196627 h 234930"/>
                  <a:gd name="connsiteX69" fmla="*/ 169972 w 214062"/>
                  <a:gd name="connsiteY69" fmla="*/ 205564 h 234930"/>
                  <a:gd name="connsiteX70" fmla="*/ 169972 w 214062"/>
                  <a:gd name="connsiteY70" fmla="*/ 205564 h 234930"/>
                  <a:gd name="connsiteX71" fmla="*/ 182752 w 214062"/>
                  <a:gd name="connsiteY71" fmla="*/ 218332 h 234930"/>
                  <a:gd name="connsiteX72" fmla="*/ 187225 w 214062"/>
                  <a:gd name="connsiteY72" fmla="*/ 220247 h 234930"/>
                  <a:gd name="connsiteX73" fmla="*/ 193615 w 214062"/>
                  <a:gd name="connsiteY73" fmla="*/ 213863 h 234930"/>
                  <a:gd name="connsiteX74" fmla="*/ 191698 w 214062"/>
                  <a:gd name="connsiteY74" fmla="*/ 209395 h 234930"/>
                  <a:gd name="connsiteX75" fmla="*/ 189781 w 214062"/>
                  <a:gd name="connsiteY75" fmla="*/ 207479 h 234930"/>
                  <a:gd name="connsiteX76" fmla="*/ 199366 w 214062"/>
                  <a:gd name="connsiteY76" fmla="*/ 207479 h 234930"/>
                  <a:gd name="connsiteX77" fmla="*/ 214063 w 214062"/>
                  <a:gd name="connsiteY77" fmla="*/ 192796 h 234930"/>
                  <a:gd name="connsiteX78" fmla="*/ 214063 w 214062"/>
                  <a:gd name="connsiteY78" fmla="*/ 192796 h 234930"/>
                  <a:gd name="connsiteX79" fmla="*/ 214063 w 214062"/>
                  <a:gd name="connsiteY79" fmla="*/ 42773 h 234930"/>
                  <a:gd name="connsiteX80" fmla="*/ 198727 w 214062"/>
                  <a:gd name="connsiteY80" fmla="*/ 28089 h 234930"/>
                  <a:gd name="connsiteX81" fmla="*/ 198727 w 214062"/>
                  <a:gd name="connsiteY81" fmla="*/ 28089 h 234930"/>
                  <a:gd name="connsiteX82" fmla="*/ 151441 w 214062"/>
                  <a:gd name="connsiteY82" fmla="*/ 222163 h 234930"/>
                  <a:gd name="connsiteX83" fmla="*/ 61982 w 214062"/>
                  <a:gd name="connsiteY83" fmla="*/ 222163 h 234930"/>
                  <a:gd name="connsiteX84" fmla="*/ 61982 w 214062"/>
                  <a:gd name="connsiteY84" fmla="*/ 178752 h 234930"/>
                  <a:gd name="connsiteX85" fmla="*/ 151441 w 214062"/>
                  <a:gd name="connsiteY85" fmla="*/ 178752 h 234930"/>
                  <a:gd name="connsiteX86" fmla="*/ 151441 w 214062"/>
                  <a:gd name="connsiteY86" fmla="*/ 222163 h 234930"/>
                  <a:gd name="connsiteX87" fmla="*/ 151441 w 214062"/>
                  <a:gd name="connsiteY87" fmla="*/ 139171 h 234930"/>
                  <a:gd name="connsiteX88" fmla="*/ 61982 w 214062"/>
                  <a:gd name="connsiteY88" fmla="*/ 139171 h 234930"/>
                  <a:gd name="connsiteX89" fmla="*/ 61982 w 214062"/>
                  <a:gd name="connsiteY89" fmla="*/ 95760 h 234930"/>
                  <a:gd name="connsiteX90" fmla="*/ 151441 w 214062"/>
                  <a:gd name="connsiteY90" fmla="*/ 95760 h 234930"/>
                  <a:gd name="connsiteX91" fmla="*/ 151441 w 214062"/>
                  <a:gd name="connsiteY91" fmla="*/ 139171 h 234930"/>
                  <a:gd name="connsiteX92" fmla="*/ 151441 w 214062"/>
                  <a:gd name="connsiteY92" fmla="*/ 56179 h 234930"/>
                  <a:gd name="connsiteX93" fmla="*/ 61982 w 214062"/>
                  <a:gd name="connsiteY93" fmla="*/ 56179 h 234930"/>
                  <a:gd name="connsiteX94" fmla="*/ 61982 w 214062"/>
                  <a:gd name="connsiteY94" fmla="*/ 12768 h 234930"/>
                  <a:gd name="connsiteX95" fmla="*/ 151441 w 214062"/>
                  <a:gd name="connsiteY95" fmla="*/ 12768 h 234930"/>
                  <a:gd name="connsiteX96" fmla="*/ 151441 w 214062"/>
                  <a:gd name="connsiteY96" fmla="*/ 56179 h 23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14062" h="234930">
                    <a:moveTo>
                      <a:pt x="198727" y="28089"/>
                    </a:moveTo>
                    <a:lnTo>
                      <a:pt x="163582" y="28089"/>
                    </a:lnTo>
                    <a:lnTo>
                      <a:pt x="163582" y="6384"/>
                    </a:lnTo>
                    <a:cubicBezTo>
                      <a:pt x="163582" y="2554"/>
                      <a:pt x="161026" y="0"/>
                      <a:pt x="157192" y="0"/>
                    </a:cubicBezTo>
                    <a:lnTo>
                      <a:pt x="54953" y="0"/>
                    </a:lnTo>
                    <a:cubicBezTo>
                      <a:pt x="51120" y="0"/>
                      <a:pt x="48563" y="2554"/>
                      <a:pt x="48563" y="6384"/>
                    </a:cubicBezTo>
                    <a:lnTo>
                      <a:pt x="48563" y="62563"/>
                    </a:lnTo>
                    <a:cubicBezTo>
                      <a:pt x="48563" y="66393"/>
                      <a:pt x="51120" y="68947"/>
                      <a:pt x="54953" y="68947"/>
                    </a:cubicBezTo>
                    <a:lnTo>
                      <a:pt x="99683" y="68947"/>
                    </a:lnTo>
                    <a:lnTo>
                      <a:pt x="99683" y="82992"/>
                    </a:lnTo>
                    <a:lnTo>
                      <a:pt x="54953" y="82992"/>
                    </a:lnTo>
                    <a:cubicBezTo>
                      <a:pt x="51120" y="82992"/>
                      <a:pt x="48563" y="85545"/>
                      <a:pt x="48563" y="89376"/>
                    </a:cubicBezTo>
                    <a:lnTo>
                      <a:pt x="48563" y="145555"/>
                    </a:lnTo>
                    <a:cubicBezTo>
                      <a:pt x="48563" y="149385"/>
                      <a:pt x="51120" y="151939"/>
                      <a:pt x="54953" y="151939"/>
                    </a:cubicBezTo>
                    <a:lnTo>
                      <a:pt x="99683" y="151939"/>
                    </a:lnTo>
                    <a:lnTo>
                      <a:pt x="99683" y="165984"/>
                    </a:lnTo>
                    <a:lnTo>
                      <a:pt x="54953" y="165984"/>
                    </a:lnTo>
                    <a:cubicBezTo>
                      <a:pt x="51120" y="165984"/>
                      <a:pt x="48563" y="168537"/>
                      <a:pt x="48563" y="172368"/>
                    </a:cubicBezTo>
                    <a:lnTo>
                      <a:pt x="48563" y="194073"/>
                    </a:lnTo>
                    <a:lnTo>
                      <a:pt x="14697" y="194073"/>
                    </a:lnTo>
                    <a:cubicBezTo>
                      <a:pt x="14058" y="194073"/>
                      <a:pt x="12780" y="193435"/>
                      <a:pt x="12780" y="192158"/>
                    </a:cubicBezTo>
                    <a:lnTo>
                      <a:pt x="12780" y="42134"/>
                    </a:lnTo>
                    <a:cubicBezTo>
                      <a:pt x="12780" y="41496"/>
                      <a:pt x="13419" y="40219"/>
                      <a:pt x="14697" y="40219"/>
                    </a:cubicBezTo>
                    <a:lnTo>
                      <a:pt x="24282" y="40219"/>
                    </a:lnTo>
                    <a:lnTo>
                      <a:pt x="22365" y="42134"/>
                    </a:lnTo>
                    <a:cubicBezTo>
                      <a:pt x="19809" y="44688"/>
                      <a:pt x="19809" y="48518"/>
                      <a:pt x="22365" y="51072"/>
                    </a:cubicBezTo>
                    <a:cubicBezTo>
                      <a:pt x="24921" y="53625"/>
                      <a:pt x="28755" y="53625"/>
                      <a:pt x="31311" y="51072"/>
                    </a:cubicBezTo>
                    <a:cubicBezTo>
                      <a:pt x="31311" y="51072"/>
                      <a:pt x="31311" y="51072"/>
                      <a:pt x="31311" y="51072"/>
                    </a:cubicBezTo>
                    <a:lnTo>
                      <a:pt x="44091" y="38304"/>
                    </a:lnTo>
                    <a:cubicBezTo>
                      <a:pt x="46647" y="35750"/>
                      <a:pt x="46647" y="31920"/>
                      <a:pt x="44091" y="29366"/>
                    </a:cubicBezTo>
                    <a:cubicBezTo>
                      <a:pt x="44091" y="29366"/>
                      <a:pt x="44091" y="29366"/>
                      <a:pt x="44091" y="29366"/>
                    </a:cubicBezTo>
                    <a:lnTo>
                      <a:pt x="31311" y="16598"/>
                    </a:lnTo>
                    <a:cubicBezTo>
                      <a:pt x="28755" y="14045"/>
                      <a:pt x="24921" y="14045"/>
                      <a:pt x="22365" y="16598"/>
                    </a:cubicBezTo>
                    <a:cubicBezTo>
                      <a:pt x="22365" y="16598"/>
                      <a:pt x="22365" y="16598"/>
                      <a:pt x="22365" y="16598"/>
                    </a:cubicBezTo>
                    <a:cubicBezTo>
                      <a:pt x="19809" y="19152"/>
                      <a:pt x="19809" y="22982"/>
                      <a:pt x="22365" y="25536"/>
                    </a:cubicBezTo>
                    <a:lnTo>
                      <a:pt x="24282" y="27451"/>
                    </a:lnTo>
                    <a:lnTo>
                      <a:pt x="14697" y="27451"/>
                    </a:lnTo>
                    <a:cubicBezTo>
                      <a:pt x="7029" y="27451"/>
                      <a:pt x="0" y="33835"/>
                      <a:pt x="0" y="42134"/>
                    </a:cubicBezTo>
                    <a:lnTo>
                      <a:pt x="0" y="192158"/>
                    </a:lnTo>
                    <a:cubicBezTo>
                      <a:pt x="0" y="199819"/>
                      <a:pt x="6390" y="206841"/>
                      <a:pt x="14697" y="206841"/>
                    </a:cubicBezTo>
                    <a:lnTo>
                      <a:pt x="49202" y="206841"/>
                    </a:lnTo>
                    <a:lnTo>
                      <a:pt x="49202" y="228546"/>
                    </a:lnTo>
                    <a:cubicBezTo>
                      <a:pt x="49202" y="232377"/>
                      <a:pt x="51758" y="234930"/>
                      <a:pt x="55592" y="234930"/>
                    </a:cubicBezTo>
                    <a:lnTo>
                      <a:pt x="157831" y="234930"/>
                    </a:lnTo>
                    <a:cubicBezTo>
                      <a:pt x="161665" y="234930"/>
                      <a:pt x="164221" y="232377"/>
                      <a:pt x="164221" y="228546"/>
                    </a:cubicBezTo>
                    <a:lnTo>
                      <a:pt x="164221" y="172368"/>
                    </a:lnTo>
                    <a:cubicBezTo>
                      <a:pt x="164221" y="168537"/>
                      <a:pt x="161665" y="165984"/>
                      <a:pt x="157831" y="165984"/>
                    </a:cubicBezTo>
                    <a:lnTo>
                      <a:pt x="113102" y="165984"/>
                    </a:lnTo>
                    <a:lnTo>
                      <a:pt x="113102" y="151939"/>
                    </a:lnTo>
                    <a:lnTo>
                      <a:pt x="157831" y="151939"/>
                    </a:lnTo>
                    <a:cubicBezTo>
                      <a:pt x="161665" y="151939"/>
                      <a:pt x="164221" y="149385"/>
                      <a:pt x="164221" y="145555"/>
                    </a:cubicBezTo>
                    <a:lnTo>
                      <a:pt x="164221" y="89376"/>
                    </a:lnTo>
                    <a:cubicBezTo>
                      <a:pt x="164221" y="85545"/>
                      <a:pt x="161665" y="82992"/>
                      <a:pt x="157831" y="82992"/>
                    </a:cubicBezTo>
                    <a:lnTo>
                      <a:pt x="113102" y="82992"/>
                    </a:lnTo>
                    <a:lnTo>
                      <a:pt x="113102" y="68947"/>
                    </a:lnTo>
                    <a:lnTo>
                      <a:pt x="157831" y="68947"/>
                    </a:lnTo>
                    <a:cubicBezTo>
                      <a:pt x="161665" y="68947"/>
                      <a:pt x="164221" y="66393"/>
                      <a:pt x="164221" y="62563"/>
                    </a:cubicBezTo>
                    <a:lnTo>
                      <a:pt x="164221" y="40857"/>
                    </a:lnTo>
                    <a:lnTo>
                      <a:pt x="199366" y="40857"/>
                    </a:lnTo>
                    <a:cubicBezTo>
                      <a:pt x="200005" y="40857"/>
                      <a:pt x="201283" y="41496"/>
                      <a:pt x="201283" y="42773"/>
                    </a:cubicBezTo>
                    <a:lnTo>
                      <a:pt x="201283" y="42773"/>
                    </a:lnTo>
                    <a:lnTo>
                      <a:pt x="201283" y="192796"/>
                    </a:lnTo>
                    <a:cubicBezTo>
                      <a:pt x="201283" y="193435"/>
                      <a:pt x="200644" y="194711"/>
                      <a:pt x="199366" y="194711"/>
                    </a:cubicBezTo>
                    <a:lnTo>
                      <a:pt x="199366" y="194711"/>
                    </a:lnTo>
                    <a:lnTo>
                      <a:pt x="189781" y="194711"/>
                    </a:lnTo>
                    <a:lnTo>
                      <a:pt x="191698" y="192796"/>
                    </a:lnTo>
                    <a:cubicBezTo>
                      <a:pt x="194254" y="190243"/>
                      <a:pt x="194254" y="186412"/>
                      <a:pt x="191698" y="183859"/>
                    </a:cubicBezTo>
                    <a:cubicBezTo>
                      <a:pt x="189142" y="181305"/>
                      <a:pt x="185308" y="181305"/>
                      <a:pt x="182752" y="183859"/>
                    </a:cubicBezTo>
                    <a:lnTo>
                      <a:pt x="169972" y="196627"/>
                    </a:lnTo>
                    <a:cubicBezTo>
                      <a:pt x="167416" y="199180"/>
                      <a:pt x="167416" y="203011"/>
                      <a:pt x="169972" y="205564"/>
                    </a:cubicBezTo>
                    <a:cubicBezTo>
                      <a:pt x="169972" y="205564"/>
                      <a:pt x="169972" y="205564"/>
                      <a:pt x="169972" y="205564"/>
                    </a:cubicBezTo>
                    <a:lnTo>
                      <a:pt x="182752" y="218332"/>
                    </a:lnTo>
                    <a:cubicBezTo>
                      <a:pt x="184030" y="219609"/>
                      <a:pt x="185308" y="220247"/>
                      <a:pt x="187225" y="220247"/>
                    </a:cubicBezTo>
                    <a:cubicBezTo>
                      <a:pt x="191059" y="220247"/>
                      <a:pt x="193615" y="217055"/>
                      <a:pt x="193615" y="213863"/>
                    </a:cubicBezTo>
                    <a:cubicBezTo>
                      <a:pt x="193615" y="211948"/>
                      <a:pt x="192976" y="210671"/>
                      <a:pt x="191698" y="209395"/>
                    </a:cubicBezTo>
                    <a:lnTo>
                      <a:pt x="189781" y="207479"/>
                    </a:lnTo>
                    <a:lnTo>
                      <a:pt x="199366" y="207479"/>
                    </a:lnTo>
                    <a:cubicBezTo>
                      <a:pt x="207034" y="207479"/>
                      <a:pt x="214063" y="201095"/>
                      <a:pt x="214063" y="192796"/>
                    </a:cubicBezTo>
                    <a:lnTo>
                      <a:pt x="214063" y="192796"/>
                    </a:lnTo>
                    <a:lnTo>
                      <a:pt x="214063" y="42773"/>
                    </a:lnTo>
                    <a:cubicBezTo>
                      <a:pt x="213424" y="34473"/>
                      <a:pt x="207034" y="28089"/>
                      <a:pt x="198727" y="28089"/>
                    </a:cubicBezTo>
                    <a:lnTo>
                      <a:pt x="198727" y="28089"/>
                    </a:lnTo>
                    <a:close/>
                    <a:moveTo>
                      <a:pt x="151441" y="222163"/>
                    </a:moveTo>
                    <a:lnTo>
                      <a:pt x="61982" y="222163"/>
                    </a:lnTo>
                    <a:lnTo>
                      <a:pt x="61982" y="178752"/>
                    </a:lnTo>
                    <a:lnTo>
                      <a:pt x="151441" y="178752"/>
                    </a:lnTo>
                    <a:lnTo>
                      <a:pt x="151441" y="222163"/>
                    </a:lnTo>
                    <a:close/>
                    <a:moveTo>
                      <a:pt x="151441" y="139171"/>
                    </a:moveTo>
                    <a:lnTo>
                      <a:pt x="61982" y="139171"/>
                    </a:lnTo>
                    <a:lnTo>
                      <a:pt x="61982" y="95760"/>
                    </a:lnTo>
                    <a:lnTo>
                      <a:pt x="151441" y="95760"/>
                    </a:lnTo>
                    <a:lnTo>
                      <a:pt x="151441" y="139171"/>
                    </a:lnTo>
                    <a:close/>
                    <a:moveTo>
                      <a:pt x="151441" y="56179"/>
                    </a:moveTo>
                    <a:lnTo>
                      <a:pt x="61982" y="56179"/>
                    </a:lnTo>
                    <a:lnTo>
                      <a:pt x="61982" y="12768"/>
                    </a:lnTo>
                    <a:lnTo>
                      <a:pt x="151441" y="12768"/>
                    </a:lnTo>
                    <a:lnTo>
                      <a:pt x="151441" y="56179"/>
                    </a:lnTo>
                    <a:close/>
                  </a:path>
                </a:pathLst>
              </a:custGeom>
              <a:grpFill/>
              <a:ln w="6390" cap="flat">
                <a:noFill/>
                <a:prstDash val="solid"/>
                <a:miter/>
              </a:ln>
            </p:spPr>
            <p:txBody>
              <a:bodyPr rtlCol="0" anchor="ctr"/>
              <a:lstStyle/>
              <a:p>
                <a:endParaRPr lang="en-US"/>
              </a:p>
            </p:txBody>
          </p:sp>
          <p:sp>
            <p:nvSpPr>
              <p:cNvPr id="1149" name="Graphic 4">
                <a:extLst>
                  <a:ext uri="{FF2B5EF4-FFF2-40B4-BE49-F238E27FC236}">
                    <a16:creationId xmlns:a16="http://schemas.microsoft.com/office/drawing/2014/main" id="{C4300939-93E2-E322-C09F-ACB11EF8C6B7}"/>
                  </a:ext>
                </a:extLst>
              </p:cNvPr>
              <p:cNvSpPr/>
              <p:nvPr/>
            </p:nvSpPr>
            <p:spPr>
              <a:xfrm>
                <a:off x="1674163" y="1089269"/>
                <a:ext cx="20447" cy="20428"/>
              </a:xfrm>
              <a:custGeom>
                <a:avLst/>
                <a:gdLst>
                  <a:gd name="connsiteX0" fmla="*/ 10224 w 20447"/>
                  <a:gd name="connsiteY0" fmla="*/ 0 h 20428"/>
                  <a:gd name="connsiteX1" fmla="*/ 0 w 20447"/>
                  <a:gd name="connsiteY1" fmla="*/ 10214 h 20428"/>
                  <a:gd name="connsiteX2" fmla="*/ 10224 w 20447"/>
                  <a:gd name="connsiteY2" fmla="*/ 20429 h 20428"/>
                  <a:gd name="connsiteX3" fmla="*/ 20448 w 20447"/>
                  <a:gd name="connsiteY3" fmla="*/ 10214 h 20428"/>
                  <a:gd name="connsiteX4" fmla="*/ 20448 w 20447"/>
                  <a:gd name="connsiteY4" fmla="*/ 10214 h 20428"/>
                  <a:gd name="connsiteX5" fmla="*/ 10224 w 20447"/>
                  <a:gd name="connsiteY5" fmla="*/ 0 h 20428"/>
                  <a:gd name="connsiteX6" fmla="*/ 10224 w 20447"/>
                  <a:gd name="connsiteY6" fmla="*/ 12768 h 20428"/>
                  <a:gd name="connsiteX7" fmla="*/ 7668 w 20447"/>
                  <a:gd name="connsiteY7" fmla="*/ 10214 h 20428"/>
                  <a:gd name="connsiteX8" fmla="*/ 10224 w 20447"/>
                  <a:gd name="connsiteY8" fmla="*/ 7661 h 20428"/>
                  <a:gd name="connsiteX9" fmla="*/ 10224 w 20447"/>
                  <a:gd name="connsiteY9" fmla="*/ 7661 h 20428"/>
                  <a:gd name="connsiteX10" fmla="*/ 12780 w 20447"/>
                  <a:gd name="connsiteY10" fmla="*/ 10214 h 20428"/>
                  <a:gd name="connsiteX11" fmla="*/ 10224 w 20447"/>
                  <a:gd name="connsiteY11" fmla="*/ 12768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0"/>
                    </a:moveTo>
                    <a:cubicBezTo>
                      <a:pt x="4473" y="0"/>
                      <a:pt x="0" y="4469"/>
                      <a:pt x="0" y="10214"/>
                    </a:cubicBezTo>
                    <a:cubicBezTo>
                      <a:pt x="0" y="15960"/>
                      <a:pt x="4473" y="20429"/>
                      <a:pt x="10224" y="20429"/>
                    </a:cubicBezTo>
                    <a:cubicBezTo>
                      <a:pt x="15975" y="20429"/>
                      <a:pt x="20448" y="15960"/>
                      <a:pt x="20448" y="10214"/>
                    </a:cubicBezTo>
                    <a:cubicBezTo>
                      <a:pt x="20448" y="10214"/>
                      <a:pt x="20448" y="10214"/>
                      <a:pt x="20448" y="10214"/>
                    </a:cubicBezTo>
                    <a:cubicBezTo>
                      <a:pt x="19809" y="4469"/>
                      <a:pt x="15336" y="0"/>
                      <a:pt x="10224" y="0"/>
                    </a:cubicBezTo>
                    <a:close/>
                    <a:moveTo>
                      <a:pt x="10224" y="12768"/>
                    </a:moveTo>
                    <a:cubicBezTo>
                      <a:pt x="8946" y="12768"/>
                      <a:pt x="7668" y="11491"/>
                      <a:pt x="7668" y="10214"/>
                    </a:cubicBezTo>
                    <a:cubicBezTo>
                      <a:pt x="7668" y="8938"/>
                      <a:pt x="8946" y="7661"/>
                      <a:pt x="10224" y="7661"/>
                    </a:cubicBezTo>
                    <a:lnTo>
                      <a:pt x="10224" y="7661"/>
                    </a:lnTo>
                    <a:cubicBezTo>
                      <a:pt x="11502" y="7661"/>
                      <a:pt x="12780" y="8938"/>
                      <a:pt x="12780" y="10214"/>
                    </a:cubicBezTo>
                    <a:cubicBezTo>
                      <a:pt x="12780" y="11491"/>
                      <a:pt x="11502" y="12768"/>
                      <a:pt x="10224" y="12768"/>
                    </a:cubicBezTo>
                    <a:close/>
                  </a:path>
                </a:pathLst>
              </a:custGeom>
              <a:grpFill/>
              <a:ln w="6390" cap="flat">
                <a:noFill/>
                <a:prstDash val="solid"/>
                <a:miter/>
              </a:ln>
            </p:spPr>
            <p:txBody>
              <a:bodyPr rtlCol="0" anchor="ctr"/>
              <a:lstStyle/>
              <a:p>
                <a:endParaRPr lang="en-US"/>
              </a:p>
            </p:txBody>
          </p:sp>
          <p:sp>
            <p:nvSpPr>
              <p:cNvPr id="1150" name="Graphic 4">
                <a:extLst>
                  <a:ext uri="{FF2B5EF4-FFF2-40B4-BE49-F238E27FC236}">
                    <a16:creationId xmlns:a16="http://schemas.microsoft.com/office/drawing/2014/main" id="{AA57D033-A4CB-55D6-D178-1E96A4D79B5D}"/>
                  </a:ext>
                </a:extLst>
              </p:cNvPr>
              <p:cNvSpPr/>
              <p:nvPr/>
            </p:nvSpPr>
            <p:spPr>
              <a:xfrm>
                <a:off x="1685665" y="1005639"/>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2780 w 20447"/>
                  <a:gd name="connsiteY8" fmla="*/ 10214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lnTo>
                      <a:pt x="12780" y="10214"/>
                    </a:lnTo>
                    <a:cubicBezTo>
                      <a:pt x="12780" y="11491"/>
                      <a:pt x="11502" y="12768"/>
                      <a:pt x="10224" y="12768"/>
                    </a:cubicBezTo>
                    <a:cubicBezTo>
                      <a:pt x="8946" y="12768"/>
                      <a:pt x="7668" y="11491"/>
                      <a:pt x="7668" y="10214"/>
                    </a:cubicBezTo>
                    <a:cubicBezTo>
                      <a:pt x="7029" y="8938"/>
                      <a:pt x="8307" y="7661"/>
                      <a:pt x="10224" y="7661"/>
                    </a:cubicBezTo>
                    <a:close/>
                  </a:path>
                </a:pathLst>
              </a:custGeom>
              <a:grpFill/>
              <a:ln w="6390" cap="flat">
                <a:noFill/>
                <a:prstDash val="solid"/>
                <a:miter/>
              </a:ln>
            </p:spPr>
            <p:txBody>
              <a:bodyPr rtlCol="0" anchor="ctr"/>
              <a:lstStyle/>
              <a:p>
                <a:endParaRPr lang="en-US"/>
              </a:p>
            </p:txBody>
          </p:sp>
          <p:sp>
            <p:nvSpPr>
              <p:cNvPr id="1151" name="Graphic 4">
                <a:extLst>
                  <a:ext uri="{FF2B5EF4-FFF2-40B4-BE49-F238E27FC236}">
                    <a16:creationId xmlns:a16="http://schemas.microsoft.com/office/drawing/2014/main" id="{5B8DA0D9-5E43-08D0-EF68-86B75F9530FA}"/>
                  </a:ext>
                </a:extLst>
              </p:cNvPr>
              <p:cNvSpPr/>
              <p:nvPr/>
            </p:nvSpPr>
            <p:spPr>
              <a:xfrm>
                <a:off x="1696528" y="1088631"/>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20429 h 20428"/>
                  <a:gd name="connsiteX7" fmla="*/ 10224 w 20447"/>
                  <a:gd name="connsiteY7" fmla="*/ 7661 h 20428"/>
                  <a:gd name="connsiteX8" fmla="*/ 12780 w 20447"/>
                  <a:gd name="connsiteY8" fmla="*/ 10214 h 20428"/>
                  <a:gd name="connsiteX9" fmla="*/ 10224 w 20447"/>
                  <a:gd name="connsiteY9" fmla="*/ 12768 h 20428"/>
                  <a:gd name="connsiteX10" fmla="*/ 7668 w 20447"/>
                  <a:gd name="connsiteY10" fmla="*/ 10214 h 20428"/>
                  <a:gd name="connsiteX11" fmla="*/ 10224 w 20447"/>
                  <a:gd name="connsiteY11" fmla="*/ 7661 h 20428"/>
                  <a:gd name="connsiteX12" fmla="*/ 10224 w 20447"/>
                  <a:gd name="connsiteY12"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639" y="15960"/>
                      <a:pt x="5112" y="20429"/>
                      <a:pt x="10224" y="20429"/>
                    </a:cubicBezTo>
                    <a:cubicBezTo>
                      <a:pt x="10224" y="20429"/>
                      <a:pt x="10224" y="20429"/>
                      <a:pt x="10224" y="20429"/>
                    </a:cubicBezTo>
                    <a:close/>
                    <a:moveTo>
                      <a:pt x="10224" y="7661"/>
                    </a:moveTo>
                    <a:cubicBezTo>
                      <a:pt x="11502" y="7661"/>
                      <a:pt x="12780" y="8938"/>
                      <a:pt x="12780" y="10214"/>
                    </a:cubicBezTo>
                    <a:cubicBezTo>
                      <a:pt x="12780" y="11491"/>
                      <a:pt x="11502" y="12768"/>
                      <a:pt x="10224" y="12768"/>
                    </a:cubicBezTo>
                    <a:cubicBezTo>
                      <a:pt x="8946" y="12768"/>
                      <a:pt x="7668" y="11491"/>
                      <a:pt x="7668" y="10214"/>
                    </a:cubicBezTo>
                    <a:cubicBezTo>
                      <a:pt x="7668" y="8938"/>
                      <a:pt x="8946" y="7661"/>
                      <a:pt x="10224" y="7661"/>
                    </a:cubicBezTo>
                    <a:lnTo>
                      <a:pt x="10224" y="7661"/>
                    </a:lnTo>
                    <a:close/>
                  </a:path>
                </a:pathLst>
              </a:custGeom>
              <a:grpFill/>
              <a:ln w="6390" cap="flat">
                <a:noFill/>
                <a:prstDash val="solid"/>
                <a:miter/>
              </a:ln>
            </p:spPr>
            <p:txBody>
              <a:bodyPr rtlCol="0" anchor="ctr"/>
              <a:lstStyle/>
              <a:p>
                <a:endParaRPr lang="en-US"/>
              </a:p>
            </p:txBody>
          </p:sp>
          <p:sp>
            <p:nvSpPr>
              <p:cNvPr id="1152" name="Graphic 4">
                <a:extLst>
                  <a:ext uri="{FF2B5EF4-FFF2-40B4-BE49-F238E27FC236}">
                    <a16:creationId xmlns:a16="http://schemas.microsoft.com/office/drawing/2014/main" id="{312D60E8-3D07-E040-1F8D-D47FB5A0747B}"/>
                  </a:ext>
                </a:extLst>
              </p:cNvPr>
              <p:cNvSpPr/>
              <p:nvPr/>
            </p:nvSpPr>
            <p:spPr>
              <a:xfrm>
                <a:off x="1685665" y="1171623"/>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cubicBezTo>
                      <a:pt x="12780" y="11491"/>
                      <a:pt x="11502" y="12768"/>
                      <a:pt x="10224" y="12768"/>
                    </a:cubicBezTo>
                    <a:lnTo>
                      <a:pt x="10224" y="12768"/>
                    </a:lnTo>
                    <a:cubicBezTo>
                      <a:pt x="8946" y="12768"/>
                      <a:pt x="7668" y="11491"/>
                      <a:pt x="7668" y="10214"/>
                    </a:cubicBezTo>
                    <a:cubicBezTo>
                      <a:pt x="7668" y="8938"/>
                      <a:pt x="8307" y="7661"/>
                      <a:pt x="10224" y="7661"/>
                    </a:cubicBezTo>
                    <a:close/>
                  </a:path>
                </a:pathLst>
              </a:custGeom>
              <a:grpFill/>
              <a:ln w="6390" cap="flat">
                <a:noFill/>
                <a:prstDash val="solid"/>
                <a:miter/>
              </a:ln>
            </p:spPr>
            <p:txBody>
              <a:bodyPr rtlCol="0" anchor="ctr"/>
              <a:lstStyle/>
              <a:p>
                <a:endParaRPr lang="en-US"/>
              </a:p>
            </p:txBody>
          </p:sp>
          <p:sp>
            <p:nvSpPr>
              <p:cNvPr id="1153" name="Graphic 4">
                <a:extLst>
                  <a:ext uri="{FF2B5EF4-FFF2-40B4-BE49-F238E27FC236}">
                    <a16:creationId xmlns:a16="http://schemas.microsoft.com/office/drawing/2014/main" id="{0A44848F-3A25-87F7-323E-0634FEEB3DDF}"/>
                  </a:ext>
                </a:extLst>
              </p:cNvPr>
              <p:cNvSpPr/>
              <p:nvPr/>
            </p:nvSpPr>
            <p:spPr>
              <a:xfrm>
                <a:off x="1660744" y="1171623"/>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10224 w 20447"/>
                  <a:gd name="connsiteY4" fmla="*/ 20429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7668 w 20447"/>
                  <a:gd name="connsiteY9" fmla="*/ 10214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5960"/>
                      <a:pt x="4473" y="20429"/>
                      <a:pt x="10224" y="20429"/>
                    </a:cubicBezTo>
                    <a:lnTo>
                      <a:pt x="10224" y="20429"/>
                    </a:lnTo>
                    <a:close/>
                    <a:moveTo>
                      <a:pt x="10224" y="7661"/>
                    </a:moveTo>
                    <a:cubicBezTo>
                      <a:pt x="11502" y="7661"/>
                      <a:pt x="12780" y="8938"/>
                      <a:pt x="12780" y="10214"/>
                    </a:cubicBezTo>
                    <a:cubicBezTo>
                      <a:pt x="12780" y="11491"/>
                      <a:pt x="11502" y="12768"/>
                      <a:pt x="10224" y="12768"/>
                    </a:cubicBezTo>
                    <a:cubicBezTo>
                      <a:pt x="8946" y="12768"/>
                      <a:pt x="7668" y="11491"/>
                      <a:pt x="7668" y="10214"/>
                    </a:cubicBezTo>
                    <a:lnTo>
                      <a:pt x="7668" y="10214"/>
                    </a:lnTo>
                    <a:cubicBezTo>
                      <a:pt x="7668" y="8938"/>
                      <a:pt x="8946" y="7661"/>
                      <a:pt x="10224" y="7661"/>
                    </a:cubicBezTo>
                    <a:close/>
                  </a:path>
                </a:pathLst>
              </a:custGeom>
              <a:grpFill/>
              <a:ln w="6390" cap="flat">
                <a:noFill/>
                <a:prstDash val="solid"/>
                <a:miter/>
              </a:ln>
            </p:spPr>
            <p:txBody>
              <a:bodyPr rtlCol="0" anchor="ctr"/>
              <a:lstStyle/>
              <a:p>
                <a:endParaRPr lang="en-US"/>
              </a:p>
            </p:txBody>
          </p:sp>
          <p:sp>
            <p:nvSpPr>
              <p:cNvPr id="1154" name="Graphic 4">
                <a:extLst>
                  <a:ext uri="{FF2B5EF4-FFF2-40B4-BE49-F238E27FC236}">
                    <a16:creationId xmlns:a16="http://schemas.microsoft.com/office/drawing/2014/main" id="{107BF8FD-EAF8-802C-4DC1-430FCB506EFB}"/>
                  </a:ext>
                </a:extLst>
              </p:cNvPr>
              <p:cNvSpPr/>
              <p:nvPr/>
            </p:nvSpPr>
            <p:spPr>
              <a:xfrm>
                <a:off x="1710586" y="1171623"/>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cubicBezTo>
                      <a:pt x="12780" y="11491"/>
                      <a:pt x="11502" y="12768"/>
                      <a:pt x="10224" y="12768"/>
                    </a:cubicBezTo>
                    <a:lnTo>
                      <a:pt x="10224" y="12768"/>
                    </a:lnTo>
                    <a:cubicBezTo>
                      <a:pt x="8946" y="12768"/>
                      <a:pt x="7668" y="11491"/>
                      <a:pt x="7668" y="10214"/>
                    </a:cubicBezTo>
                    <a:cubicBezTo>
                      <a:pt x="7029" y="8938"/>
                      <a:pt x="8307" y="7661"/>
                      <a:pt x="10224" y="7661"/>
                    </a:cubicBezTo>
                    <a:close/>
                  </a:path>
                </a:pathLst>
              </a:custGeom>
              <a:grpFill/>
              <a:ln w="6390" cap="flat">
                <a:noFill/>
                <a:prstDash val="solid"/>
                <a:miter/>
              </a:ln>
            </p:spPr>
            <p:txBody>
              <a:bodyPr rtlCol="0" anchor="ctr"/>
              <a:lstStyle/>
              <a:p>
                <a:endParaRPr lang="en-US"/>
              </a:p>
            </p:txBody>
          </p:sp>
        </p:grpSp>
        <p:grpSp>
          <p:nvGrpSpPr>
            <p:cNvPr id="1155" name="Graphic 4">
              <a:extLst>
                <a:ext uri="{FF2B5EF4-FFF2-40B4-BE49-F238E27FC236}">
                  <a16:creationId xmlns:a16="http://schemas.microsoft.com/office/drawing/2014/main" id="{13BA6DD4-67F0-E382-0D22-001C1E4C28E9}"/>
                </a:ext>
              </a:extLst>
            </p:cNvPr>
            <p:cNvGrpSpPr>
              <a:grpSpLocks noChangeAspect="1"/>
            </p:cNvGrpSpPr>
            <p:nvPr/>
          </p:nvGrpSpPr>
          <p:grpSpPr>
            <a:xfrm>
              <a:off x="7207787" y="2372327"/>
              <a:ext cx="286830" cy="290122"/>
              <a:chOff x="1572321" y="4364131"/>
              <a:chExt cx="247532" cy="250373"/>
            </a:xfrm>
            <a:solidFill>
              <a:schemeClr val="bg1"/>
            </a:solidFill>
          </p:grpSpPr>
          <p:sp>
            <p:nvSpPr>
              <p:cNvPr id="1156" name="Graphic 4">
                <a:extLst>
                  <a:ext uri="{FF2B5EF4-FFF2-40B4-BE49-F238E27FC236}">
                    <a16:creationId xmlns:a16="http://schemas.microsoft.com/office/drawing/2014/main" id="{A06684E0-99D5-B12C-795A-17111882ECFC}"/>
                  </a:ext>
                </a:extLst>
              </p:cNvPr>
              <p:cNvSpPr/>
              <p:nvPr/>
            </p:nvSpPr>
            <p:spPr>
              <a:xfrm>
                <a:off x="1611542" y="4406387"/>
                <a:ext cx="166138" cy="165983"/>
              </a:xfrm>
              <a:custGeom>
                <a:avLst/>
                <a:gdLst>
                  <a:gd name="connsiteX0" fmla="*/ 83069 w 166138"/>
                  <a:gd name="connsiteY0" fmla="*/ 0 h 165983"/>
                  <a:gd name="connsiteX1" fmla="*/ 0 w 166138"/>
                  <a:gd name="connsiteY1" fmla="*/ 82992 h 165983"/>
                  <a:gd name="connsiteX2" fmla="*/ 83069 w 166138"/>
                  <a:gd name="connsiteY2" fmla="*/ 165984 h 165983"/>
                  <a:gd name="connsiteX3" fmla="*/ 166138 w 166138"/>
                  <a:gd name="connsiteY3" fmla="*/ 82992 h 165983"/>
                  <a:gd name="connsiteX4" fmla="*/ 83069 w 166138"/>
                  <a:gd name="connsiteY4" fmla="*/ 0 h 165983"/>
                  <a:gd name="connsiteX5" fmla="*/ 83069 w 166138"/>
                  <a:gd name="connsiteY5" fmla="*/ 0 h 165983"/>
                  <a:gd name="connsiteX6" fmla="*/ 27477 w 166138"/>
                  <a:gd name="connsiteY6" fmla="*/ 125765 h 165983"/>
                  <a:gd name="connsiteX7" fmla="*/ 58787 w 166138"/>
                  <a:gd name="connsiteY7" fmla="*/ 94483 h 165983"/>
                  <a:gd name="connsiteX8" fmla="*/ 60065 w 166138"/>
                  <a:gd name="connsiteY8" fmla="*/ 87461 h 165983"/>
                  <a:gd name="connsiteX9" fmla="*/ 58787 w 166138"/>
                  <a:gd name="connsiteY9" fmla="*/ 82992 h 165983"/>
                  <a:gd name="connsiteX10" fmla="*/ 58787 w 166138"/>
                  <a:gd name="connsiteY10" fmla="*/ 81715 h 165983"/>
                  <a:gd name="connsiteX11" fmla="*/ 64538 w 166138"/>
                  <a:gd name="connsiteY11" fmla="*/ 53626 h 165983"/>
                  <a:gd name="connsiteX12" fmla="*/ 85625 w 166138"/>
                  <a:gd name="connsiteY12" fmla="*/ 39581 h 165983"/>
                  <a:gd name="connsiteX13" fmla="*/ 71567 w 166138"/>
                  <a:gd name="connsiteY13" fmla="*/ 52987 h 165983"/>
                  <a:gd name="connsiteX14" fmla="*/ 69650 w 166138"/>
                  <a:gd name="connsiteY14" fmla="*/ 58733 h 165983"/>
                  <a:gd name="connsiteX15" fmla="*/ 76040 w 166138"/>
                  <a:gd name="connsiteY15" fmla="*/ 85546 h 165983"/>
                  <a:gd name="connsiteX16" fmla="*/ 81152 w 166138"/>
                  <a:gd name="connsiteY16" fmla="*/ 90653 h 165983"/>
                  <a:gd name="connsiteX17" fmla="*/ 107990 w 166138"/>
                  <a:gd name="connsiteY17" fmla="*/ 97037 h 165983"/>
                  <a:gd name="connsiteX18" fmla="*/ 113741 w 166138"/>
                  <a:gd name="connsiteY18" fmla="*/ 95121 h 165983"/>
                  <a:gd name="connsiteX19" fmla="*/ 127160 w 166138"/>
                  <a:gd name="connsiteY19" fmla="*/ 81715 h 165983"/>
                  <a:gd name="connsiteX20" fmla="*/ 117575 w 166138"/>
                  <a:gd name="connsiteY20" fmla="*/ 98952 h 165983"/>
                  <a:gd name="connsiteX21" fmla="*/ 84347 w 166138"/>
                  <a:gd name="connsiteY21" fmla="*/ 108528 h 165983"/>
                  <a:gd name="connsiteX22" fmla="*/ 83708 w 166138"/>
                  <a:gd name="connsiteY22" fmla="*/ 108528 h 165983"/>
                  <a:gd name="connsiteX23" fmla="*/ 79235 w 166138"/>
                  <a:gd name="connsiteY23" fmla="*/ 107251 h 165983"/>
                  <a:gd name="connsiteX24" fmla="*/ 72206 w 166138"/>
                  <a:gd name="connsiteY24" fmla="*/ 108528 h 165983"/>
                  <a:gd name="connsiteX25" fmla="*/ 40896 w 166138"/>
                  <a:gd name="connsiteY25" fmla="*/ 139809 h 165983"/>
                  <a:gd name="connsiteX26" fmla="*/ 27477 w 166138"/>
                  <a:gd name="connsiteY26" fmla="*/ 125765 h 165983"/>
                  <a:gd name="connsiteX27" fmla="*/ 27477 w 166138"/>
                  <a:gd name="connsiteY27" fmla="*/ 125765 h 165983"/>
                  <a:gd name="connsiteX28" fmla="*/ 83069 w 166138"/>
                  <a:gd name="connsiteY28" fmla="*/ 153216 h 165983"/>
                  <a:gd name="connsiteX29" fmla="*/ 52397 w 166138"/>
                  <a:gd name="connsiteY29" fmla="*/ 146193 h 165983"/>
                  <a:gd name="connsiteX30" fmla="*/ 78596 w 166138"/>
                  <a:gd name="connsiteY30" fmla="*/ 120019 h 165983"/>
                  <a:gd name="connsiteX31" fmla="*/ 80513 w 166138"/>
                  <a:gd name="connsiteY31" fmla="*/ 120657 h 165983"/>
                  <a:gd name="connsiteX32" fmla="*/ 81152 w 166138"/>
                  <a:gd name="connsiteY32" fmla="*/ 120657 h 165983"/>
                  <a:gd name="connsiteX33" fmla="*/ 139301 w 166138"/>
                  <a:gd name="connsiteY33" fmla="*/ 86184 h 165983"/>
                  <a:gd name="connsiteX34" fmla="*/ 140579 w 166138"/>
                  <a:gd name="connsiteY34" fmla="*/ 70862 h 165983"/>
                  <a:gd name="connsiteX35" fmla="*/ 134828 w 166138"/>
                  <a:gd name="connsiteY35" fmla="*/ 63202 h 165983"/>
                  <a:gd name="connsiteX36" fmla="*/ 125243 w 166138"/>
                  <a:gd name="connsiteY36" fmla="*/ 65117 h 165983"/>
                  <a:gd name="connsiteX37" fmla="*/ 106712 w 166138"/>
                  <a:gd name="connsiteY37" fmla="*/ 83630 h 165983"/>
                  <a:gd name="connsiteX38" fmla="*/ 87542 w 166138"/>
                  <a:gd name="connsiteY38" fmla="*/ 79162 h 165983"/>
                  <a:gd name="connsiteX39" fmla="*/ 83069 w 166138"/>
                  <a:gd name="connsiteY39" fmla="*/ 60010 h 165983"/>
                  <a:gd name="connsiteX40" fmla="*/ 101600 w 166138"/>
                  <a:gd name="connsiteY40" fmla="*/ 41496 h 165983"/>
                  <a:gd name="connsiteX41" fmla="*/ 103517 w 166138"/>
                  <a:gd name="connsiteY41" fmla="*/ 31920 h 165983"/>
                  <a:gd name="connsiteX42" fmla="*/ 95849 w 166138"/>
                  <a:gd name="connsiteY42" fmla="*/ 26175 h 165983"/>
                  <a:gd name="connsiteX43" fmla="*/ 44730 w 166138"/>
                  <a:gd name="connsiteY43" fmla="*/ 70862 h 165983"/>
                  <a:gd name="connsiteX44" fmla="*/ 46008 w 166138"/>
                  <a:gd name="connsiteY44" fmla="*/ 86184 h 165983"/>
                  <a:gd name="connsiteX45" fmla="*/ 46647 w 166138"/>
                  <a:gd name="connsiteY45" fmla="*/ 87461 h 165983"/>
                  <a:gd name="connsiteX46" fmla="*/ 46647 w 166138"/>
                  <a:gd name="connsiteY46" fmla="*/ 88738 h 165983"/>
                  <a:gd name="connsiteX47" fmla="*/ 20448 w 166138"/>
                  <a:gd name="connsiteY47" fmla="*/ 114912 h 165983"/>
                  <a:gd name="connsiteX48" fmla="*/ 12780 w 166138"/>
                  <a:gd name="connsiteY48" fmla="*/ 82992 h 165983"/>
                  <a:gd name="connsiteX49" fmla="*/ 83069 w 166138"/>
                  <a:gd name="connsiteY49" fmla="*/ 12768 h 165983"/>
                  <a:gd name="connsiteX50" fmla="*/ 153359 w 166138"/>
                  <a:gd name="connsiteY50" fmla="*/ 82992 h 165983"/>
                  <a:gd name="connsiteX51" fmla="*/ 83069 w 166138"/>
                  <a:gd name="connsiteY51" fmla="*/ 153216 h 165983"/>
                  <a:gd name="connsiteX52" fmla="*/ 83069 w 166138"/>
                  <a:gd name="connsiteY52" fmla="*/ 153216 h 165983"/>
                  <a:gd name="connsiteX53" fmla="*/ 83069 w 166138"/>
                  <a:gd name="connsiteY53" fmla="*/ 153216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66138" h="165983">
                    <a:moveTo>
                      <a:pt x="83069" y="0"/>
                    </a:moveTo>
                    <a:cubicBezTo>
                      <a:pt x="37062" y="0"/>
                      <a:pt x="0" y="37027"/>
                      <a:pt x="0" y="82992"/>
                    </a:cubicBezTo>
                    <a:cubicBezTo>
                      <a:pt x="0" y="128957"/>
                      <a:pt x="37062" y="165984"/>
                      <a:pt x="83069" y="165984"/>
                    </a:cubicBezTo>
                    <a:cubicBezTo>
                      <a:pt x="129077" y="165984"/>
                      <a:pt x="166138" y="128957"/>
                      <a:pt x="166138" y="82992"/>
                    </a:cubicBezTo>
                    <a:cubicBezTo>
                      <a:pt x="166138" y="37027"/>
                      <a:pt x="129077" y="0"/>
                      <a:pt x="83069" y="0"/>
                    </a:cubicBezTo>
                    <a:lnTo>
                      <a:pt x="83069" y="0"/>
                    </a:lnTo>
                    <a:close/>
                    <a:moveTo>
                      <a:pt x="27477" y="125765"/>
                    </a:moveTo>
                    <a:lnTo>
                      <a:pt x="58787" y="94483"/>
                    </a:lnTo>
                    <a:cubicBezTo>
                      <a:pt x="60705" y="92568"/>
                      <a:pt x="61343" y="90014"/>
                      <a:pt x="60065" y="87461"/>
                    </a:cubicBezTo>
                    <a:cubicBezTo>
                      <a:pt x="59426" y="86184"/>
                      <a:pt x="58787" y="84269"/>
                      <a:pt x="58787" y="82992"/>
                    </a:cubicBezTo>
                    <a:cubicBezTo>
                      <a:pt x="58787" y="82992"/>
                      <a:pt x="58787" y="82354"/>
                      <a:pt x="58787" y="81715"/>
                    </a:cubicBezTo>
                    <a:cubicBezTo>
                      <a:pt x="56871" y="72139"/>
                      <a:pt x="58787" y="61925"/>
                      <a:pt x="64538" y="53626"/>
                    </a:cubicBezTo>
                    <a:cubicBezTo>
                      <a:pt x="69650" y="46603"/>
                      <a:pt x="77318" y="41496"/>
                      <a:pt x="85625" y="39581"/>
                    </a:cubicBezTo>
                    <a:lnTo>
                      <a:pt x="71567" y="52987"/>
                    </a:lnTo>
                    <a:cubicBezTo>
                      <a:pt x="70289" y="54264"/>
                      <a:pt x="69650" y="56818"/>
                      <a:pt x="69650" y="58733"/>
                    </a:cubicBezTo>
                    <a:lnTo>
                      <a:pt x="76040" y="85546"/>
                    </a:lnTo>
                    <a:cubicBezTo>
                      <a:pt x="76679" y="88099"/>
                      <a:pt x="78596" y="90014"/>
                      <a:pt x="81152" y="90653"/>
                    </a:cubicBezTo>
                    <a:lnTo>
                      <a:pt x="107990" y="97037"/>
                    </a:lnTo>
                    <a:cubicBezTo>
                      <a:pt x="109907" y="97675"/>
                      <a:pt x="112463" y="97037"/>
                      <a:pt x="113741" y="95121"/>
                    </a:cubicBezTo>
                    <a:lnTo>
                      <a:pt x="127160" y="81715"/>
                    </a:lnTo>
                    <a:cubicBezTo>
                      <a:pt x="125882" y="88099"/>
                      <a:pt x="122687" y="94483"/>
                      <a:pt x="117575" y="98952"/>
                    </a:cubicBezTo>
                    <a:cubicBezTo>
                      <a:pt x="109268" y="107889"/>
                      <a:pt x="96488" y="111081"/>
                      <a:pt x="84347" y="108528"/>
                    </a:cubicBezTo>
                    <a:lnTo>
                      <a:pt x="83708" y="108528"/>
                    </a:lnTo>
                    <a:cubicBezTo>
                      <a:pt x="82430" y="107889"/>
                      <a:pt x="80513" y="107889"/>
                      <a:pt x="79235" y="107251"/>
                    </a:cubicBezTo>
                    <a:cubicBezTo>
                      <a:pt x="76679" y="105974"/>
                      <a:pt x="74123" y="106613"/>
                      <a:pt x="72206" y="108528"/>
                    </a:cubicBezTo>
                    <a:lnTo>
                      <a:pt x="40896" y="139809"/>
                    </a:lnTo>
                    <a:cubicBezTo>
                      <a:pt x="35784" y="135979"/>
                      <a:pt x="31311" y="130872"/>
                      <a:pt x="27477" y="125765"/>
                    </a:cubicBezTo>
                    <a:lnTo>
                      <a:pt x="27477" y="125765"/>
                    </a:lnTo>
                    <a:close/>
                    <a:moveTo>
                      <a:pt x="83069" y="153216"/>
                    </a:moveTo>
                    <a:cubicBezTo>
                      <a:pt x="72206" y="153216"/>
                      <a:pt x="61982" y="150662"/>
                      <a:pt x="52397" y="146193"/>
                    </a:cubicBezTo>
                    <a:lnTo>
                      <a:pt x="78596" y="120019"/>
                    </a:lnTo>
                    <a:lnTo>
                      <a:pt x="80513" y="120657"/>
                    </a:lnTo>
                    <a:lnTo>
                      <a:pt x="81152" y="120657"/>
                    </a:lnTo>
                    <a:cubicBezTo>
                      <a:pt x="106712" y="127041"/>
                      <a:pt x="132911" y="111720"/>
                      <a:pt x="139301" y="86184"/>
                    </a:cubicBezTo>
                    <a:cubicBezTo>
                      <a:pt x="140579" y="81077"/>
                      <a:pt x="141218" y="75970"/>
                      <a:pt x="140579" y="70862"/>
                    </a:cubicBezTo>
                    <a:cubicBezTo>
                      <a:pt x="140579" y="67670"/>
                      <a:pt x="138023" y="64478"/>
                      <a:pt x="134828" y="63202"/>
                    </a:cubicBezTo>
                    <a:cubicBezTo>
                      <a:pt x="131633" y="61925"/>
                      <a:pt x="127799" y="62563"/>
                      <a:pt x="125243" y="65117"/>
                    </a:cubicBezTo>
                    <a:lnTo>
                      <a:pt x="106712" y="83630"/>
                    </a:lnTo>
                    <a:lnTo>
                      <a:pt x="87542" y="79162"/>
                    </a:lnTo>
                    <a:lnTo>
                      <a:pt x="83069" y="60010"/>
                    </a:lnTo>
                    <a:lnTo>
                      <a:pt x="101600" y="41496"/>
                    </a:lnTo>
                    <a:cubicBezTo>
                      <a:pt x="104156" y="38943"/>
                      <a:pt x="104795" y="35751"/>
                      <a:pt x="103517" y="31920"/>
                    </a:cubicBezTo>
                    <a:cubicBezTo>
                      <a:pt x="102239" y="28728"/>
                      <a:pt x="99044" y="26175"/>
                      <a:pt x="95849" y="26175"/>
                    </a:cubicBezTo>
                    <a:cubicBezTo>
                      <a:pt x="69650" y="24259"/>
                      <a:pt x="46647" y="44050"/>
                      <a:pt x="44730" y="70862"/>
                    </a:cubicBezTo>
                    <a:cubicBezTo>
                      <a:pt x="44091" y="75970"/>
                      <a:pt x="44730" y="81077"/>
                      <a:pt x="46008" y="86184"/>
                    </a:cubicBezTo>
                    <a:cubicBezTo>
                      <a:pt x="46008" y="86822"/>
                      <a:pt x="46008" y="86822"/>
                      <a:pt x="46647" y="87461"/>
                    </a:cubicBezTo>
                    <a:lnTo>
                      <a:pt x="46647" y="88738"/>
                    </a:lnTo>
                    <a:lnTo>
                      <a:pt x="20448" y="114912"/>
                    </a:lnTo>
                    <a:cubicBezTo>
                      <a:pt x="15336" y="105336"/>
                      <a:pt x="12780" y="93845"/>
                      <a:pt x="12780" y="82992"/>
                    </a:cubicBezTo>
                    <a:cubicBezTo>
                      <a:pt x="12780" y="44050"/>
                      <a:pt x="44091" y="12768"/>
                      <a:pt x="83069" y="12768"/>
                    </a:cubicBezTo>
                    <a:cubicBezTo>
                      <a:pt x="122048" y="12768"/>
                      <a:pt x="153359" y="44050"/>
                      <a:pt x="153359" y="82992"/>
                    </a:cubicBezTo>
                    <a:cubicBezTo>
                      <a:pt x="153359" y="121934"/>
                      <a:pt x="122048" y="153216"/>
                      <a:pt x="83069" y="153216"/>
                    </a:cubicBezTo>
                    <a:cubicBezTo>
                      <a:pt x="83069" y="153216"/>
                      <a:pt x="83069" y="153216"/>
                      <a:pt x="83069" y="153216"/>
                    </a:cubicBezTo>
                    <a:lnTo>
                      <a:pt x="83069" y="153216"/>
                    </a:lnTo>
                    <a:close/>
                  </a:path>
                </a:pathLst>
              </a:custGeom>
              <a:grpFill/>
              <a:ln w="6390" cap="flat">
                <a:noFill/>
                <a:prstDash val="solid"/>
                <a:miter/>
              </a:ln>
            </p:spPr>
            <p:txBody>
              <a:bodyPr rtlCol="0" anchor="ctr"/>
              <a:lstStyle/>
              <a:p>
                <a:endParaRPr lang="en-US"/>
              </a:p>
            </p:txBody>
          </p:sp>
          <p:sp>
            <p:nvSpPr>
              <p:cNvPr id="1157" name="Graphic 4">
                <a:extLst>
                  <a:ext uri="{FF2B5EF4-FFF2-40B4-BE49-F238E27FC236}">
                    <a16:creationId xmlns:a16="http://schemas.microsoft.com/office/drawing/2014/main" id="{9BCB45A9-7F3F-C7F9-6758-D8CA85A4B43C}"/>
                  </a:ext>
                </a:extLst>
              </p:cNvPr>
              <p:cNvSpPr/>
              <p:nvPr/>
            </p:nvSpPr>
            <p:spPr>
              <a:xfrm>
                <a:off x="1572321" y="4364131"/>
                <a:ext cx="247532" cy="250373"/>
              </a:xfrm>
              <a:custGeom>
                <a:avLst/>
                <a:gdLst>
                  <a:gd name="connsiteX0" fmla="*/ 240503 w 247532"/>
                  <a:gd name="connsiteY0" fmla="*/ 102903 h 250373"/>
                  <a:gd name="connsiteX1" fmla="*/ 224529 w 247532"/>
                  <a:gd name="connsiteY1" fmla="*/ 97158 h 250373"/>
                  <a:gd name="connsiteX2" fmla="*/ 218778 w 247532"/>
                  <a:gd name="connsiteY2" fmla="*/ 81198 h 250373"/>
                  <a:gd name="connsiteX3" fmla="*/ 227724 w 247532"/>
                  <a:gd name="connsiteY3" fmla="*/ 66515 h 250373"/>
                  <a:gd name="connsiteX4" fmla="*/ 227085 w 247532"/>
                  <a:gd name="connsiteY4" fmla="*/ 54385 h 250373"/>
                  <a:gd name="connsiteX5" fmla="*/ 211110 w 247532"/>
                  <a:gd name="connsiteY5" fmla="*/ 35233 h 250373"/>
                  <a:gd name="connsiteX6" fmla="*/ 198969 w 247532"/>
                  <a:gd name="connsiteY6" fmla="*/ 32041 h 250373"/>
                  <a:gd name="connsiteX7" fmla="*/ 182994 w 247532"/>
                  <a:gd name="connsiteY7" fmla="*/ 38425 h 250373"/>
                  <a:gd name="connsiteX8" fmla="*/ 168297 w 247532"/>
                  <a:gd name="connsiteY8" fmla="*/ 30126 h 250373"/>
                  <a:gd name="connsiteX9" fmla="*/ 165741 w 247532"/>
                  <a:gd name="connsiteY9" fmla="*/ 13527 h 250373"/>
                  <a:gd name="connsiteX10" fmla="*/ 156795 w 247532"/>
                  <a:gd name="connsiteY10" fmla="*/ 4590 h 250373"/>
                  <a:gd name="connsiteX11" fmla="*/ 132513 w 247532"/>
                  <a:gd name="connsiteY11" fmla="*/ 121 h 250373"/>
                  <a:gd name="connsiteX12" fmla="*/ 121012 w 247532"/>
                  <a:gd name="connsiteY12" fmla="*/ 5228 h 250373"/>
                  <a:gd name="connsiteX13" fmla="*/ 112705 w 247532"/>
                  <a:gd name="connsiteY13" fmla="*/ 19911 h 250373"/>
                  <a:gd name="connsiteX14" fmla="*/ 96091 w 247532"/>
                  <a:gd name="connsiteY14" fmla="*/ 23103 h 250373"/>
                  <a:gd name="connsiteX15" fmla="*/ 83311 w 247532"/>
                  <a:gd name="connsiteY15" fmla="*/ 11612 h 250373"/>
                  <a:gd name="connsiteX16" fmla="*/ 71170 w 247532"/>
                  <a:gd name="connsiteY16" fmla="*/ 10335 h 250373"/>
                  <a:gd name="connsiteX17" fmla="*/ 49444 w 247532"/>
                  <a:gd name="connsiteY17" fmla="*/ 22465 h 250373"/>
                  <a:gd name="connsiteX18" fmla="*/ 44332 w 247532"/>
                  <a:gd name="connsiteY18" fmla="*/ 33956 h 250373"/>
                  <a:gd name="connsiteX19" fmla="*/ 47527 w 247532"/>
                  <a:gd name="connsiteY19" fmla="*/ 50555 h 250373"/>
                  <a:gd name="connsiteX20" fmla="*/ 36664 w 247532"/>
                  <a:gd name="connsiteY20" fmla="*/ 63323 h 250373"/>
                  <a:gd name="connsiteX21" fmla="*/ 19412 w 247532"/>
                  <a:gd name="connsiteY21" fmla="*/ 63323 h 250373"/>
                  <a:gd name="connsiteX22" fmla="*/ 9188 w 247532"/>
                  <a:gd name="connsiteY22" fmla="*/ 70345 h 250373"/>
                  <a:gd name="connsiteX23" fmla="*/ 881 w 247532"/>
                  <a:gd name="connsiteY23" fmla="*/ 93327 h 250373"/>
                  <a:gd name="connsiteX24" fmla="*/ 4076 w 247532"/>
                  <a:gd name="connsiteY24" fmla="*/ 105457 h 250373"/>
                  <a:gd name="connsiteX25" fmla="*/ 17495 w 247532"/>
                  <a:gd name="connsiteY25" fmla="*/ 116309 h 250373"/>
                  <a:gd name="connsiteX26" fmla="*/ 17495 w 247532"/>
                  <a:gd name="connsiteY26" fmla="*/ 133546 h 250373"/>
                  <a:gd name="connsiteX27" fmla="*/ 4076 w 247532"/>
                  <a:gd name="connsiteY27" fmla="*/ 144399 h 250373"/>
                  <a:gd name="connsiteX28" fmla="*/ 881 w 247532"/>
                  <a:gd name="connsiteY28" fmla="*/ 156529 h 250373"/>
                  <a:gd name="connsiteX29" fmla="*/ 9188 w 247532"/>
                  <a:gd name="connsiteY29" fmla="*/ 179511 h 250373"/>
                  <a:gd name="connsiteX30" fmla="*/ 19412 w 247532"/>
                  <a:gd name="connsiteY30" fmla="*/ 186533 h 250373"/>
                  <a:gd name="connsiteX31" fmla="*/ 36664 w 247532"/>
                  <a:gd name="connsiteY31" fmla="*/ 186533 h 250373"/>
                  <a:gd name="connsiteX32" fmla="*/ 47527 w 247532"/>
                  <a:gd name="connsiteY32" fmla="*/ 199301 h 250373"/>
                  <a:gd name="connsiteX33" fmla="*/ 44332 w 247532"/>
                  <a:gd name="connsiteY33" fmla="*/ 215899 h 250373"/>
                  <a:gd name="connsiteX34" fmla="*/ 49444 w 247532"/>
                  <a:gd name="connsiteY34" fmla="*/ 227391 h 250373"/>
                  <a:gd name="connsiteX35" fmla="*/ 71170 w 247532"/>
                  <a:gd name="connsiteY35" fmla="*/ 239520 h 250373"/>
                  <a:gd name="connsiteX36" fmla="*/ 83311 w 247532"/>
                  <a:gd name="connsiteY36" fmla="*/ 238243 h 250373"/>
                  <a:gd name="connsiteX37" fmla="*/ 96091 w 247532"/>
                  <a:gd name="connsiteY37" fmla="*/ 226752 h 250373"/>
                  <a:gd name="connsiteX38" fmla="*/ 112705 w 247532"/>
                  <a:gd name="connsiteY38" fmla="*/ 229944 h 250373"/>
                  <a:gd name="connsiteX39" fmla="*/ 121012 w 247532"/>
                  <a:gd name="connsiteY39" fmla="*/ 244627 h 250373"/>
                  <a:gd name="connsiteX40" fmla="*/ 130596 w 247532"/>
                  <a:gd name="connsiteY40" fmla="*/ 250373 h 250373"/>
                  <a:gd name="connsiteX41" fmla="*/ 132513 w 247532"/>
                  <a:gd name="connsiteY41" fmla="*/ 250373 h 250373"/>
                  <a:gd name="connsiteX42" fmla="*/ 156795 w 247532"/>
                  <a:gd name="connsiteY42" fmla="*/ 245904 h 250373"/>
                  <a:gd name="connsiteX43" fmla="*/ 165741 w 247532"/>
                  <a:gd name="connsiteY43" fmla="*/ 236967 h 250373"/>
                  <a:gd name="connsiteX44" fmla="*/ 168297 w 247532"/>
                  <a:gd name="connsiteY44" fmla="*/ 219730 h 250373"/>
                  <a:gd name="connsiteX45" fmla="*/ 182994 w 247532"/>
                  <a:gd name="connsiteY45" fmla="*/ 211431 h 250373"/>
                  <a:gd name="connsiteX46" fmla="*/ 198969 w 247532"/>
                  <a:gd name="connsiteY46" fmla="*/ 217815 h 250373"/>
                  <a:gd name="connsiteX47" fmla="*/ 211110 w 247532"/>
                  <a:gd name="connsiteY47" fmla="*/ 214623 h 250373"/>
                  <a:gd name="connsiteX48" fmla="*/ 227085 w 247532"/>
                  <a:gd name="connsiteY48" fmla="*/ 195471 h 250373"/>
                  <a:gd name="connsiteX49" fmla="*/ 227724 w 247532"/>
                  <a:gd name="connsiteY49" fmla="*/ 182703 h 250373"/>
                  <a:gd name="connsiteX50" fmla="*/ 218778 w 247532"/>
                  <a:gd name="connsiteY50" fmla="*/ 168020 h 250373"/>
                  <a:gd name="connsiteX51" fmla="*/ 224529 w 247532"/>
                  <a:gd name="connsiteY51" fmla="*/ 152060 h 250373"/>
                  <a:gd name="connsiteX52" fmla="*/ 240503 w 247532"/>
                  <a:gd name="connsiteY52" fmla="*/ 146314 h 250373"/>
                  <a:gd name="connsiteX53" fmla="*/ 247532 w 247532"/>
                  <a:gd name="connsiteY53" fmla="*/ 136100 h 250373"/>
                  <a:gd name="connsiteX54" fmla="*/ 247532 w 247532"/>
                  <a:gd name="connsiteY54" fmla="*/ 111202 h 250373"/>
                  <a:gd name="connsiteX55" fmla="*/ 240503 w 247532"/>
                  <a:gd name="connsiteY55" fmla="*/ 102903 h 250373"/>
                  <a:gd name="connsiteX56" fmla="*/ 234752 w 247532"/>
                  <a:gd name="connsiteY56" fmla="*/ 136100 h 250373"/>
                  <a:gd name="connsiteX57" fmla="*/ 216861 w 247532"/>
                  <a:gd name="connsiteY57" fmla="*/ 141845 h 250373"/>
                  <a:gd name="connsiteX58" fmla="*/ 213027 w 247532"/>
                  <a:gd name="connsiteY58" fmla="*/ 145676 h 250373"/>
                  <a:gd name="connsiteX59" fmla="*/ 205359 w 247532"/>
                  <a:gd name="connsiteY59" fmla="*/ 167381 h 250373"/>
                  <a:gd name="connsiteX60" fmla="*/ 205998 w 247532"/>
                  <a:gd name="connsiteY60" fmla="*/ 173127 h 250373"/>
                  <a:gd name="connsiteX61" fmla="*/ 215583 w 247532"/>
                  <a:gd name="connsiteY61" fmla="*/ 189087 h 250373"/>
                  <a:gd name="connsiteX62" fmla="*/ 201525 w 247532"/>
                  <a:gd name="connsiteY62" fmla="*/ 205685 h 250373"/>
                  <a:gd name="connsiteX63" fmla="*/ 184272 w 247532"/>
                  <a:gd name="connsiteY63" fmla="*/ 198663 h 250373"/>
                  <a:gd name="connsiteX64" fmla="*/ 178521 w 247532"/>
                  <a:gd name="connsiteY64" fmla="*/ 199301 h 250373"/>
                  <a:gd name="connsiteX65" fmla="*/ 158712 w 247532"/>
                  <a:gd name="connsiteY65" fmla="*/ 210792 h 250373"/>
                  <a:gd name="connsiteX66" fmla="*/ 155517 w 247532"/>
                  <a:gd name="connsiteY66" fmla="*/ 215261 h 250373"/>
                  <a:gd name="connsiteX67" fmla="*/ 152322 w 247532"/>
                  <a:gd name="connsiteY67" fmla="*/ 233775 h 250373"/>
                  <a:gd name="connsiteX68" fmla="*/ 130596 w 247532"/>
                  <a:gd name="connsiteY68" fmla="*/ 237605 h 250373"/>
                  <a:gd name="connsiteX69" fmla="*/ 121651 w 247532"/>
                  <a:gd name="connsiteY69" fmla="*/ 221007 h 250373"/>
                  <a:gd name="connsiteX70" fmla="*/ 117178 w 247532"/>
                  <a:gd name="connsiteY70" fmla="*/ 217815 h 250373"/>
                  <a:gd name="connsiteX71" fmla="*/ 94174 w 247532"/>
                  <a:gd name="connsiteY71" fmla="*/ 213984 h 250373"/>
                  <a:gd name="connsiteX72" fmla="*/ 92896 w 247532"/>
                  <a:gd name="connsiteY72" fmla="*/ 213984 h 250373"/>
                  <a:gd name="connsiteX73" fmla="*/ 88423 w 247532"/>
                  <a:gd name="connsiteY73" fmla="*/ 215261 h 250373"/>
                  <a:gd name="connsiteX74" fmla="*/ 74365 w 247532"/>
                  <a:gd name="connsiteY74" fmla="*/ 227391 h 250373"/>
                  <a:gd name="connsiteX75" fmla="*/ 55195 w 247532"/>
                  <a:gd name="connsiteY75" fmla="*/ 216538 h 250373"/>
                  <a:gd name="connsiteX76" fmla="*/ 59029 w 247532"/>
                  <a:gd name="connsiteY76" fmla="*/ 198024 h 250373"/>
                  <a:gd name="connsiteX77" fmla="*/ 57751 w 247532"/>
                  <a:gd name="connsiteY77" fmla="*/ 192917 h 250373"/>
                  <a:gd name="connsiteX78" fmla="*/ 43054 w 247532"/>
                  <a:gd name="connsiteY78" fmla="*/ 175042 h 250373"/>
                  <a:gd name="connsiteX79" fmla="*/ 37942 w 247532"/>
                  <a:gd name="connsiteY79" fmla="*/ 172488 h 250373"/>
                  <a:gd name="connsiteX80" fmla="*/ 19412 w 247532"/>
                  <a:gd name="connsiteY80" fmla="*/ 173127 h 250373"/>
                  <a:gd name="connsiteX81" fmla="*/ 12383 w 247532"/>
                  <a:gd name="connsiteY81" fmla="*/ 153337 h 250373"/>
                  <a:gd name="connsiteX82" fmla="*/ 27079 w 247532"/>
                  <a:gd name="connsiteY82" fmla="*/ 141845 h 250373"/>
                  <a:gd name="connsiteX83" fmla="*/ 29635 w 247532"/>
                  <a:gd name="connsiteY83" fmla="*/ 136738 h 250373"/>
                  <a:gd name="connsiteX84" fmla="*/ 29635 w 247532"/>
                  <a:gd name="connsiteY84" fmla="*/ 113756 h 250373"/>
                  <a:gd name="connsiteX85" fmla="*/ 27079 w 247532"/>
                  <a:gd name="connsiteY85" fmla="*/ 108649 h 250373"/>
                  <a:gd name="connsiteX86" fmla="*/ 12383 w 247532"/>
                  <a:gd name="connsiteY86" fmla="*/ 97158 h 250373"/>
                  <a:gd name="connsiteX87" fmla="*/ 20051 w 247532"/>
                  <a:gd name="connsiteY87" fmla="*/ 76729 h 250373"/>
                  <a:gd name="connsiteX88" fmla="*/ 38581 w 247532"/>
                  <a:gd name="connsiteY88" fmla="*/ 77367 h 250373"/>
                  <a:gd name="connsiteX89" fmla="*/ 43693 w 247532"/>
                  <a:gd name="connsiteY89" fmla="*/ 74814 h 250373"/>
                  <a:gd name="connsiteX90" fmla="*/ 58390 w 247532"/>
                  <a:gd name="connsiteY90" fmla="*/ 56939 h 250373"/>
                  <a:gd name="connsiteX91" fmla="*/ 59668 w 247532"/>
                  <a:gd name="connsiteY91" fmla="*/ 51831 h 250373"/>
                  <a:gd name="connsiteX92" fmla="*/ 55834 w 247532"/>
                  <a:gd name="connsiteY92" fmla="*/ 33318 h 250373"/>
                  <a:gd name="connsiteX93" fmla="*/ 75004 w 247532"/>
                  <a:gd name="connsiteY93" fmla="*/ 22465 h 250373"/>
                  <a:gd name="connsiteX94" fmla="*/ 89062 w 247532"/>
                  <a:gd name="connsiteY94" fmla="*/ 34595 h 250373"/>
                  <a:gd name="connsiteX95" fmla="*/ 94174 w 247532"/>
                  <a:gd name="connsiteY95" fmla="*/ 35871 h 250373"/>
                  <a:gd name="connsiteX96" fmla="*/ 117178 w 247532"/>
                  <a:gd name="connsiteY96" fmla="*/ 32041 h 250373"/>
                  <a:gd name="connsiteX97" fmla="*/ 121651 w 247532"/>
                  <a:gd name="connsiteY97" fmla="*/ 28849 h 250373"/>
                  <a:gd name="connsiteX98" fmla="*/ 130596 w 247532"/>
                  <a:gd name="connsiteY98" fmla="*/ 12251 h 250373"/>
                  <a:gd name="connsiteX99" fmla="*/ 152322 w 247532"/>
                  <a:gd name="connsiteY99" fmla="*/ 16081 h 250373"/>
                  <a:gd name="connsiteX100" fmla="*/ 155517 w 247532"/>
                  <a:gd name="connsiteY100" fmla="*/ 34595 h 250373"/>
                  <a:gd name="connsiteX101" fmla="*/ 158712 w 247532"/>
                  <a:gd name="connsiteY101" fmla="*/ 39063 h 250373"/>
                  <a:gd name="connsiteX102" fmla="*/ 178521 w 247532"/>
                  <a:gd name="connsiteY102" fmla="*/ 50555 h 250373"/>
                  <a:gd name="connsiteX103" fmla="*/ 184272 w 247532"/>
                  <a:gd name="connsiteY103" fmla="*/ 51193 h 250373"/>
                  <a:gd name="connsiteX104" fmla="*/ 201525 w 247532"/>
                  <a:gd name="connsiteY104" fmla="*/ 44171 h 250373"/>
                  <a:gd name="connsiteX105" fmla="*/ 215583 w 247532"/>
                  <a:gd name="connsiteY105" fmla="*/ 60769 h 250373"/>
                  <a:gd name="connsiteX106" fmla="*/ 205998 w 247532"/>
                  <a:gd name="connsiteY106" fmla="*/ 76729 h 250373"/>
                  <a:gd name="connsiteX107" fmla="*/ 205359 w 247532"/>
                  <a:gd name="connsiteY107" fmla="*/ 82474 h 250373"/>
                  <a:gd name="connsiteX108" fmla="*/ 213027 w 247532"/>
                  <a:gd name="connsiteY108" fmla="*/ 104180 h 250373"/>
                  <a:gd name="connsiteX109" fmla="*/ 216861 w 247532"/>
                  <a:gd name="connsiteY109" fmla="*/ 108010 h 250373"/>
                  <a:gd name="connsiteX110" fmla="*/ 234752 w 247532"/>
                  <a:gd name="connsiteY110" fmla="*/ 114394 h 250373"/>
                  <a:gd name="connsiteX111" fmla="*/ 234752 w 247532"/>
                  <a:gd name="connsiteY111" fmla="*/ 136100 h 25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247532" h="250373">
                    <a:moveTo>
                      <a:pt x="240503" y="102903"/>
                    </a:moveTo>
                    <a:lnTo>
                      <a:pt x="224529" y="97158"/>
                    </a:lnTo>
                    <a:lnTo>
                      <a:pt x="218778" y="81198"/>
                    </a:lnTo>
                    <a:lnTo>
                      <a:pt x="227724" y="66515"/>
                    </a:lnTo>
                    <a:cubicBezTo>
                      <a:pt x="230280" y="62684"/>
                      <a:pt x="229640" y="57577"/>
                      <a:pt x="227085" y="54385"/>
                    </a:cubicBezTo>
                    <a:lnTo>
                      <a:pt x="211110" y="35233"/>
                    </a:lnTo>
                    <a:cubicBezTo>
                      <a:pt x="207915" y="32041"/>
                      <a:pt x="203442" y="30764"/>
                      <a:pt x="198969" y="32041"/>
                    </a:cubicBezTo>
                    <a:lnTo>
                      <a:pt x="182994" y="38425"/>
                    </a:lnTo>
                    <a:lnTo>
                      <a:pt x="168297" y="30126"/>
                    </a:lnTo>
                    <a:lnTo>
                      <a:pt x="165741" y="13527"/>
                    </a:lnTo>
                    <a:cubicBezTo>
                      <a:pt x="165102" y="9059"/>
                      <a:pt x="161268" y="5228"/>
                      <a:pt x="156795" y="4590"/>
                    </a:cubicBezTo>
                    <a:lnTo>
                      <a:pt x="132513" y="121"/>
                    </a:lnTo>
                    <a:cubicBezTo>
                      <a:pt x="128041" y="-517"/>
                      <a:pt x="123567" y="1398"/>
                      <a:pt x="121012" y="5228"/>
                    </a:cubicBezTo>
                    <a:lnTo>
                      <a:pt x="112705" y="19911"/>
                    </a:lnTo>
                    <a:lnTo>
                      <a:pt x="96091" y="23103"/>
                    </a:lnTo>
                    <a:lnTo>
                      <a:pt x="83311" y="11612"/>
                    </a:lnTo>
                    <a:cubicBezTo>
                      <a:pt x="80116" y="8420"/>
                      <a:pt x="75004" y="8420"/>
                      <a:pt x="71170" y="10335"/>
                    </a:cubicBezTo>
                    <a:lnTo>
                      <a:pt x="49444" y="22465"/>
                    </a:lnTo>
                    <a:cubicBezTo>
                      <a:pt x="45610" y="25019"/>
                      <a:pt x="43693" y="29487"/>
                      <a:pt x="44332" y="33956"/>
                    </a:cubicBezTo>
                    <a:lnTo>
                      <a:pt x="47527" y="50555"/>
                    </a:lnTo>
                    <a:lnTo>
                      <a:pt x="36664" y="63323"/>
                    </a:lnTo>
                    <a:lnTo>
                      <a:pt x="19412" y="63323"/>
                    </a:lnTo>
                    <a:cubicBezTo>
                      <a:pt x="14939" y="63323"/>
                      <a:pt x="10466" y="65876"/>
                      <a:pt x="9188" y="70345"/>
                    </a:cubicBezTo>
                    <a:lnTo>
                      <a:pt x="881" y="93327"/>
                    </a:lnTo>
                    <a:cubicBezTo>
                      <a:pt x="-1036" y="97796"/>
                      <a:pt x="881" y="102265"/>
                      <a:pt x="4076" y="105457"/>
                    </a:cubicBezTo>
                    <a:lnTo>
                      <a:pt x="17495" y="116309"/>
                    </a:lnTo>
                    <a:lnTo>
                      <a:pt x="17495" y="133546"/>
                    </a:lnTo>
                    <a:lnTo>
                      <a:pt x="4076" y="144399"/>
                    </a:lnTo>
                    <a:cubicBezTo>
                      <a:pt x="242" y="146953"/>
                      <a:pt x="-1036" y="152060"/>
                      <a:pt x="881" y="156529"/>
                    </a:cubicBezTo>
                    <a:lnTo>
                      <a:pt x="9188" y="179511"/>
                    </a:lnTo>
                    <a:cubicBezTo>
                      <a:pt x="11105" y="183980"/>
                      <a:pt x="14939" y="186533"/>
                      <a:pt x="19412" y="186533"/>
                    </a:cubicBezTo>
                    <a:lnTo>
                      <a:pt x="36664" y="186533"/>
                    </a:lnTo>
                    <a:lnTo>
                      <a:pt x="47527" y="199301"/>
                    </a:lnTo>
                    <a:lnTo>
                      <a:pt x="44332" y="215899"/>
                    </a:lnTo>
                    <a:cubicBezTo>
                      <a:pt x="43693" y="220368"/>
                      <a:pt x="45610" y="224837"/>
                      <a:pt x="49444" y="227391"/>
                    </a:cubicBezTo>
                    <a:lnTo>
                      <a:pt x="71170" y="239520"/>
                    </a:lnTo>
                    <a:cubicBezTo>
                      <a:pt x="75004" y="242074"/>
                      <a:pt x="80116" y="241435"/>
                      <a:pt x="83311" y="238243"/>
                    </a:cubicBezTo>
                    <a:lnTo>
                      <a:pt x="96091" y="226752"/>
                    </a:lnTo>
                    <a:lnTo>
                      <a:pt x="112705" y="229944"/>
                    </a:lnTo>
                    <a:lnTo>
                      <a:pt x="121012" y="244627"/>
                    </a:lnTo>
                    <a:cubicBezTo>
                      <a:pt x="122928" y="247819"/>
                      <a:pt x="126762" y="250373"/>
                      <a:pt x="130596" y="250373"/>
                    </a:cubicBezTo>
                    <a:lnTo>
                      <a:pt x="132513" y="250373"/>
                    </a:lnTo>
                    <a:lnTo>
                      <a:pt x="156795" y="245904"/>
                    </a:lnTo>
                    <a:cubicBezTo>
                      <a:pt x="161268" y="245266"/>
                      <a:pt x="165102" y="241435"/>
                      <a:pt x="165741" y="236967"/>
                    </a:cubicBezTo>
                    <a:lnTo>
                      <a:pt x="168297" y="219730"/>
                    </a:lnTo>
                    <a:lnTo>
                      <a:pt x="182994" y="211431"/>
                    </a:lnTo>
                    <a:lnTo>
                      <a:pt x="198969" y="217815"/>
                    </a:lnTo>
                    <a:cubicBezTo>
                      <a:pt x="203442" y="219730"/>
                      <a:pt x="207915" y="218453"/>
                      <a:pt x="211110" y="214623"/>
                    </a:cubicBezTo>
                    <a:lnTo>
                      <a:pt x="227085" y="195471"/>
                    </a:lnTo>
                    <a:cubicBezTo>
                      <a:pt x="230280" y="191640"/>
                      <a:pt x="230280" y="186533"/>
                      <a:pt x="227724" y="182703"/>
                    </a:cubicBezTo>
                    <a:lnTo>
                      <a:pt x="218778" y="168020"/>
                    </a:lnTo>
                    <a:lnTo>
                      <a:pt x="224529" y="152060"/>
                    </a:lnTo>
                    <a:lnTo>
                      <a:pt x="240503" y="146314"/>
                    </a:lnTo>
                    <a:cubicBezTo>
                      <a:pt x="244976" y="145037"/>
                      <a:pt x="247532" y="140569"/>
                      <a:pt x="247532" y="136100"/>
                    </a:cubicBezTo>
                    <a:lnTo>
                      <a:pt x="247532" y="111202"/>
                    </a:lnTo>
                    <a:cubicBezTo>
                      <a:pt x="247532" y="108649"/>
                      <a:pt x="244337" y="104180"/>
                      <a:pt x="240503" y="102903"/>
                    </a:cubicBezTo>
                    <a:close/>
                    <a:moveTo>
                      <a:pt x="234752" y="136100"/>
                    </a:moveTo>
                    <a:lnTo>
                      <a:pt x="216861" y="141845"/>
                    </a:lnTo>
                    <a:cubicBezTo>
                      <a:pt x="214944" y="142484"/>
                      <a:pt x="213666" y="143761"/>
                      <a:pt x="213027" y="145676"/>
                    </a:cubicBezTo>
                    <a:lnTo>
                      <a:pt x="205359" y="167381"/>
                    </a:lnTo>
                    <a:cubicBezTo>
                      <a:pt x="204720" y="169296"/>
                      <a:pt x="204720" y="171212"/>
                      <a:pt x="205998" y="173127"/>
                    </a:cubicBezTo>
                    <a:lnTo>
                      <a:pt x="215583" y="189087"/>
                    </a:lnTo>
                    <a:lnTo>
                      <a:pt x="201525" y="205685"/>
                    </a:lnTo>
                    <a:lnTo>
                      <a:pt x="184272" y="198663"/>
                    </a:lnTo>
                    <a:cubicBezTo>
                      <a:pt x="182355" y="198024"/>
                      <a:pt x="180438" y="198024"/>
                      <a:pt x="178521" y="199301"/>
                    </a:cubicBezTo>
                    <a:lnTo>
                      <a:pt x="158712" y="210792"/>
                    </a:lnTo>
                    <a:cubicBezTo>
                      <a:pt x="156795" y="212069"/>
                      <a:pt x="156156" y="213346"/>
                      <a:pt x="155517" y="215261"/>
                    </a:cubicBezTo>
                    <a:lnTo>
                      <a:pt x="152322" y="233775"/>
                    </a:lnTo>
                    <a:lnTo>
                      <a:pt x="130596" y="237605"/>
                    </a:lnTo>
                    <a:lnTo>
                      <a:pt x="121651" y="221007"/>
                    </a:lnTo>
                    <a:cubicBezTo>
                      <a:pt x="121012" y="219091"/>
                      <a:pt x="119095" y="218453"/>
                      <a:pt x="117178" y="217815"/>
                    </a:cubicBezTo>
                    <a:lnTo>
                      <a:pt x="94174" y="213984"/>
                    </a:lnTo>
                    <a:lnTo>
                      <a:pt x="92896" y="213984"/>
                    </a:lnTo>
                    <a:cubicBezTo>
                      <a:pt x="91618" y="213984"/>
                      <a:pt x="89701" y="214623"/>
                      <a:pt x="88423" y="215261"/>
                    </a:cubicBezTo>
                    <a:lnTo>
                      <a:pt x="74365" y="227391"/>
                    </a:lnTo>
                    <a:lnTo>
                      <a:pt x="55195" y="216538"/>
                    </a:lnTo>
                    <a:lnTo>
                      <a:pt x="59029" y="198024"/>
                    </a:lnTo>
                    <a:cubicBezTo>
                      <a:pt x="59668" y="196109"/>
                      <a:pt x="59029" y="194194"/>
                      <a:pt x="57751" y="192917"/>
                    </a:cubicBezTo>
                    <a:lnTo>
                      <a:pt x="43054" y="175042"/>
                    </a:lnTo>
                    <a:cubicBezTo>
                      <a:pt x="41776" y="173765"/>
                      <a:pt x="39859" y="172488"/>
                      <a:pt x="37942" y="172488"/>
                    </a:cubicBezTo>
                    <a:lnTo>
                      <a:pt x="19412" y="173127"/>
                    </a:lnTo>
                    <a:lnTo>
                      <a:pt x="12383" y="153337"/>
                    </a:lnTo>
                    <a:lnTo>
                      <a:pt x="27079" y="141845"/>
                    </a:lnTo>
                    <a:cubicBezTo>
                      <a:pt x="28357" y="140569"/>
                      <a:pt x="29635" y="138653"/>
                      <a:pt x="29635" y="136738"/>
                    </a:cubicBezTo>
                    <a:lnTo>
                      <a:pt x="29635" y="113756"/>
                    </a:lnTo>
                    <a:cubicBezTo>
                      <a:pt x="29635" y="111841"/>
                      <a:pt x="28997" y="109926"/>
                      <a:pt x="27079" y="108649"/>
                    </a:cubicBezTo>
                    <a:lnTo>
                      <a:pt x="12383" y="97158"/>
                    </a:lnTo>
                    <a:lnTo>
                      <a:pt x="20051" y="76729"/>
                    </a:lnTo>
                    <a:lnTo>
                      <a:pt x="38581" y="77367"/>
                    </a:lnTo>
                    <a:cubicBezTo>
                      <a:pt x="40498" y="77367"/>
                      <a:pt x="42415" y="76729"/>
                      <a:pt x="43693" y="74814"/>
                    </a:cubicBezTo>
                    <a:lnTo>
                      <a:pt x="58390" y="56939"/>
                    </a:lnTo>
                    <a:cubicBezTo>
                      <a:pt x="59668" y="55662"/>
                      <a:pt x="60307" y="53747"/>
                      <a:pt x="59668" y="51831"/>
                    </a:cubicBezTo>
                    <a:lnTo>
                      <a:pt x="55834" y="33318"/>
                    </a:lnTo>
                    <a:lnTo>
                      <a:pt x="75004" y="22465"/>
                    </a:lnTo>
                    <a:lnTo>
                      <a:pt x="89062" y="34595"/>
                    </a:lnTo>
                    <a:cubicBezTo>
                      <a:pt x="90340" y="35871"/>
                      <a:pt x="92257" y="36510"/>
                      <a:pt x="94174" y="35871"/>
                    </a:cubicBezTo>
                    <a:lnTo>
                      <a:pt x="117178" y="32041"/>
                    </a:lnTo>
                    <a:cubicBezTo>
                      <a:pt x="119095" y="31403"/>
                      <a:pt x="121012" y="30764"/>
                      <a:pt x="121651" y="28849"/>
                    </a:cubicBezTo>
                    <a:lnTo>
                      <a:pt x="130596" y="12251"/>
                    </a:lnTo>
                    <a:lnTo>
                      <a:pt x="152322" y="16081"/>
                    </a:lnTo>
                    <a:lnTo>
                      <a:pt x="155517" y="34595"/>
                    </a:lnTo>
                    <a:cubicBezTo>
                      <a:pt x="155517" y="36510"/>
                      <a:pt x="156795" y="38425"/>
                      <a:pt x="158712" y="39063"/>
                    </a:cubicBezTo>
                    <a:lnTo>
                      <a:pt x="178521" y="50555"/>
                    </a:lnTo>
                    <a:cubicBezTo>
                      <a:pt x="180438" y="51831"/>
                      <a:pt x="182355" y="51831"/>
                      <a:pt x="184272" y="51193"/>
                    </a:cubicBezTo>
                    <a:lnTo>
                      <a:pt x="201525" y="44171"/>
                    </a:lnTo>
                    <a:lnTo>
                      <a:pt x="215583" y="60769"/>
                    </a:lnTo>
                    <a:lnTo>
                      <a:pt x="205998" y="76729"/>
                    </a:lnTo>
                    <a:cubicBezTo>
                      <a:pt x="204720" y="78644"/>
                      <a:pt x="204720" y="80559"/>
                      <a:pt x="205359" y="82474"/>
                    </a:cubicBezTo>
                    <a:lnTo>
                      <a:pt x="213027" y="104180"/>
                    </a:lnTo>
                    <a:cubicBezTo>
                      <a:pt x="213666" y="106095"/>
                      <a:pt x="214944" y="107372"/>
                      <a:pt x="216861" y="108010"/>
                    </a:cubicBezTo>
                    <a:lnTo>
                      <a:pt x="234752" y="114394"/>
                    </a:lnTo>
                    <a:lnTo>
                      <a:pt x="234752" y="136100"/>
                    </a:lnTo>
                    <a:close/>
                  </a:path>
                </a:pathLst>
              </a:custGeom>
              <a:grpFill/>
              <a:ln w="6390" cap="flat">
                <a:noFill/>
                <a:prstDash val="solid"/>
                <a:miter/>
              </a:ln>
            </p:spPr>
            <p:txBody>
              <a:bodyPr rtlCol="0" anchor="ctr"/>
              <a:lstStyle/>
              <a:p>
                <a:endParaRPr lang="en-US"/>
              </a:p>
            </p:txBody>
          </p:sp>
        </p:grpSp>
        <p:grpSp>
          <p:nvGrpSpPr>
            <p:cNvPr id="1158" name="Graphic 4">
              <a:extLst>
                <a:ext uri="{FF2B5EF4-FFF2-40B4-BE49-F238E27FC236}">
                  <a16:creationId xmlns:a16="http://schemas.microsoft.com/office/drawing/2014/main" id="{DDFE9040-3C10-944C-F9E6-6FD3308C2DBF}"/>
                </a:ext>
              </a:extLst>
            </p:cNvPr>
            <p:cNvGrpSpPr>
              <a:grpSpLocks noChangeAspect="1"/>
            </p:cNvGrpSpPr>
            <p:nvPr/>
          </p:nvGrpSpPr>
          <p:grpSpPr>
            <a:xfrm>
              <a:off x="4632860" y="2378903"/>
              <a:ext cx="300577" cy="276970"/>
              <a:chOff x="540588" y="999894"/>
              <a:chExt cx="215463" cy="198541"/>
            </a:xfrm>
            <a:solidFill>
              <a:schemeClr val="bg1"/>
            </a:solidFill>
          </p:grpSpPr>
          <p:sp>
            <p:nvSpPr>
              <p:cNvPr id="1159" name="Graphic 4">
                <a:extLst>
                  <a:ext uri="{FF2B5EF4-FFF2-40B4-BE49-F238E27FC236}">
                    <a16:creationId xmlns:a16="http://schemas.microsoft.com/office/drawing/2014/main" id="{2B687BF2-9FEA-B961-0443-3295DFF84565}"/>
                  </a:ext>
                </a:extLst>
              </p:cNvPr>
              <p:cNvSpPr/>
              <p:nvPr/>
            </p:nvSpPr>
            <p:spPr>
              <a:xfrm>
                <a:off x="540588" y="999894"/>
                <a:ext cx="215463" cy="198541"/>
              </a:xfrm>
              <a:custGeom>
                <a:avLst/>
                <a:gdLst>
                  <a:gd name="connsiteX0" fmla="*/ 201283 w 215463"/>
                  <a:gd name="connsiteY0" fmla="*/ 0 h 198541"/>
                  <a:gd name="connsiteX1" fmla="*/ 76040 w 215463"/>
                  <a:gd name="connsiteY1" fmla="*/ 0 h 198541"/>
                  <a:gd name="connsiteX2" fmla="*/ 62621 w 215463"/>
                  <a:gd name="connsiteY2" fmla="*/ 14683 h 198541"/>
                  <a:gd name="connsiteX3" fmla="*/ 62621 w 215463"/>
                  <a:gd name="connsiteY3" fmla="*/ 74054 h 198541"/>
                  <a:gd name="connsiteX4" fmla="*/ 13419 w 215463"/>
                  <a:gd name="connsiteY4" fmla="*/ 74054 h 198541"/>
                  <a:gd name="connsiteX5" fmla="*/ 1278 w 215463"/>
                  <a:gd name="connsiteY5" fmla="*/ 87461 h 198541"/>
                  <a:gd name="connsiteX6" fmla="*/ 0 w 215463"/>
                  <a:gd name="connsiteY6" fmla="*/ 158323 h 198541"/>
                  <a:gd name="connsiteX7" fmla="*/ 4473 w 215463"/>
                  <a:gd name="connsiteY7" fmla="*/ 169814 h 198541"/>
                  <a:gd name="connsiteX8" fmla="*/ 13419 w 215463"/>
                  <a:gd name="connsiteY8" fmla="*/ 173644 h 198541"/>
                  <a:gd name="connsiteX9" fmla="*/ 13419 w 215463"/>
                  <a:gd name="connsiteY9" fmla="*/ 173644 h 198541"/>
                  <a:gd name="connsiteX10" fmla="*/ 27477 w 215463"/>
                  <a:gd name="connsiteY10" fmla="*/ 173644 h 198541"/>
                  <a:gd name="connsiteX11" fmla="*/ 39618 w 215463"/>
                  <a:gd name="connsiteY11" fmla="*/ 195350 h 198541"/>
                  <a:gd name="connsiteX12" fmla="*/ 40257 w 215463"/>
                  <a:gd name="connsiteY12" fmla="*/ 195988 h 198541"/>
                  <a:gd name="connsiteX13" fmla="*/ 40896 w 215463"/>
                  <a:gd name="connsiteY13" fmla="*/ 196627 h 198541"/>
                  <a:gd name="connsiteX14" fmla="*/ 42174 w 215463"/>
                  <a:gd name="connsiteY14" fmla="*/ 197265 h 198541"/>
                  <a:gd name="connsiteX15" fmla="*/ 42813 w 215463"/>
                  <a:gd name="connsiteY15" fmla="*/ 197903 h 198541"/>
                  <a:gd name="connsiteX16" fmla="*/ 44730 w 215463"/>
                  <a:gd name="connsiteY16" fmla="*/ 198542 h 198541"/>
                  <a:gd name="connsiteX17" fmla="*/ 44730 w 215463"/>
                  <a:gd name="connsiteY17" fmla="*/ 198542 h 198541"/>
                  <a:gd name="connsiteX18" fmla="*/ 46008 w 215463"/>
                  <a:gd name="connsiteY18" fmla="*/ 198542 h 198541"/>
                  <a:gd name="connsiteX19" fmla="*/ 47925 w 215463"/>
                  <a:gd name="connsiteY19" fmla="*/ 198542 h 198541"/>
                  <a:gd name="connsiteX20" fmla="*/ 48564 w 215463"/>
                  <a:gd name="connsiteY20" fmla="*/ 198542 h 198541"/>
                  <a:gd name="connsiteX21" fmla="*/ 49203 w 215463"/>
                  <a:gd name="connsiteY21" fmla="*/ 198542 h 198541"/>
                  <a:gd name="connsiteX22" fmla="*/ 49203 w 215463"/>
                  <a:gd name="connsiteY22" fmla="*/ 198542 h 198541"/>
                  <a:gd name="connsiteX23" fmla="*/ 50481 w 215463"/>
                  <a:gd name="connsiteY23" fmla="*/ 197265 h 198541"/>
                  <a:gd name="connsiteX24" fmla="*/ 51119 w 215463"/>
                  <a:gd name="connsiteY24" fmla="*/ 196627 h 198541"/>
                  <a:gd name="connsiteX25" fmla="*/ 51758 w 215463"/>
                  <a:gd name="connsiteY25" fmla="*/ 195350 h 198541"/>
                  <a:gd name="connsiteX26" fmla="*/ 51758 w 215463"/>
                  <a:gd name="connsiteY26" fmla="*/ 194711 h 198541"/>
                  <a:gd name="connsiteX27" fmla="*/ 51758 w 215463"/>
                  <a:gd name="connsiteY27" fmla="*/ 194711 h 198541"/>
                  <a:gd name="connsiteX28" fmla="*/ 56231 w 215463"/>
                  <a:gd name="connsiteY28" fmla="*/ 176198 h 198541"/>
                  <a:gd name="connsiteX29" fmla="*/ 125882 w 215463"/>
                  <a:gd name="connsiteY29" fmla="*/ 176198 h 198541"/>
                  <a:gd name="connsiteX30" fmla="*/ 138023 w 215463"/>
                  <a:gd name="connsiteY30" fmla="*/ 162792 h 198541"/>
                  <a:gd name="connsiteX31" fmla="*/ 138023 w 215463"/>
                  <a:gd name="connsiteY31" fmla="*/ 112996 h 198541"/>
                  <a:gd name="connsiteX32" fmla="*/ 153997 w 215463"/>
                  <a:gd name="connsiteY32" fmla="*/ 112996 h 198541"/>
                  <a:gd name="connsiteX33" fmla="*/ 159109 w 215463"/>
                  <a:gd name="connsiteY33" fmla="*/ 134064 h 198541"/>
                  <a:gd name="connsiteX34" fmla="*/ 159109 w 215463"/>
                  <a:gd name="connsiteY34" fmla="*/ 134064 h 198541"/>
                  <a:gd name="connsiteX35" fmla="*/ 159109 w 215463"/>
                  <a:gd name="connsiteY35" fmla="*/ 134702 h 198541"/>
                  <a:gd name="connsiteX36" fmla="*/ 159748 w 215463"/>
                  <a:gd name="connsiteY36" fmla="*/ 135979 h 198541"/>
                  <a:gd name="connsiteX37" fmla="*/ 160387 w 215463"/>
                  <a:gd name="connsiteY37" fmla="*/ 136617 h 198541"/>
                  <a:gd name="connsiteX38" fmla="*/ 161665 w 215463"/>
                  <a:gd name="connsiteY38" fmla="*/ 137894 h 198541"/>
                  <a:gd name="connsiteX39" fmla="*/ 161665 w 215463"/>
                  <a:gd name="connsiteY39" fmla="*/ 137894 h 198541"/>
                  <a:gd name="connsiteX40" fmla="*/ 162304 w 215463"/>
                  <a:gd name="connsiteY40" fmla="*/ 137894 h 198541"/>
                  <a:gd name="connsiteX41" fmla="*/ 162943 w 215463"/>
                  <a:gd name="connsiteY41" fmla="*/ 137894 h 198541"/>
                  <a:gd name="connsiteX42" fmla="*/ 164860 w 215463"/>
                  <a:gd name="connsiteY42" fmla="*/ 137894 h 198541"/>
                  <a:gd name="connsiteX43" fmla="*/ 166138 w 215463"/>
                  <a:gd name="connsiteY43" fmla="*/ 137894 h 198541"/>
                  <a:gd name="connsiteX44" fmla="*/ 166138 w 215463"/>
                  <a:gd name="connsiteY44" fmla="*/ 137894 h 198541"/>
                  <a:gd name="connsiteX45" fmla="*/ 168055 w 215463"/>
                  <a:gd name="connsiteY45" fmla="*/ 137256 h 198541"/>
                  <a:gd name="connsiteX46" fmla="*/ 168694 w 215463"/>
                  <a:gd name="connsiteY46" fmla="*/ 136617 h 198541"/>
                  <a:gd name="connsiteX47" fmla="*/ 169972 w 215463"/>
                  <a:gd name="connsiteY47" fmla="*/ 135979 h 198541"/>
                  <a:gd name="connsiteX48" fmla="*/ 170611 w 215463"/>
                  <a:gd name="connsiteY48" fmla="*/ 135340 h 198541"/>
                  <a:gd name="connsiteX49" fmla="*/ 171250 w 215463"/>
                  <a:gd name="connsiteY49" fmla="*/ 134702 h 198541"/>
                  <a:gd name="connsiteX50" fmla="*/ 185308 w 215463"/>
                  <a:gd name="connsiteY50" fmla="*/ 109804 h 198541"/>
                  <a:gd name="connsiteX51" fmla="*/ 201283 w 215463"/>
                  <a:gd name="connsiteY51" fmla="*/ 109804 h 198541"/>
                  <a:gd name="connsiteX52" fmla="*/ 210868 w 215463"/>
                  <a:gd name="connsiteY52" fmla="*/ 105974 h 198541"/>
                  <a:gd name="connsiteX53" fmla="*/ 215341 w 215463"/>
                  <a:gd name="connsiteY53" fmla="*/ 93845 h 198541"/>
                  <a:gd name="connsiteX54" fmla="*/ 214063 w 215463"/>
                  <a:gd name="connsiteY54" fmla="*/ 15322 h 198541"/>
                  <a:gd name="connsiteX55" fmla="*/ 201283 w 215463"/>
                  <a:gd name="connsiteY55" fmla="*/ 0 h 198541"/>
                  <a:gd name="connsiteX56" fmla="*/ 125882 w 215463"/>
                  <a:gd name="connsiteY56" fmla="*/ 161515 h 198541"/>
                  <a:gd name="connsiteX57" fmla="*/ 125882 w 215463"/>
                  <a:gd name="connsiteY57" fmla="*/ 162153 h 198541"/>
                  <a:gd name="connsiteX58" fmla="*/ 52398 w 215463"/>
                  <a:gd name="connsiteY58" fmla="*/ 162153 h 198541"/>
                  <a:gd name="connsiteX59" fmla="*/ 51758 w 215463"/>
                  <a:gd name="connsiteY59" fmla="*/ 162153 h 198541"/>
                  <a:gd name="connsiteX60" fmla="*/ 45369 w 215463"/>
                  <a:gd name="connsiteY60" fmla="*/ 166622 h 198541"/>
                  <a:gd name="connsiteX61" fmla="*/ 43452 w 215463"/>
                  <a:gd name="connsiteY61" fmla="*/ 174283 h 198541"/>
                  <a:gd name="connsiteX62" fmla="*/ 37062 w 215463"/>
                  <a:gd name="connsiteY62" fmla="*/ 163430 h 198541"/>
                  <a:gd name="connsiteX63" fmla="*/ 36423 w 215463"/>
                  <a:gd name="connsiteY63" fmla="*/ 162792 h 198541"/>
                  <a:gd name="connsiteX64" fmla="*/ 35784 w 215463"/>
                  <a:gd name="connsiteY64" fmla="*/ 161515 h 198541"/>
                  <a:gd name="connsiteX65" fmla="*/ 34506 w 215463"/>
                  <a:gd name="connsiteY65" fmla="*/ 160876 h 198541"/>
                  <a:gd name="connsiteX66" fmla="*/ 33228 w 215463"/>
                  <a:gd name="connsiteY66" fmla="*/ 160238 h 198541"/>
                  <a:gd name="connsiteX67" fmla="*/ 31950 w 215463"/>
                  <a:gd name="connsiteY67" fmla="*/ 160238 h 198541"/>
                  <a:gd name="connsiteX68" fmla="*/ 31311 w 215463"/>
                  <a:gd name="connsiteY68" fmla="*/ 160238 h 198541"/>
                  <a:gd name="connsiteX69" fmla="*/ 14058 w 215463"/>
                  <a:gd name="connsiteY69" fmla="*/ 160876 h 198541"/>
                  <a:gd name="connsiteX70" fmla="*/ 13419 w 215463"/>
                  <a:gd name="connsiteY70" fmla="*/ 158323 h 198541"/>
                  <a:gd name="connsiteX71" fmla="*/ 14697 w 215463"/>
                  <a:gd name="connsiteY71" fmla="*/ 87461 h 198541"/>
                  <a:gd name="connsiteX72" fmla="*/ 14697 w 215463"/>
                  <a:gd name="connsiteY72" fmla="*/ 86822 h 198541"/>
                  <a:gd name="connsiteX73" fmla="*/ 63260 w 215463"/>
                  <a:gd name="connsiteY73" fmla="*/ 86822 h 198541"/>
                  <a:gd name="connsiteX74" fmla="*/ 63260 w 215463"/>
                  <a:gd name="connsiteY74" fmla="*/ 97037 h 198541"/>
                  <a:gd name="connsiteX75" fmla="*/ 76679 w 215463"/>
                  <a:gd name="connsiteY75" fmla="*/ 111720 h 198541"/>
                  <a:gd name="connsiteX76" fmla="*/ 126521 w 215463"/>
                  <a:gd name="connsiteY76" fmla="*/ 111720 h 198541"/>
                  <a:gd name="connsiteX77" fmla="*/ 126521 w 215463"/>
                  <a:gd name="connsiteY77" fmla="*/ 161515 h 198541"/>
                  <a:gd name="connsiteX78" fmla="*/ 201283 w 215463"/>
                  <a:gd name="connsiteY78" fmla="*/ 96398 h 198541"/>
                  <a:gd name="connsiteX79" fmla="*/ 181474 w 215463"/>
                  <a:gd name="connsiteY79" fmla="*/ 95760 h 198541"/>
                  <a:gd name="connsiteX80" fmla="*/ 180835 w 215463"/>
                  <a:gd name="connsiteY80" fmla="*/ 95760 h 198541"/>
                  <a:gd name="connsiteX81" fmla="*/ 178918 w 215463"/>
                  <a:gd name="connsiteY81" fmla="*/ 96398 h 198541"/>
                  <a:gd name="connsiteX82" fmla="*/ 178279 w 215463"/>
                  <a:gd name="connsiteY82" fmla="*/ 96398 h 198541"/>
                  <a:gd name="connsiteX83" fmla="*/ 177001 w 215463"/>
                  <a:gd name="connsiteY83" fmla="*/ 97037 h 198541"/>
                  <a:gd name="connsiteX84" fmla="*/ 176362 w 215463"/>
                  <a:gd name="connsiteY84" fmla="*/ 97675 h 198541"/>
                  <a:gd name="connsiteX85" fmla="*/ 175723 w 215463"/>
                  <a:gd name="connsiteY85" fmla="*/ 98313 h 198541"/>
                  <a:gd name="connsiteX86" fmla="*/ 168055 w 215463"/>
                  <a:gd name="connsiteY86" fmla="*/ 112358 h 198541"/>
                  <a:gd name="connsiteX87" fmla="*/ 165499 w 215463"/>
                  <a:gd name="connsiteY87" fmla="*/ 102144 h 198541"/>
                  <a:gd name="connsiteX88" fmla="*/ 159109 w 215463"/>
                  <a:gd name="connsiteY88" fmla="*/ 97675 h 198541"/>
                  <a:gd name="connsiteX89" fmla="*/ 158470 w 215463"/>
                  <a:gd name="connsiteY89" fmla="*/ 97675 h 198541"/>
                  <a:gd name="connsiteX90" fmla="*/ 132272 w 215463"/>
                  <a:gd name="connsiteY90" fmla="*/ 97675 h 198541"/>
                  <a:gd name="connsiteX91" fmla="*/ 132272 w 215463"/>
                  <a:gd name="connsiteY91" fmla="*/ 97675 h 198541"/>
                  <a:gd name="connsiteX92" fmla="*/ 132272 w 215463"/>
                  <a:gd name="connsiteY92" fmla="*/ 97675 h 198541"/>
                  <a:gd name="connsiteX93" fmla="*/ 76679 w 215463"/>
                  <a:gd name="connsiteY93" fmla="*/ 97675 h 198541"/>
                  <a:gd name="connsiteX94" fmla="*/ 76040 w 215463"/>
                  <a:gd name="connsiteY94" fmla="*/ 95760 h 198541"/>
                  <a:gd name="connsiteX95" fmla="*/ 76040 w 215463"/>
                  <a:gd name="connsiteY95" fmla="*/ 13406 h 198541"/>
                  <a:gd name="connsiteX96" fmla="*/ 76679 w 215463"/>
                  <a:gd name="connsiteY96" fmla="*/ 11491 h 198541"/>
                  <a:gd name="connsiteX97" fmla="*/ 201922 w 215463"/>
                  <a:gd name="connsiteY97" fmla="*/ 11491 h 198541"/>
                  <a:gd name="connsiteX98" fmla="*/ 202561 w 215463"/>
                  <a:gd name="connsiteY98" fmla="*/ 13406 h 198541"/>
                  <a:gd name="connsiteX99" fmla="*/ 203839 w 215463"/>
                  <a:gd name="connsiteY99" fmla="*/ 91929 h 198541"/>
                  <a:gd name="connsiteX100" fmla="*/ 201283 w 215463"/>
                  <a:gd name="connsiteY100" fmla="*/ 96398 h 19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15463" h="198541">
                    <a:moveTo>
                      <a:pt x="201283" y="0"/>
                    </a:moveTo>
                    <a:lnTo>
                      <a:pt x="76040" y="0"/>
                    </a:lnTo>
                    <a:cubicBezTo>
                      <a:pt x="69011" y="0"/>
                      <a:pt x="62621" y="6384"/>
                      <a:pt x="62621" y="14683"/>
                    </a:cubicBezTo>
                    <a:lnTo>
                      <a:pt x="62621" y="74054"/>
                    </a:lnTo>
                    <a:lnTo>
                      <a:pt x="13419" y="74054"/>
                    </a:lnTo>
                    <a:cubicBezTo>
                      <a:pt x="6390" y="74054"/>
                      <a:pt x="1278" y="80438"/>
                      <a:pt x="1278" y="87461"/>
                    </a:cubicBezTo>
                    <a:lnTo>
                      <a:pt x="0" y="158323"/>
                    </a:lnTo>
                    <a:cubicBezTo>
                      <a:pt x="0" y="162792"/>
                      <a:pt x="1278" y="166622"/>
                      <a:pt x="4473" y="169814"/>
                    </a:cubicBezTo>
                    <a:cubicBezTo>
                      <a:pt x="7029" y="172368"/>
                      <a:pt x="10224" y="173644"/>
                      <a:pt x="13419" y="173644"/>
                    </a:cubicBezTo>
                    <a:cubicBezTo>
                      <a:pt x="13419" y="173644"/>
                      <a:pt x="13419" y="173644"/>
                      <a:pt x="13419" y="173644"/>
                    </a:cubicBezTo>
                    <a:lnTo>
                      <a:pt x="27477" y="173644"/>
                    </a:lnTo>
                    <a:lnTo>
                      <a:pt x="39618" y="195350"/>
                    </a:lnTo>
                    <a:cubicBezTo>
                      <a:pt x="39618" y="195350"/>
                      <a:pt x="39618" y="195350"/>
                      <a:pt x="40257" y="195988"/>
                    </a:cubicBezTo>
                    <a:cubicBezTo>
                      <a:pt x="40257" y="195988"/>
                      <a:pt x="40257" y="196627"/>
                      <a:pt x="40896" y="196627"/>
                    </a:cubicBezTo>
                    <a:cubicBezTo>
                      <a:pt x="40896" y="197265"/>
                      <a:pt x="41535" y="197265"/>
                      <a:pt x="42174" y="197265"/>
                    </a:cubicBezTo>
                    <a:cubicBezTo>
                      <a:pt x="42174" y="197265"/>
                      <a:pt x="42174" y="197265"/>
                      <a:pt x="42813" y="197903"/>
                    </a:cubicBezTo>
                    <a:cubicBezTo>
                      <a:pt x="43452" y="198542"/>
                      <a:pt x="44091" y="198542"/>
                      <a:pt x="44730" y="198542"/>
                    </a:cubicBezTo>
                    <a:cubicBezTo>
                      <a:pt x="44730" y="198542"/>
                      <a:pt x="44730" y="198542"/>
                      <a:pt x="44730" y="198542"/>
                    </a:cubicBezTo>
                    <a:cubicBezTo>
                      <a:pt x="45369" y="198542"/>
                      <a:pt x="46008" y="198542"/>
                      <a:pt x="46008" y="198542"/>
                    </a:cubicBezTo>
                    <a:cubicBezTo>
                      <a:pt x="46647" y="198542"/>
                      <a:pt x="47286" y="198542"/>
                      <a:pt x="47925" y="198542"/>
                    </a:cubicBezTo>
                    <a:cubicBezTo>
                      <a:pt x="47925" y="198542"/>
                      <a:pt x="48564" y="198542"/>
                      <a:pt x="48564" y="198542"/>
                    </a:cubicBezTo>
                    <a:cubicBezTo>
                      <a:pt x="48564" y="198542"/>
                      <a:pt x="49203" y="198542"/>
                      <a:pt x="49203" y="198542"/>
                    </a:cubicBezTo>
                    <a:cubicBezTo>
                      <a:pt x="49203" y="198542"/>
                      <a:pt x="49203" y="198542"/>
                      <a:pt x="49203" y="198542"/>
                    </a:cubicBezTo>
                    <a:cubicBezTo>
                      <a:pt x="49842" y="198542"/>
                      <a:pt x="49842" y="197903"/>
                      <a:pt x="50481" y="197265"/>
                    </a:cubicBezTo>
                    <a:cubicBezTo>
                      <a:pt x="50481" y="197265"/>
                      <a:pt x="51119" y="196627"/>
                      <a:pt x="51119" y="196627"/>
                    </a:cubicBezTo>
                    <a:cubicBezTo>
                      <a:pt x="51119" y="195988"/>
                      <a:pt x="51758" y="195988"/>
                      <a:pt x="51758" y="195350"/>
                    </a:cubicBezTo>
                    <a:cubicBezTo>
                      <a:pt x="51758" y="195350"/>
                      <a:pt x="51758" y="194711"/>
                      <a:pt x="51758" y="194711"/>
                    </a:cubicBezTo>
                    <a:cubicBezTo>
                      <a:pt x="51758" y="194711"/>
                      <a:pt x="51758" y="194711"/>
                      <a:pt x="51758" y="194711"/>
                    </a:cubicBezTo>
                    <a:lnTo>
                      <a:pt x="56231" y="176198"/>
                    </a:lnTo>
                    <a:lnTo>
                      <a:pt x="125882" y="176198"/>
                    </a:lnTo>
                    <a:cubicBezTo>
                      <a:pt x="132911" y="176198"/>
                      <a:pt x="138023" y="169814"/>
                      <a:pt x="138023" y="162792"/>
                    </a:cubicBezTo>
                    <a:lnTo>
                      <a:pt x="138023" y="112996"/>
                    </a:lnTo>
                    <a:lnTo>
                      <a:pt x="153997" y="112996"/>
                    </a:lnTo>
                    <a:lnTo>
                      <a:pt x="159109" y="134064"/>
                    </a:lnTo>
                    <a:cubicBezTo>
                      <a:pt x="159109" y="134064"/>
                      <a:pt x="159109" y="134064"/>
                      <a:pt x="159109" y="134064"/>
                    </a:cubicBezTo>
                    <a:cubicBezTo>
                      <a:pt x="159109" y="134064"/>
                      <a:pt x="159109" y="134702"/>
                      <a:pt x="159109" y="134702"/>
                    </a:cubicBezTo>
                    <a:cubicBezTo>
                      <a:pt x="159109" y="135340"/>
                      <a:pt x="159748" y="135979"/>
                      <a:pt x="159748" y="135979"/>
                    </a:cubicBezTo>
                    <a:cubicBezTo>
                      <a:pt x="159748" y="135979"/>
                      <a:pt x="160387" y="136617"/>
                      <a:pt x="160387" y="136617"/>
                    </a:cubicBezTo>
                    <a:cubicBezTo>
                      <a:pt x="161026" y="137256"/>
                      <a:pt x="161026" y="137256"/>
                      <a:pt x="161665" y="137894"/>
                    </a:cubicBezTo>
                    <a:cubicBezTo>
                      <a:pt x="161665" y="137894"/>
                      <a:pt x="161665" y="137894"/>
                      <a:pt x="161665" y="137894"/>
                    </a:cubicBezTo>
                    <a:cubicBezTo>
                      <a:pt x="161665" y="137894"/>
                      <a:pt x="162304" y="137894"/>
                      <a:pt x="162304" y="137894"/>
                    </a:cubicBezTo>
                    <a:cubicBezTo>
                      <a:pt x="162304" y="137894"/>
                      <a:pt x="162943" y="137894"/>
                      <a:pt x="162943" y="137894"/>
                    </a:cubicBezTo>
                    <a:cubicBezTo>
                      <a:pt x="163582" y="137894"/>
                      <a:pt x="164221" y="137894"/>
                      <a:pt x="164860" y="137894"/>
                    </a:cubicBezTo>
                    <a:cubicBezTo>
                      <a:pt x="165499" y="137894"/>
                      <a:pt x="166138" y="137894"/>
                      <a:pt x="166138" y="137894"/>
                    </a:cubicBezTo>
                    <a:cubicBezTo>
                      <a:pt x="166138" y="137894"/>
                      <a:pt x="166138" y="137894"/>
                      <a:pt x="166138" y="137894"/>
                    </a:cubicBezTo>
                    <a:cubicBezTo>
                      <a:pt x="166777" y="137894"/>
                      <a:pt x="167416" y="137256"/>
                      <a:pt x="168055" y="137256"/>
                    </a:cubicBezTo>
                    <a:cubicBezTo>
                      <a:pt x="168055" y="137256"/>
                      <a:pt x="168055" y="137256"/>
                      <a:pt x="168694" y="136617"/>
                    </a:cubicBezTo>
                    <a:cubicBezTo>
                      <a:pt x="169333" y="136617"/>
                      <a:pt x="169333" y="135979"/>
                      <a:pt x="169972" y="135979"/>
                    </a:cubicBezTo>
                    <a:cubicBezTo>
                      <a:pt x="169972" y="135979"/>
                      <a:pt x="169972" y="135340"/>
                      <a:pt x="170611" y="135340"/>
                    </a:cubicBezTo>
                    <a:cubicBezTo>
                      <a:pt x="170611" y="135340"/>
                      <a:pt x="170611" y="135340"/>
                      <a:pt x="171250" y="134702"/>
                    </a:cubicBezTo>
                    <a:lnTo>
                      <a:pt x="185308" y="109804"/>
                    </a:lnTo>
                    <a:lnTo>
                      <a:pt x="201283" y="109804"/>
                    </a:lnTo>
                    <a:cubicBezTo>
                      <a:pt x="205117" y="109804"/>
                      <a:pt x="208312" y="108528"/>
                      <a:pt x="210868" y="105974"/>
                    </a:cubicBezTo>
                    <a:cubicBezTo>
                      <a:pt x="214063" y="102782"/>
                      <a:pt x="215980" y="98313"/>
                      <a:pt x="215341" y="93845"/>
                    </a:cubicBezTo>
                    <a:lnTo>
                      <a:pt x="214063" y="15322"/>
                    </a:lnTo>
                    <a:cubicBezTo>
                      <a:pt x="214702" y="6384"/>
                      <a:pt x="208951" y="0"/>
                      <a:pt x="201283" y="0"/>
                    </a:cubicBezTo>
                    <a:close/>
                    <a:moveTo>
                      <a:pt x="125882" y="161515"/>
                    </a:moveTo>
                    <a:cubicBezTo>
                      <a:pt x="125882" y="162153"/>
                      <a:pt x="125882" y="162153"/>
                      <a:pt x="125882" y="162153"/>
                    </a:cubicBezTo>
                    <a:lnTo>
                      <a:pt x="52398" y="162153"/>
                    </a:lnTo>
                    <a:cubicBezTo>
                      <a:pt x="52398" y="162153"/>
                      <a:pt x="51758" y="162153"/>
                      <a:pt x="51758" y="162153"/>
                    </a:cubicBezTo>
                    <a:cubicBezTo>
                      <a:pt x="48564" y="162153"/>
                      <a:pt x="46008" y="164068"/>
                      <a:pt x="45369" y="166622"/>
                    </a:cubicBezTo>
                    <a:lnTo>
                      <a:pt x="43452" y="174283"/>
                    </a:lnTo>
                    <a:lnTo>
                      <a:pt x="37062" y="163430"/>
                    </a:lnTo>
                    <a:cubicBezTo>
                      <a:pt x="37062" y="163430"/>
                      <a:pt x="36423" y="162792"/>
                      <a:pt x="36423" y="162792"/>
                    </a:cubicBezTo>
                    <a:cubicBezTo>
                      <a:pt x="36423" y="162153"/>
                      <a:pt x="35784" y="162153"/>
                      <a:pt x="35784" y="161515"/>
                    </a:cubicBezTo>
                    <a:cubicBezTo>
                      <a:pt x="35784" y="161515"/>
                      <a:pt x="35145" y="160876"/>
                      <a:pt x="34506" y="160876"/>
                    </a:cubicBezTo>
                    <a:cubicBezTo>
                      <a:pt x="33867" y="160876"/>
                      <a:pt x="33867" y="160238"/>
                      <a:pt x="33228" y="160238"/>
                    </a:cubicBezTo>
                    <a:cubicBezTo>
                      <a:pt x="32589" y="160238"/>
                      <a:pt x="32589" y="160238"/>
                      <a:pt x="31950" y="160238"/>
                    </a:cubicBezTo>
                    <a:cubicBezTo>
                      <a:pt x="31950" y="160238"/>
                      <a:pt x="31311" y="160238"/>
                      <a:pt x="31311" y="160238"/>
                    </a:cubicBezTo>
                    <a:lnTo>
                      <a:pt x="14058" y="160876"/>
                    </a:lnTo>
                    <a:cubicBezTo>
                      <a:pt x="14058" y="160876"/>
                      <a:pt x="13419" y="160238"/>
                      <a:pt x="13419" y="158323"/>
                    </a:cubicBezTo>
                    <a:lnTo>
                      <a:pt x="14697" y="87461"/>
                    </a:lnTo>
                    <a:cubicBezTo>
                      <a:pt x="14697" y="86822"/>
                      <a:pt x="14697" y="86822"/>
                      <a:pt x="14697" y="86822"/>
                    </a:cubicBezTo>
                    <a:lnTo>
                      <a:pt x="63260" y="86822"/>
                    </a:lnTo>
                    <a:lnTo>
                      <a:pt x="63260" y="97037"/>
                    </a:lnTo>
                    <a:cubicBezTo>
                      <a:pt x="63260" y="105336"/>
                      <a:pt x="69011" y="111720"/>
                      <a:pt x="76679" y="111720"/>
                    </a:cubicBezTo>
                    <a:lnTo>
                      <a:pt x="126521" y="111720"/>
                    </a:lnTo>
                    <a:lnTo>
                      <a:pt x="126521" y="161515"/>
                    </a:lnTo>
                    <a:close/>
                    <a:moveTo>
                      <a:pt x="201283" y="96398"/>
                    </a:moveTo>
                    <a:lnTo>
                      <a:pt x="181474" y="95760"/>
                    </a:lnTo>
                    <a:cubicBezTo>
                      <a:pt x="181474" y="95760"/>
                      <a:pt x="180835" y="95760"/>
                      <a:pt x="180835" y="95760"/>
                    </a:cubicBezTo>
                    <a:cubicBezTo>
                      <a:pt x="180196" y="95760"/>
                      <a:pt x="179557" y="95760"/>
                      <a:pt x="178918" y="96398"/>
                    </a:cubicBezTo>
                    <a:cubicBezTo>
                      <a:pt x="178918" y="96398"/>
                      <a:pt x="178279" y="96398"/>
                      <a:pt x="178279" y="96398"/>
                    </a:cubicBezTo>
                    <a:cubicBezTo>
                      <a:pt x="177640" y="96398"/>
                      <a:pt x="177001" y="97037"/>
                      <a:pt x="177001" y="97037"/>
                    </a:cubicBezTo>
                    <a:cubicBezTo>
                      <a:pt x="177001" y="97037"/>
                      <a:pt x="176362" y="97675"/>
                      <a:pt x="176362" y="97675"/>
                    </a:cubicBezTo>
                    <a:cubicBezTo>
                      <a:pt x="176362" y="97675"/>
                      <a:pt x="175723" y="98313"/>
                      <a:pt x="175723" y="98313"/>
                    </a:cubicBezTo>
                    <a:lnTo>
                      <a:pt x="168055" y="112358"/>
                    </a:lnTo>
                    <a:lnTo>
                      <a:pt x="165499" y="102144"/>
                    </a:lnTo>
                    <a:cubicBezTo>
                      <a:pt x="164860" y="98952"/>
                      <a:pt x="161665" y="97037"/>
                      <a:pt x="159109" y="97675"/>
                    </a:cubicBezTo>
                    <a:cubicBezTo>
                      <a:pt x="159109" y="97675"/>
                      <a:pt x="158470" y="97675"/>
                      <a:pt x="158470" y="97675"/>
                    </a:cubicBezTo>
                    <a:lnTo>
                      <a:pt x="132272" y="97675"/>
                    </a:lnTo>
                    <a:cubicBezTo>
                      <a:pt x="132272" y="97675"/>
                      <a:pt x="132272" y="97675"/>
                      <a:pt x="132272" y="97675"/>
                    </a:cubicBezTo>
                    <a:cubicBezTo>
                      <a:pt x="132272" y="97675"/>
                      <a:pt x="132272" y="97675"/>
                      <a:pt x="132272" y="97675"/>
                    </a:cubicBezTo>
                    <a:lnTo>
                      <a:pt x="76679" y="97675"/>
                    </a:lnTo>
                    <a:cubicBezTo>
                      <a:pt x="76679" y="97675"/>
                      <a:pt x="76040" y="97037"/>
                      <a:pt x="76040" y="95760"/>
                    </a:cubicBezTo>
                    <a:lnTo>
                      <a:pt x="76040" y="13406"/>
                    </a:lnTo>
                    <a:cubicBezTo>
                      <a:pt x="76040" y="12130"/>
                      <a:pt x="76679" y="11491"/>
                      <a:pt x="76679" y="11491"/>
                    </a:cubicBezTo>
                    <a:lnTo>
                      <a:pt x="201922" y="11491"/>
                    </a:lnTo>
                    <a:cubicBezTo>
                      <a:pt x="201922" y="11491"/>
                      <a:pt x="202561" y="12130"/>
                      <a:pt x="202561" y="13406"/>
                    </a:cubicBezTo>
                    <a:lnTo>
                      <a:pt x="203839" y="91929"/>
                    </a:lnTo>
                    <a:cubicBezTo>
                      <a:pt x="202561" y="94483"/>
                      <a:pt x="202561" y="95760"/>
                      <a:pt x="201283" y="96398"/>
                    </a:cubicBezTo>
                    <a:close/>
                  </a:path>
                </a:pathLst>
              </a:custGeom>
              <a:grpFill/>
              <a:ln w="6390" cap="flat">
                <a:noFill/>
                <a:prstDash val="solid"/>
                <a:miter/>
              </a:ln>
            </p:spPr>
            <p:txBody>
              <a:bodyPr rtlCol="0" anchor="ctr"/>
              <a:lstStyle/>
              <a:p>
                <a:endParaRPr lang="en-US"/>
              </a:p>
            </p:txBody>
          </p:sp>
          <p:sp>
            <p:nvSpPr>
              <p:cNvPr id="1160" name="Graphic 4">
                <a:extLst>
                  <a:ext uri="{FF2B5EF4-FFF2-40B4-BE49-F238E27FC236}">
                    <a16:creationId xmlns:a16="http://schemas.microsoft.com/office/drawing/2014/main" id="{EDF8B687-215F-D7C2-A6AF-21C129FC1DF7}"/>
                  </a:ext>
                </a:extLst>
              </p:cNvPr>
              <p:cNvSpPr/>
              <p:nvPr/>
            </p:nvSpPr>
            <p:spPr>
              <a:xfrm>
                <a:off x="640910" y="1049050"/>
                <a:ext cx="12779" cy="12767"/>
              </a:xfrm>
              <a:custGeom>
                <a:avLst/>
                <a:gdLst>
                  <a:gd name="connsiteX0" fmla="*/ 10863 w 12779"/>
                  <a:gd name="connsiteY0" fmla="*/ 1915 h 12767"/>
                  <a:gd name="connsiteX1" fmla="*/ 8946 w 12779"/>
                  <a:gd name="connsiteY1" fmla="*/ 638 h 12767"/>
                  <a:gd name="connsiteX2" fmla="*/ 5112 w 12779"/>
                  <a:gd name="connsiteY2" fmla="*/ 0 h 12767"/>
                  <a:gd name="connsiteX3" fmla="*/ 3834 w 12779"/>
                  <a:gd name="connsiteY3" fmla="*/ 638 h 12767"/>
                  <a:gd name="connsiteX4" fmla="*/ 2556 w 12779"/>
                  <a:gd name="connsiteY4" fmla="*/ 1277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0863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0863" y="1915"/>
                    </a:moveTo>
                    <a:cubicBezTo>
                      <a:pt x="10224" y="1277"/>
                      <a:pt x="9585" y="638"/>
                      <a:pt x="8946" y="638"/>
                    </a:cubicBezTo>
                    <a:cubicBezTo>
                      <a:pt x="7668" y="0"/>
                      <a:pt x="6390" y="0"/>
                      <a:pt x="5112" y="0"/>
                    </a:cubicBezTo>
                    <a:cubicBezTo>
                      <a:pt x="4473" y="0"/>
                      <a:pt x="4473" y="0"/>
                      <a:pt x="3834" y="638"/>
                    </a:cubicBezTo>
                    <a:cubicBezTo>
                      <a:pt x="3195" y="638"/>
                      <a:pt x="3195" y="1277"/>
                      <a:pt x="2556" y="1277"/>
                    </a:cubicBezTo>
                    <a:cubicBezTo>
                      <a:pt x="1917" y="1277"/>
                      <a:pt x="1917" y="1915"/>
                      <a:pt x="1917" y="1915"/>
                    </a:cubicBezTo>
                    <a:cubicBezTo>
                      <a:pt x="1278" y="2554"/>
                      <a:pt x="639" y="3192"/>
                      <a:pt x="639" y="3830"/>
                    </a:cubicBezTo>
                    <a:cubicBezTo>
                      <a:pt x="639"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endParaRPr lang="en-US"/>
              </a:p>
            </p:txBody>
          </p:sp>
          <p:sp>
            <p:nvSpPr>
              <p:cNvPr id="1161" name="Graphic 4">
                <a:extLst>
                  <a:ext uri="{FF2B5EF4-FFF2-40B4-BE49-F238E27FC236}">
                    <a16:creationId xmlns:a16="http://schemas.microsoft.com/office/drawing/2014/main" id="{50116E53-FC58-D82B-C387-2D8494942909}"/>
                  </a:ext>
                </a:extLst>
              </p:cNvPr>
              <p:cNvSpPr/>
              <p:nvPr/>
            </p:nvSpPr>
            <p:spPr>
              <a:xfrm>
                <a:off x="706088" y="1049050"/>
                <a:ext cx="12779" cy="12767"/>
              </a:xfrm>
              <a:custGeom>
                <a:avLst/>
                <a:gdLst>
                  <a:gd name="connsiteX0" fmla="*/ 10863 w 12779"/>
                  <a:gd name="connsiteY0" fmla="*/ 1915 h 12767"/>
                  <a:gd name="connsiteX1" fmla="*/ 10224 w 12779"/>
                  <a:gd name="connsiteY1" fmla="*/ 1277 h 12767"/>
                  <a:gd name="connsiteX2" fmla="*/ 8946 w 12779"/>
                  <a:gd name="connsiteY2" fmla="*/ 638 h 12767"/>
                  <a:gd name="connsiteX3" fmla="*/ 7668 w 12779"/>
                  <a:gd name="connsiteY3" fmla="*/ 0 h 12767"/>
                  <a:gd name="connsiteX4" fmla="*/ 3834 w 12779"/>
                  <a:gd name="connsiteY4" fmla="*/ 638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0863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0863" y="1915"/>
                    </a:moveTo>
                    <a:cubicBezTo>
                      <a:pt x="10863" y="1915"/>
                      <a:pt x="10224" y="1277"/>
                      <a:pt x="10224" y="1277"/>
                    </a:cubicBezTo>
                    <a:cubicBezTo>
                      <a:pt x="9585" y="1277"/>
                      <a:pt x="9585" y="638"/>
                      <a:pt x="8946" y="638"/>
                    </a:cubicBezTo>
                    <a:cubicBezTo>
                      <a:pt x="8307" y="638"/>
                      <a:pt x="8307" y="638"/>
                      <a:pt x="7668" y="0"/>
                    </a:cubicBezTo>
                    <a:cubicBezTo>
                      <a:pt x="6390" y="0"/>
                      <a:pt x="5112" y="0"/>
                      <a:pt x="3834" y="638"/>
                    </a:cubicBezTo>
                    <a:cubicBezTo>
                      <a:pt x="3195" y="638"/>
                      <a:pt x="2556" y="1277"/>
                      <a:pt x="1917" y="1915"/>
                    </a:cubicBezTo>
                    <a:cubicBezTo>
                      <a:pt x="1278" y="2554"/>
                      <a:pt x="639" y="3192"/>
                      <a:pt x="639" y="3830"/>
                    </a:cubicBezTo>
                    <a:cubicBezTo>
                      <a:pt x="0"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endParaRPr lang="en-US"/>
              </a:p>
            </p:txBody>
          </p:sp>
          <p:sp>
            <p:nvSpPr>
              <p:cNvPr id="1162" name="Graphic 4">
                <a:extLst>
                  <a:ext uri="{FF2B5EF4-FFF2-40B4-BE49-F238E27FC236}">
                    <a16:creationId xmlns:a16="http://schemas.microsoft.com/office/drawing/2014/main" id="{2205FEAA-FE20-7D92-22AB-C23622ED95AA}"/>
                  </a:ext>
                </a:extLst>
              </p:cNvPr>
              <p:cNvSpPr/>
              <p:nvPr/>
            </p:nvSpPr>
            <p:spPr>
              <a:xfrm>
                <a:off x="672221" y="1049050"/>
                <a:ext cx="12779" cy="12767"/>
              </a:xfrm>
              <a:custGeom>
                <a:avLst/>
                <a:gdLst>
                  <a:gd name="connsiteX0" fmla="*/ 11502 w 12779"/>
                  <a:gd name="connsiteY0" fmla="*/ 1915 h 12767"/>
                  <a:gd name="connsiteX1" fmla="*/ 9585 w 12779"/>
                  <a:gd name="connsiteY1" fmla="*/ 638 h 12767"/>
                  <a:gd name="connsiteX2" fmla="*/ 5751 w 12779"/>
                  <a:gd name="connsiteY2" fmla="*/ 0 h 12767"/>
                  <a:gd name="connsiteX3" fmla="*/ 4473 w 12779"/>
                  <a:gd name="connsiteY3" fmla="*/ 638 h 12767"/>
                  <a:gd name="connsiteX4" fmla="*/ 3195 w 12779"/>
                  <a:gd name="connsiteY4" fmla="*/ 1277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1502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1502" y="1915"/>
                    </a:moveTo>
                    <a:cubicBezTo>
                      <a:pt x="10863" y="1277"/>
                      <a:pt x="10224" y="638"/>
                      <a:pt x="9585" y="638"/>
                    </a:cubicBezTo>
                    <a:cubicBezTo>
                      <a:pt x="8307" y="0"/>
                      <a:pt x="7029" y="0"/>
                      <a:pt x="5751" y="0"/>
                    </a:cubicBezTo>
                    <a:cubicBezTo>
                      <a:pt x="5112" y="0"/>
                      <a:pt x="5112" y="0"/>
                      <a:pt x="4473" y="638"/>
                    </a:cubicBezTo>
                    <a:cubicBezTo>
                      <a:pt x="3834" y="638"/>
                      <a:pt x="3834" y="1277"/>
                      <a:pt x="3195" y="1277"/>
                    </a:cubicBezTo>
                    <a:cubicBezTo>
                      <a:pt x="2556" y="1277"/>
                      <a:pt x="2556" y="1915"/>
                      <a:pt x="1917" y="1915"/>
                    </a:cubicBezTo>
                    <a:cubicBezTo>
                      <a:pt x="1278" y="2554"/>
                      <a:pt x="639" y="3192"/>
                      <a:pt x="639" y="3830"/>
                    </a:cubicBezTo>
                    <a:cubicBezTo>
                      <a:pt x="0"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780" y="3192"/>
                      <a:pt x="12141" y="2554"/>
                      <a:pt x="11502" y="1915"/>
                    </a:cubicBezTo>
                    <a:close/>
                  </a:path>
                </a:pathLst>
              </a:custGeom>
              <a:grpFill/>
              <a:ln w="6390" cap="flat">
                <a:noFill/>
                <a:prstDash val="solid"/>
                <a:miter/>
              </a:ln>
            </p:spPr>
            <p:txBody>
              <a:bodyPr rtlCol="0" anchor="ctr"/>
              <a:lstStyle/>
              <a:p>
                <a:endParaRPr lang="en-US"/>
              </a:p>
            </p:txBody>
          </p:sp>
        </p:grpSp>
        <p:sp>
          <p:nvSpPr>
            <p:cNvPr id="1163" name="Rectangle: Rounded Corners 1162">
              <a:extLst>
                <a:ext uri="{FF2B5EF4-FFF2-40B4-BE49-F238E27FC236}">
                  <a16:creationId xmlns:a16="http://schemas.microsoft.com/office/drawing/2014/main" id="{22209473-8504-0561-86A9-48C0D77C02EF}"/>
                </a:ext>
              </a:extLst>
            </p:cNvPr>
            <p:cNvSpPr/>
            <p:nvPr/>
          </p:nvSpPr>
          <p:spPr>
            <a:xfrm>
              <a:off x="1976260" y="3419856"/>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4" name="Rectangle 1163">
              <a:extLst>
                <a:ext uri="{FF2B5EF4-FFF2-40B4-BE49-F238E27FC236}">
                  <a16:creationId xmlns:a16="http://schemas.microsoft.com/office/drawing/2014/main" id="{85537696-E61C-2FEB-DF14-4A7E544FECDE}"/>
                </a:ext>
              </a:extLst>
            </p:cNvPr>
            <p:cNvSpPr/>
            <p:nvPr/>
          </p:nvSpPr>
          <p:spPr>
            <a:xfrm>
              <a:off x="2059672" y="3527507"/>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LLM Management</a:t>
              </a:r>
            </a:p>
          </p:txBody>
        </p:sp>
        <p:sp>
          <p:nvSpPr>
            <p:cNvPr id="1165" name="Rectangle: Rounded Corners 1164">
              <a:extLst>
                <a:ext uri="{FF2B5EF4-FFF2-40B4-BE49-F238E27FC236}">
                  <a16:creationId xmlns:a16="http://schemas.microsoft.com/office/drawing/2014/main" id="{2965E026-3C0D-3983-D70C-F3011D2A9FE8}"/>
                </a:ext>
              </a:extLst>
            </p:cNvPr>
            <p:cNvSpPr/>
            <p:nvPr/>
          </p:nvSpPr>
          <p:spPr>
            <a:xfrm>
              <a:off x="3262854" y="3419856"/>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6" name="Rectangle 1165">
              <a:extLst>
                <a:ext uri="{FF2B5EF4-FFF2-40B4-BE49-F238E27FC236}">
                  <a16:creationId xmlns:a16="http://schemas.microsoft.com/office/drawing/2014/main" id="{6904EF8D-BA1F-AAB3-8351-A06CC305D485}"/>
                </a:ext>
              </a:extLst>
            </p:cNvPr>
            <p:cNvSpPr/>
            <p:nvPr/>
          </p:nvSpPr>
          <p:spPr>
            <a:xfrm>
              <a:off x="3346266" y="3527507"/>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Prompt composition</a:t>
              </a:r>
            </a:p>
          </p:txBody>
        </p:sp>
        <p:sp>
          <p:nvSpPr>
            <p:cNvPr id="1167" name="Rectangle: Rounded Corners 1166">
              <a:extLst>
                <a:ext uri="{FF2B5EF4-FFF2-40B4-BE49-F238E27FC236}">
                  <a16:creationId xmlns:a16="http://schemas.microsoft.com/office/drawing/2014/main" id="{04EF94A6-04E9-61D5-748B-4B16771AF7FA}"/>
                </a:ext>
              </a:extLst>
            </p:cNvPr>
            <p:cNvSpPr/>
            <p:nvPr/>
          </p:nvSpPr>
          <p:spPr>
            <a:xfrm>
              <a:off x="4549448" y="3419856"/>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8" name="Rectangle 1167">
              <a:extLst>
                <a:ext uri="{FF2B5EF4-FFF2-40B4-BE49-F238E27FC236}">
                  <a16:creationId xmlns:a16="http://schemas.microsoft.com/office/drawing/2014/main" id="{44F5D2E9-035C-F8E4-FD15-872B0D31A184}"/>
                </a:ext>
              </a:extLst>
            </p:cNvPr>
            <p:cNvSpPr/>
            <p:nvPr/>
          </p:nvSpPr>
          <p:spPr>
            <a:xfrm>
              <a:off x="4632860" y="3527507"/>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Data Management</a:t>
              </a:r>
            </a:p>
          </p:txBody>
        </p:sp>
        <p:sp>
          <p:nvSpPr>
            <p:cNvPr id="1169" name="Rectangle: Rounded Corners 1168">
              <a:extLst>
                <a:ext uri="{FF2B5EF4-FFF2-40B4-BE49-F238E27FC236}">
                  <a16:creationId xmlns:a16="http://schemas.microsoft.com/office/drawing/2014/main" id="{FC95F606-B6C3-008B-EFD8-2A3367CEA957}"/>
                </a:ext>
              </a:extLst>
            </p:cNvPr>
            <p:cNvSpPr/>
            <p:nvPr/>
          </p:nvSpPr>
          <p:spPr>
            <a:xfrm>
              <a:off x="5837781" y="3419856"/>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0" name="Rectangle 1169">
              <a:extLst>
                <a:ext uri="{FF2B5EF4-FFF2-40B4-BE49-F238E27FC236}">
                  <a16:creationId xmlns:a16="http://schemas.microsoft.com/office/drawing/2014/main" id="{74CCAD0A-34A8-E5D4-0127-DBC55E15E292}"/>
                </a:ext>
              </a:extLst>
            </p:cNvPr>
            <p:cNvSpPr/>
            <p:nvPr/>
          </p:nvSpPr>
          <p:spPr>
            <a:xfrm>
              <a:off x="5921193" y="3527507"/>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Knowledge Ingestion</a:t>
              </a:r>
            </a:p>
          </p:txBody>
        </p:sp>
        <p:sp>
          <p:nvSpPr>
            <p:cNvPr id="1171" name="Rectangle: Rounded Corners 1170">
              <a:extLst>
                <a:ext uri="{FF2B5EF4-FFF2-40B4-BE49-F238E27FC236}">
                  <a16:creationId xmlns:a16="http://schemas.microsoft.com/office/drawing/2014/main" id="{1ED2747B-5C40-3342-ED0C-AAE869F85CDB}"/>
                </a:ext>
              </a:extLst>
            </p:cNvPr>
            <p:cNvSpPr/>
            <p:nvPr/>
          </p:nvSpPr>
          <p:spPr>
            <a:xfrm>
              <a:off x="7124375" y="3419856"/>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2" name="Rectangle 1171">
              <a:extLst>
                <a:ext uri="{FF2B5EF4-FFF2-40B4-BE49-F238E27FC236}">
                  <a16:creationId xmlns:a16="http://schemas.microsoft.com/office/drawing/2014/main" id="{53A303C2-9992-6C8F-B214-C825BB8AB58D}"/>
                </a:ext>
              </a:extLst>
            </p:cNvPr>
            <p:cNvSpPr/>
            <p:nvPr/>
          </p:nvSpPr>
          <p:spPr>
            <a:xfrm>
              <a:off x="7207787" y="3527507"/>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Access Management</a:t>
              </a:r>
            </a:p>
          </p:txBody>
        </p:sp>
        <p:sp>
          <p:nvSpPr>
            <p:cNvPr id="1173" name="Graphic 4">
              <a:extLst>
                <a:ext uri="{FF2B5EF4-FFF2-40B4-BE49-F238E27FC236}">
                  <a16:creationId xmlns:a16="http://schemas.microsoft.com/office/drawing/2014/main" id="{46871D63-223B-EFA3-2B86-9AD852DF6F37}"/>
                </a:ext>
              </a:extLst>
            </p:cNvPr>
            <p:cNvSpPr/>
            <p:nvPr/>
          </p:nvSpPr>
          <p:spPr>
            <a:xfrm>
              <a:off x="2059672" y="4198834"/>
              <a:ext cx="249878" cy="249645"/>
            </a:xfrm>
            <a:custGeom>
              <a:avLst/>
              <a:gdLst>
                <a:gd name="connsiteX0" fmla="*/ 236679 w 263129"/>
                <a:gd name="connsiteY0" fmla="*/ 104949 h 262884"/>
                <a:gd name="connsiteX1" fmla="*/ 211119 w 263129"/>
                <a:gd name="connsiteY1" fmla="*/ 125377 h 262884"/>
                <a:gd name="connsiteX2" fmla="*/ 167668 w 263129"/>
                <a:gd name="connsiteY2" fmla="*/ 125377 h 262884"/>
                <a:gd name="connsiteX3" fmla="*/ 161917 w 263129"/>
                <a:gd name="connsiteY3" fmla="*/ 110694 h 262884"/>
                <a:gd name="connsiteX4" fmla="*/ 192589 w 263129"/>
                <a:gd name="connsiteY4" fmla="*/ 80051 h 262884"/>
                <a:gd name="connsiteX5" fmla="*/ 229650 w 263129"/>
                <a:gd name="connsiteY5" fmla="*/ 71114 h 262884"/>
                <a:gd name="connsiteX6" fmla="*/ 220704 w 263129"/>
                <a:gd name="connsiteY6" fmla="*/ 34086 h 262884"/>
                <a:gd name="connsiteX7" fmla="*/ 183643 w 263129"/>
                <a:gd name="connsiteY7" fmla="*/ 43024 h 262884"/>
                <a:gd name="connsiteX8" fmla="*/ 183643 w 263129"/>
                <a:gd name="connsiteY8" fmla="*/ 71114 h 262884"/>
                <a:gd name="connsiteX9" fmla="*/ 152971 w 263129"/>
                <a:gd name="connsiteY9" fmla="*/ 101757 h 262884"/>
                <a:gd name="connsiteX10" fmla="*/ 138274 w 263129"/>
                <a:gd name="connsiteY10" fmla="*/ 95373 h 262884"/>
                <a:gd name="connsiteX11" fmla="*/ 138913 w 263129"/>
                <a:gd name="connsiteY11" fmla="*/ 51962 h 262884"/>
                <a:gd name="connsiteX12" fmla="*/ 158083 w 263129"/>
                <a:gd name="connsiteY12" fmla="*/ 20042 h 262884"/>
                <a:gd name="connsiteX13" fmla="*/ 126133 w 263129"/>
                <a:gd name="connsiteY13" fmla="*/ 890 h 262884"/>
                <a:gd name="connsiteX14" fmla="*/ 106963 w 263129"/>
                <a:gd name="connsiteY14" fmla="*/ 32810 h 262884"/>
                <a:gd name="connsiteX15" fmla="*/ 126133 w 263129"/>
                <a:gd name="connsiteY15" fmla="*/ 51962 h 262884"/>
                <a:gd name="connsiteX16" fmla="*/ 125494 w 263129"/>
                <a:gd name="connsiteY16" fmla="*/ 95373 h 262884"/>
                <a:gd name="connsiteX17" fmla="*/ 111436 w 263129"/>
                <a:gd name="connsiteY17" fmla="*/ 101118 h 262884"/>
                <a:gd name="connsiteX18" fmla="*/ 80765 w 263129"/>
                <a:gd name="connsiteY18" fmla="*/ 70475 h 262884"/>
                <a:gd name="connsiteX19" fmla="*/ 84599 w 263129"/>
                <a:gd name="connsiteY19" fmla="*/ 57069 h 262884"/>
                <a:gd name="connsiteX20" fmla="*/ 57761 w 263129"/>
                <a:gd name="connsiteY20" fmla="*/ 30256 h 262884"/>
                <a:gd name="connsiteX21" fmla="*/ 30923 w 263129"/>
                <a:gd name="connsiteY21" fmla="*/ 57069 h 262884"/>
                <a:gd name="connsiteX22" fmla="*/ 57761 w 263129"/>
                <a:gd name="connsiteY22" fmla="*/ 83881 h 262884"/>
                <a:gd name="connsiteX23" fmla="*/ 57761 w 263129"/>
                <a:gd name="connsiteY23" fmla="*/ 83881 h 262884"/>
                <a:gd name="connsiteX24" fmla="*/ 71180 w 263129"/>
                <a:gd name="connsiteY24" fmla="*/ 80051 h 262884"/>
                <a:gd name="connsiteX25" fmla="*/ 101851 w 263129"/>
                <a:gd name="connsiteY25" fmla="*/ 110694 h 262884"/>
                <a:gd name="connsiteX26" fmla="*/ 95462 w 263129"/>
                <a:gd name="connsiteY26" fmla="*/ 125377 h 262884"/>
                <a:gd name="connsiteX27" fmla="*/ 52010 w 263129"/>
                <a:gd name="connsiteY27" fmla="*/ 125377 h 262884"/>
                <a:gd name="connsiteX28" fmla="*/ 20060 w 263129"/>
                <a:gd name="connsiteY28" fmla="*/ 106225 h 262884"/>
                <a:gd name="connsiteX29" fmla="*/ 890 w 263129"/>
                <a:gd name="connsiteY29" fmla="*/ 138145 h 262884"/>
                <a:gd name="connsiteX30" fmla="*/ 32840 w 263129"/>
                <a:gd name="connsiteY30" fmla="*/ 157297 h 262884"/>
                <a:gd name="connsiteX31" fmla="*/ 52010 w 263129"/>
                <a:gd name="connsiteY31" fmla="*/ 138145 h 262884"/>
                <a:gd name="connsiteX32" fmla="*/ 95462 w 263129"/>
                <a:gd name="connsiteY32" fmla="*/ 138145 h 262884"/>
                <a:gd name="connsiteX33" fmla="*/ 100573 w 263129"/>
                <a:gd name="connsiteY33" fmla="*/ 151552 h 262884"/>
                <a:gd name="connsiteX34" fmla="*/ 69263 w 263129"/>
                <a:gd name="connsiteY34" fmla="*/ 182195 h 262884"/>
                <a:gd name="connsiteX35" fmla="*/ 34118 w 263129"/>
                <a:gd name="connsiteY35" fmla="*/ 193686 h 262884"/>
                <a:gd name="connsiteX36" fmla="*/ 45620 w 263129"/>
                <a:gd name="connsiteY36" fmla="*/ 228798 h 262884"/>
                <a:gd name="connsiteX37" fmla="*/ 80765 w 263129"/>
                <a:gd name="connsiteY37" fmla="*/ 217306 h 262884"/>
                <a:gd name="connsiteX38" fmla="*/ 78848 w 263129"/>
                <a:gd name="connsiteY38" fmla="*/ 190494 h 262884"/>
                <a:gd name="connsiteX39" fmla="*/ 108880 w 263129"/>
                <a:gd name="connsiteY39" fmla="*/ 160489 h 262884"/>
                <a:gd name="connsiteX40" fmla="*/ 124855 w 263129"/>
                <a:gd name="connsiteY40" fmla="*/ 167511 h 262884"/>
                <a:gd name="connsiteX41" fmla="*/ 125494 w 263129"/>
                <a:gd name="connsiteY41" fmla="*/ 210922 h 262884"/>
                <a:gd name="connsiteX42" fmla="*/ 106324 w 263129"/>
                <a:gd name="connsiteY42" fmla="*/ 242842 h 262884"/>
                <a:gd name="connsiteX43" fmla="*/ 138274 w 263129"/>
                <a:gd name="connsiteY43" fmla="*/ 261994 h 262884"/>
                <a:gd name="connsiteX44" fmla="*/ 157444 w 263129"/>
                <a:gd name="connsiteY44" fmla="*/ 230074 h 262884"/>
                <a:gd name="connsiteX45" fmla="*/ 138274 w 263129"/>
                <a:gd name="connsiteY45" fmla="*/ 210922 h 262884"/>
                <a:gd name="connsiteX46" fmla="*/ 137635 w 263129"/>
                <a:gd name="connsiteY46" fmla="*/ 167511 h 262884"/>
                <a:gd name="connsiteX47" fmla="*/ 153610 w 263129"/>
                <a:gd name="connsiteY47" fmla="*/ 160489 h 262884"/>
                <a:gd name="connsiteX48" fmla="*/ 184282 w 263129"/>
                <a:gd name="connsiteY48" fmla="*/ 191132 h 262884"/>
                <a:gd name="connsiteX49" fmla="*/ 179809 w 263129"/>
                <a:gd name="connsiteY49" fmla="*/ 205815 h 262884"/>
                <a:gd name="connsiteX50" fmla="*/ 206646 w 263129"/>
                <a:gd name="connsiteY50" fmla="*/ 233266 h 262884"/>
                <a:gd name="connsiteX51" fmla="*/ 234123 w 263129"/>
                <a:gd name="connsiteY51" fmla="*/ 206454 h 262884"/>
                <a:gd name="connsiteX52" fmla="*/ 207285 w 263129"/>
                <a:gd name="connsiteY52" fmla="*/ 179003 h 262884"/>
                <a:gd name="connsiteX53" fmla="*/ 193867 w 263129"/>
                <a:gd name="connsiteY53" fmla="*/ 182195 h 262884"/>
                <a:gd name="connsiteX54" fmla="*/ 162556 w 263129"/>
                <a:gd name="connsiteY54" fmla="*/ 150913 h 262884"/>
                <a:gd name="connsiteX55" fmla="*/ 167668 w 263129"/>
                <a:gd name="connsiteY55" fmla="*/ 137507 h 262884"/>
                <a:gd name="connsiteX56" fmla="*/ 211119 w 263129"/>
                <a:gd name="connsiteY56" fmla="*/ 137507 h 262884"/>
                <a:gd name="connsiteX57" fmla="*/ 243069 w 263129"/>
                <a:gd name="connsiteY57" fmla="*/ 156659 h 262884"/>
                <a:gd name="connsiteX58" fmla="*/ 262239 w 263129"/>
                <a:gd name="connsiteY58" fmla="*/ 124739 h 262884"/>
                <a:gd name="connsiteX59" fmla="*/ 236679 w 263129"/>
                <a:gd name="connsiteY59" fmla="*/ 104949 h 262884"/>
                <a:gd name="connsiteX60" fmla="*/ 236679 w 263129"/>
                <a:gd name="connsiteY60" fmla="*/ 104949 h 262884"/>
                <a:gd name="connsiteX61" fmla="*/ 131884 w 263129"/>
                <a:gd name="connsiteY61" fmla="*/ 155382 h 262884"/>
                <a:gd name="connsiteX62" fmla="*/ 108241 w 263129"/>
                <a:gd name="connsiteY62" fmla="*/ 131761 h 262884"/>
                <a:gd name="connsiteX63" fmla="*/ 131884 w 263129"/>
                <a:gd name="connsiteY63" fmla="*/ 108141 h 262884"/>
                <a:gd name="connsiteX64" fmla="*/ 155527 w 263129"/>
                <a:gd name="connsiteY64" fmla="*/ 131761 h 262884"/>
                <a:gd name="connsiteX65" fmla="*/ 155527 w 263129"/>
                <a:gd name="connsiteY65" fmla="*/ 131761 h 262884"/>
                <a:gd name="connsiteX66" fmla="*/ 131884 w 263129"/>
                <a:gd name="connsiteY66" fmla="*/ 155382 h 262884"/>
                <a:gd name="connsiteX67" fmla="*/ 131884 w 263129"/>
                <a:gd name="connsiteY67" fmla="*/ 155382 h 262884"/>
                <a:gd name="connsiteX68" fmla="*/ 206007 w 263129"/>
                <a:gd name="connsiteY68" fmla="*/ 44301 h 262884"/>
                <a:gd name="connsiteX69" fmla="*/ 220065 w 263129"/>
                <a:gd name="connsiteY69" fmla="*/ 58346 h 262884"/>
                <a:gd name="connsiteX70" fmla="*/ 206007 w 263129"/>
                <a:gd name="connsiteY70" fmla="*/ 72390 h 262884"/>
                <a:gd name="connsiteX71" fmla="*/ 191950 w 263129"/>
                <a:gd name="connsiteY71" fmla="*/ 58346 h 262884"/>
                <a:gd name="connsiteX72" fmla="*/ 191950 w 263129"/>
                <a:gd name="connsiteY72" fmla="*/ 58346 h 262884"/>
                <a:gd name="connsiteX73" fmla="*/ 206007 w 263129"/>
                <a:gd name="connsiteY73" fmla="*/ 44301 h 262884"/>
                <a:gd name="connsiteX74" fmla="*/ 118465 w 263129"/>
                <a:gd name="connsiteY74" fmla="*/ 26426 h 262884"/>
                <a:gd name="connsiteX75" fmla="*/ 132523 w 263129"/>
                <a:gd name="connsiteY75" fmla="*/ 12381 h 262884"/>
                <a:gd name="connsiteX76" fmla="*/ 146581 w 263129"/>
                <a:gd name="connsiteY76" fmla="*/ 26426 h 262884"/>
                <a:gd name="connsiteX77" fmla="*/ 132523 w 263129"/>
                <a:gd name="connsiteY77" fmla="*/ 40470 h 262884"/>
                <a:gd name="connsiteX78" fmla="*/ 132523 w 263129"/>
                <a:gd name="connsiteY78" fmla="*/ 40470 h 262884"/>
                <a:gd name="connsiteX79" fmla="*/ 118465 w 263129"/>
                <a:gd name="connsiteY79" fmla="*/ 26426 h 262884"/>
                <a:gd name="connsiteX80" fmla="*/ 118465 w 263129"/>
                <a:gd name="connsiteY80" fmla="*/ 26426 h 262884"/>
                <a:gd name="connsiteX81" fmla="*/ 43703 w 263129"/>
                <a:gd name="connsiteY81" fmla="*/ 57069 h 262884"/>
                <a:gd name="connsiteX82" fmla="*/ 57761 w 263129"/>
                <a:gd name="connsiteY82" fmla="*/ 43024 h 262884"/>
                <a:gd name="connsiteX83" fmla="*/ 71819 w 263129"/>
                <a:gd name="connsiteY83" fmla="*/ 57069 h 262884"/>
                <a:gd name="connsiteX84" fmla="*/ 57761 w 263129"/>
                <a:gd name="connsiteY84" fmla="*/ 71114 h 262884"/>
                <a:gd name="connsiteX85" fmla="*/ 57761 w 263129"/>
                <a:gd name="connsiteY85" fmla="*/ 71114 h 262884"/>
                <a:gd name="connsiteX86" fmla="*/ 43703 w 263129"/>
                <a:gd name="connsiteY86" fmla="*/ 57069 h 262884"/>
                <a:gd name="connsiteX87" fmla="*/ 27089 w 263129"/>
                <a:gd name="connsiteY87" fmla="*/ 145168 h 262884"/>
                <a:gd name="connsiteX88" fmla="*/ 13031 w 263129"/>
                <a:gd name="connsiteY88" fmla="*/ 131123 h 262884"/>
                <a:gd name="connsiteX89" fmla="*/ 27089 w 263129"/>
                <a:gd name="connsiteY89" fmla="*/ 117078 h 262884"/>
                <a:gd name="connsiteX90" fmla="*/ 41147 w 263129"/>
                <a:gd name="connsiteY90" fmla="*/ 130484 h 262884"/>
                <a:gd name="connsiteX91" fmla="*/ 41147 w 263129"/>
                <a:gd name="connsiteY91" fmla="*/ 130484 h 262884"/>
                <a:gd name="connsiteX92" fmla="*/ 27089 w 263129"/>
                <a:gd name="connsiteY92" fmla="*/ 145168 h 262884"/>
                <a:gd name="connsiteX93" fmla="*/ 57761 w 263129"/>
                <a:gd name="connsiteY93" fmla="*/ 219222 h 262884"/>
                <a:gd name="connsiteX94" fmla="*/ 43703 w 263129"/>
                <a:gd name="connsiteY94" fmla="*/ 205815 h 262884"/>
                <a:gd name="connsiteX95" fmla="*/ 57122 w 263129"/>
                <a:gd name="connsiteY95" fmla="*/ 191771 h 262884"/>
                <a:gd name="connsiteX96" fmla="*/ 71180 w 263129"/>
                <a:gd name="connsiteY96" fmla="*/ 205177 h 262884"/>
                <a:gd name="connsiteX97" fmla="*/ 71180 w 263129"/>
                <a:gd name="connsiteY97" fmla="*/ 205815 h 262884"/>
                <a:gd name="connsiteX98" fmla="*/ 57761 w 263129"/>
                <a:gd name="connsiteY98" fmla="*/ 219222 h 262884"/>
                <a:gd name="connsiteX99" fmla="*/ 57761 w 263129"/>
                <a:gd name="connsiteY99" fmla="*/ 219222 h 262884"/>
                <a:gd name="connsiteX100" fmla="*/ 145942 w 263129"/>
                <a:gd name="connsiteY100" fmla="*/ 236458 h 262884"/>
                <a:gd name="connsiteX101" fmla="*/ 131884 w 263129"/>
                <a:gd name="connsiteY101" fmla="*/ 250503 h 262884"/>
                <a:gd name="connsiteX102" fmla="*/ 117826 w 263129"/>
                <a:gd name="connsiteY102" fmla="*/ 236458 h 262884"/>
                <a:gd name="connsiteX103" fmla="*/ 131884 w 263129"/>
                <a:gd name="connsiteY103" fmla="*/ 222414 h 262884"/>
                <a:gd name="connsiteX104" fmla="*/ 131884 w 263129"/>
                <a:gd name="connsiteY104" fmla="*/ 222414 h 262884"/>
                <a:gd name="connsiteX105" fmla="*/ 145942 w 263129"/>
                <a:gd name="connsiteY105" fmla="*/ 236458 h 262884"/>
                <a:gd name="connsiteX106" fmla="*/ 145942 w 263129"/>
                <a:gd name="connsiteY106" fmla="*/ 236458 h 262884"/>
                <a:gd name="connsiteX107" fmla="*/ 145942 w 263129"/>
                <a:gd name="connsiteY107" fmla="*/ 236458 h 262884"/>
                <a:gd name="connsiteX108" fmla="*/ 220704 w 263129"/>
                <a:gd name="connsiteY108" fmla="*/ 205177 h 262884"/>
                <a:gd name="connsiteX109" fmla="*/ 206646 w 263129"/>
                <a:gd name="connsiteY109" fmla="*/ 219222 h 262884"/>
                <a:gd name="connsiteX110" fmla="*/ 192589 w 263129"/>
                <a:gd name="connsiteY110" fmla="*/ 205177 h 262884"/>
                <a:gd name="connsiteX111" fmla="*/ 206646 w 263129"/>
                <a:gd name="connsiteY111" fmla="*/ 191132 h 262884"/>
                <a:gd name="connsiteX112" fmla="*/ 206646 w 263129"/>
                <a:gd name="connsiteY112" fmla="*/ 191132 h 262884"/>
                <a:gd name="connsiteX113" fmla="*/ 220704 w 263129"/>
                <a:gd name="connsiteY113" fmla="*/ 205177 h 262884"/>
                <a:gd name="connsiteX114" fmla="*/ 220704 w 263129"/>
                <a:gd name="connsiteY114" fmla="*/ 205177 h 262884"/>
                <a:gd name="connsiteX115" fmla="*/ 220704 w 263129"/>
                <a:gd name="connsiteY115" fmla="*/ 205177 h 262884"/>
                <a:gd name="connsiteX116" fmla="*/ 236679 w 263129"/>
                <a:gd name="connsiteY116" fmla="*/ 145168 h 262884"/>
                <a:gd name="connsiteX117" fmla="*/ 222621 w 263129"/>
                <a:gd name="connsiteY117" fmla="*/ 131123 h 262884"/>
                <a:gd name="connsiteX118" fmla="*/ 236679 w 263129"/>
                <a:gd name="connsiteY118" fmla="*/ 117078 h 262884"/>
                <a:gd name="connsiteX119" fmla="*/ 250737 w 263129"/>
                <a:gd name="connsiteY119" fmla="*/ 131123 h 262884"/>
                <a:gd name="connsiteX120" fmla="*/ 250737 w 263129"/>
                <a:gd name="connsiteY120" fmla="*/ 131123 h 262884"/>
                <a:gd name="connsiteX121" fmla="*/ 236679 w 263129"/>
                <a:gd name="connsiteY121" fmla="*/ 145168 h 26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263129" h="262884">
                  <a:moveTo>
                    <a:pt x="236679" y="104949"/>
                  </a:moveTo>
                  <a:cubicBezTo>
                    <a:pt x="224538" y="104949"/>
                    <a:pt x="214314" y="113248"/>
                    <a:pt x="211119" y="125377"/>
                  </a:cubicBezTo>
                  <a:lnTo>
                    <a:pt x="167668" y="125377"/>
                  </a:lnTo>
                  <a:cubicBezTo>
                    <a:pt x="167029" y="120270"/>
                    <a:pt x="164473" y="115163"/>
                    <a:pt x="161917" y="110694"/>
                  </a:cubicBezTo>
                  <a:lnTo>
                    <a:pt x="192589" y="80051"/>
                  </a:lnTo>
                  <a:cubicBezTo>
                    <a:pt x="205368" y="87712"/>
                    <a:pt x="221982" y="83881"/>
                    <a:pt x="229650" y="71114"/>
                  </a:cubicBezTo>
                  <a:cubicBezTo>
                    <a:pt x="237318" y="58346"/>
                    <a:pt x="233484" y="41747"/>
                    <a:pt x="220704" y="34086"/>
                  </a:cubicBezTo>
                  <a:cubicBezTo>
                    <a:pt x="207924" y="26426"/>
                    <a:pt x="191311" y="30256"/>
                    <a:pt x="183643" y="43024"/>
                  </a:cubicBezTo>
                  <a:cubicBezTo>
                    <a:pt x="178531" y="51323"/>
                    <a:pt x="178531" y="62176"/>
                    <a:pt x="183643" y="71114"/>
                  </a:cubicBezTo>
                  <a:lnTo>
                    <a:pt x="152971" y="101757"/>
                  </a:lnTo>
                  <a:cubicBezTo>
                    <a:pt x="148498" y="98565"/>
                    <a:pt x="143386" y="96649"/>
                    <a:pt x="138274" y="95373"/>
                  </a:cubicBezTo>
                  <a:lnTo>
                    <a:pt x="138913" y="51962"/>
                  </a:lnTo>
                  <a:cubicBezTo>
                    <a:pt x="152971" y="48131"/>
                    <a:pt x="161917" y="34086"/>
                    <a:pt x="158083" y="20042"/>
                  </a:cubicBezTo>
                  <a:cubicBezTo>
                    <a:pt x="154249" y="5997"/>
                    <a:pt x="140191" y="-2941"/>
                    <a:pt x="126133" y="890"/>
                  </a:cubicBezTo>
                  <a:cubicBezTo>
                    <a:pt x="112075" y="4720"/>
                    <a:pt x="103129" y="18765"/>
                    <a:pt x="106963" y="32810"/>
                  </a:cubicBezTo>
                  <a:cubicBezTo>
                    <a:pt x="109519" y="42386"/>
                    <a:pt x="116548" y="50046"/>
                    <a:pt x="126133" y="51962"/>
                  </a:cubicBezTo>
                  <a:lnTo>
                    <a:pt x="125494" y="95373"/>
                  </a:lnTo>
                  <a:cubicBezTo>
                    <a:pt x="120382" y="96011"/>
                    <a:pt x="115270" y="97926"/>
                    <a:pt x="111436" y="101118"/>
                  </a:cubicBezTo>
                  <a:lnTo>
                    <a:pt x="80765" y="70475"/>
                  </a:lnTo>
                  <a:cubicBezTo>
                    <a:pt x="83321" y="66645"/>
                    <a:pt x="84599" y="61538"/>
                    <a:pt x="84599" y="57069"/>
                  </a:cubicBezTo>
                  <a:cubicBezTo>
                    <a:pt x="84599" y="42386"/>
                    <a:pt x="72458" y="30256"/>
                    <a:pt x="57761" y="30256"/>
                  </a:cubicBezTo>
                  <a:cubicBezTo>
                    <a:pt x="43064" y="30256"/>
                    <a:pt x="30923" y="42386"/>
                    <a:pt x="30923" y="57069"/>
                  </a:cubicBezTo>
                  <a:cubicBezTo>
                    <a:pt x="30923" y="71752"/>
                    <a:pt x="43064" y="83881"/>
                    <a:pt x="57761" y="83881"/>
                  </a:cubicBezTo>
                  <a:cubicBezTo>
                    <a:pt x="57761" y="83881"/>
                    <a:pt x="57761" y="83881"/>
                    <a:pt x="57761" y="83881"/>
                  </a:cubicBezTo>
                  <a:cubicBezTo>
                    <a:pt x="62873" y="83881"/>
                    <a:pt x="67346" y="82605"/>
                    <a:pt x="71180" y="80051"/>
                  </a:cubicBezTo>
                  <a:lnTo>
                    <a:pt x="101851" y="110694"/>
                  </a:lnTo>
                  <a:cubicBezTo>
                    <a:pt x="98657" y="115163"/>
                    <a:pt x="96739" y="120270"/>
                    <a:pt x="95462" y="125377"/>
                  </a:cubicBezTo>
                  <a:lnTo>
                    <a:pt x="52010" y="125377"/>
                  </a:lnTo>
                  <a:cubicBezTo>
                    <a:pt x="48176" y="111333"/>
                    <a:pt x="34118" y="102395"/>
                    <a:pt x="20060" y="106225"/>
                  </a:cubicBezTo>
                  <a:cubicBezTo>
                    <a:pt x="6002" y="110056"/>
                    <a:pt x="-2944" y="124100"/>
                    <a:pt x="890" y="138145"/>
                  </a:cubicBezTo>
                  <a:cubicBezTo>
                    <a:pt x="4724" y="152190"/>
                    <a:pt x="18782" y="161128"/>
                    <a:pt x="32840" y="157297"/>
                  </a:cubicBezTo>
                  <a:cubicBezTo>
                    <a:pt x="42425" y="154744"/>
                    <a:pt x="50093" y="147721"/>
                    <a:pt x="52010" y="138145"/>
                  </a:cubicBezTo>
                  <a:lnTo>
                    <a:pt x="95462" y="138145"/>
                  </a:lnTo>
                  <a:cubicBezTo>
                    <a:pt x="96101" y="142614"/>
                    <a:pt x="98017" y="147083"/>
                    <a:pt x="100573" y="151552"/>
                  </a:cubicBezTo>
                  <a:lnTo>
                    <a:pt x="69263" y="182195"/>
                  </a:lnTo>
                  <a:cubicBezTo>
                    <a:pt x="56483" y="175811"/>
                    <a:pt x="40508" y="180918"/>
                    <a:pt x="34118" y="193686"/>
                  </a:cubicBezTo>
                  <a:cubicBezTo>
                    <a:pt x="27728" y="206454"/>
                    <a:pt x="32840" y="222414"/>
                    <a:pt x="45620" y="228798"/>
                  </a:cubicBezTo>
                  <a:cubicBezTo>
                    <a:pt x="58400" y="235182"/>
                    <a:pt x="74375" y="230074"/>
                    <a:pt x="80765" y="217306"/>
                  </a:cubicBezTo>
                  <a:cubicBezTo>
                    <a:pt x="85238" y="209007"/>
                    <a:pt x="84599" y="198155"/>
                    <a:pt x="78848" y="190494"/>
                  </a:cubicBezTo>
                  <a:lnTo>
                    <a:pt x="108880" y="160489"/>
                  </a:lnTo>
                  <a:cubicBezTo>
                    <a:pt x="113353" y="164319"/>
                    <a:pt x="119104" y="166235"/>
                    <a:pt x="124855" y="167511"/>
                  </a:cubicBezTo>
                  <a:lnTo>
                    <a:pt x="125494" y="210922"/>
                  </a:lnTo>
                  <a:cubicBezTo>
                    <a:pt x="111436" y="214753"/>
                    <a:pt x="102490" y="228798"/>
                    <a:pt x="106324" y="242842"/>
                  </a:cubicBezTo>
                  <a:cubicBezTo>
                    <a:pt x="110158" y="256887"/>
                    <a:pt x="124216" y="265825"/>
                    <a:pt x="138274" y="261994"/>
                  </a:cubicBezTo>
                  <a:cubicBezTo>
                    <a:pt x="152332" y="258164"/>
                    <a:pt x="161278" y="244119"/>
                    <a:pt x="157444" y="230074"/>
                  </a:cubicBezTo>
                  <a:cubicBezTo>
                    <a:pt x="154888" y="220498"/>
                    <a:pt x="147859" y="212838"/>
                    <a:pt x="138274" y="210922"/>
                  </a:cubicBezTo>
                  <a:lnTo>
                    <a:pt x="137635" y="167511"/>
                  </a:lnTo>
                  <a:cubicBezTo>
                    <a:pt x="143386" y="166235"/>
                    <a:pt x="149137" y="164319"/>
                    <a:pt x="153610" y="160489"/>
                  </a:cubicBezTo>
                  <a:lnTo>
                    <a:pt x="184282" y="191132"/>
                  </a:lnTo>
                  <a:cubicBezTo>
                    <a:pt x="181726" y="195601"/>
                    <a:pt x="179809" y="200708"/>
                    <a:pt x="179809" y="205815"/>
                  </a:cubicBezTo>
                  <a:cubicBezTo>
                    <a:pt x="179809" y="220498"/>
                    <a:pt x="191311" y="232628"/>
                    <a:pt x="206646" y="233266"/>
                  </a:cubicBezTo>
                  <a:cubicBezTo>
                    <a:pt x="221343" y="233266"/>
                    <a:pt x="233484" y="221775"/>
                    <a:pt x="234123" y="206454"/>
                  </a:cubicBezTo>
                  <a:cubicBezTo>
                    <a:pt x="234123" y="191771"/>
                    <a:pt x="222621" y="179641"/>
                    <a:pt x="207285" y="179003"/>
                  </a:cubicBezTo>
                  <a:cubicBezTo>
                    <a:pt x="202812" y="179003"/>
                    <a:pt x="197701" y="180279"/>
                    <a:pt x="193867" y="182195"/>
                  </a:cubicBezTo>
                  <a:lnTo>
                    <a:pt x="162556" y="150913"/>
                  </a:lnTo>
                  <a:cubicBezTo>
                    <a:pt x="165112" y="147083"/>
                    <a:pt x="167029" y="142614"/>
                    <a:pt x="167668" y="137507"/>
                  </a:cubicBezTo>
                  <a:lnTo>
                    <a:pt x="211119" y="137507"/>
                  </a:lnTo>
                  <a:cubicBezTo>
                    <a:pt x="214953" y="151552"/>
                    <a:pt x="229011" y="160489"/>
                    <a:pt x="243069" y="156659"/>
                  </a:cubicBezTo>
                  <a:cubicBezTo>
                    <a:pt x="257127" y="152828"/>
                    <a:pt x="266073" y="138784"/>
                    <a:pt x="262239" y="124739"/>
                  </a:cubicBezTo>
                  <a:cubicBezTo>
                    <a:pt x="259683" y="113248"/>
                    <a:pt x="248820" y="104949"/>
                    <a:pt x="236679" y="104949"/>
                  </a:cubicBezTo>
                  <a:lnTo>
                    <a:pt x="236679" y="104949"/>
                  </a:lnTo>
                  <a:close/>
                  <a:moveTo>
                    <a:pt x="131884" y="155382"/>
                  </a:moveTo>
                  <a:cubicBezTo>
                    <a:pt x="118465" y="155382"/>
                    <a:pt x="108241" y="144529"/>
                    <a:pt x="108241" y="131761"/>
                  </a:cubicBezTo>
                  <a:cubicBezTo>
                    <a:pt x="108241" y="118993"/>
                    <a:pt x="119104" y="108141"/>
                    <a:pt x="131884" y="108141"/>
                  </a:cubicBezTo>
                  <a:cubicBezTo>
                    <a:pt x="144664" y="108141"/>
                    <a:pt x="155527" y="118993"/>
                    <a:pt x="155527" y="131761"/>
                  </a:cubicBezTo>
                  <a:cubicBezTo>
                    <a:pt x="155527" y="131761"/>
                    <a:pt x="155527" y="131761"/>
                    <a:pt x="155527" y="131761"/>
                  </a:cubicBezTo>
                  <a:cubicBezTo>
                    <a:pt x="155527" y="144529"/>
                    <a:pt x="145303" y="155382"/>
                    <a:pt x="131884" y="155382"/>
                  </a:cubicBezTo>
                  <a:cubicBezTo>
                    <a:pt x="131884" y="155382"/>
                    <a:pt x="131884" y="155382"/>
                    <a:pt x="131884" y="155382"/>
                  </a:cubicBezTo>
                  <a:close/>
                  <a:moveTo>
                    <a:pt x="206007" y="44301"/>
                  </a:moveTo>
                  <a:cubicBezTo>
                    <a:pt x="213675" y="44301"/>
                    <a:pt x="220065" y="50685"/>
                    <a:pt x="220065" y="58346"/>
                  </a:cubicBezTo>
                  <a:cubicBezTo>
                    <a:pt x="220065" y="66006"/>
                    <a:pt x="213675" y="72390"/>
                    <a:pt x="206007" y="72390"/>
                  </a:cubicBezTo>
                  <a:cubicBezTo>
                    <a:pt x="198340" y="72390"/>
                    <a:pt x="191950" y="66006"/>
                    <a:pt x="191950" y="58346"/>
                  </a:cubicBezTo>
                  <a:lnTo>
                    <a:pt x="191950" y="58346"/>
                  </a:lnTo>
                  <a:cubicBezTo>
                    <a:pt x="192589" y="50046"/>
                    <a:pt x="198340" y="44301"/>
                    <a:pt x="206007" y="44301"/>
                  </a:cubicBezTo>
                  <a:close/>
                  <a:moveTo>
                    <a:pt x="118465" y="26426"/>
                  </a:moveTo>
                  <a:cubicBezTo>
                    <a:pt x="118465" y="18765"/>
                    <a:pt x="124855" y="12381"/>
                    <a:pt x="132523" y="12381"/>
                  </a:cubicBezTo>
                  <a:cubicBezTo>
                    <a:pt x="140191" y="12381"/>
                    <a:pt x="146581" y="18765"/>
                    <a:pt x="146581" y="26426"/>
                  </a:cubicBezTo>
                  <a:cubicBezTo>
                    <a:pt x="146581" y="34086"/>
                    <a:pt x="140191" y="40470"/>
                    <a:pt x="132523" y="40470"/>
                  </a:cubicBezTo>
                  <a:cubicBezTo>
                    <a:pt x="132523" y="40470"/>
                    <a:pt x="132523" y="40470"/>
                    <a:pt x="132523" y="40470"/>
                  </a:cubicBezTo>
                  <a:cubicBezTo>
                    <a:pt x="124855" y="40470"/>
                    <a:pt x="118465" y="34086"/>
                    <a:pt x="118465" y="26426"/>
                  </a:cubicBezTo>
                  <a:cubicBezTo>
                    <a:pt x="118465" y="26426"/>
                    <a:pt x="118465" y="26426"/>
                    <a:pt x="118465" y="26426"/>
                  </a:cubicBezTo>
                  <a:close/>
                  <a:moveTo>
                    <a:pt x="43703" y="57069"/>
                  </a:moveTo>
                  <a:cubicBezTo>
                    <a:pt x="43703" y="49408"/>
                    <a:pt x="50093" y="43024"/>
                    <a:pt x="57761" y="43024"/>
                  </a:cubicBezTo>
                  <a:cubicBezTo>
                    <a:pt x="65429" y="43024"/>
                    <a:pt x="71819" y="49408"/>
                    <a:pt x="71819" y="57069"/>
                  </a:cubicBezTo>
                  <a:cubicBezTo>
                    <a:pt x="71819" y="64730"/>
                    <a:pt x="65429" y="71114"/>
                    <a:pt x="57761" y="71114"/>
                  </a:cubicBezTo>
                  <a:cubicBezTo>
                    <a:pt x="57761" y="71114"/>
                    <a:pt x="57761" y="71114"/>
                    <a:pt x="57761" y="71114"/>
                  </a:cubicBezTo>
                  <a:cubicBezTo>
                    <a:pt x="50093" y="70475"/>
                    <a:pt x="43703" y="64730"/>
                    <a:pt x="43703" y="57069"/>
                  </a:cubicBezTo>
                  <a:close/>
                  <a:moveTo>
                    <a:pt x="27089" y="145168"/>
                  </a:moveTo>
                  <a:cubicBezTo>
                    <a:pt x="19421" y="145168"/>
                    <a:pt x="13031" y="138784"/>
                    <a:pt x="13031" y="131123"/>
                  </a:cubicBezTo>
                  <a:cubicBezTo>
                    <a:pt x="13031" y="123462"/>
                    <a:pt x="19421" y="117078"/>
                    <a:pt x="27089" y="117078"/>
                  </a:cubicBezTo>
                  <a:cubicBezTo>
                    <a:pt x="34757" y="117078"/>
                    <a:pt x="41147" y="123462"/>
                    <a:pt x="41147" y="130484"/>
                  </a:cubicBezTo>
                  <a:cubicBezTo>
                    <a:pt x="41147" y="130484"/>
                    <a:pt x="41147" y="130484"/>
                    <a:pt x="41147" y="130484"/>
                  </a:cubicBezTo>
                  <a:cubicBezTo>
                    <a:pt x="40508" y="138784"/>
                    <a:pt x="34118" y="145168"/>
                    <a:pt x="27089" y="145168"/>
                  </a:cubicBezTo>
                  <a:close/>
                  <a:moveTo>
                    <a:pt x="57761" y="219222"/>
                  </a:moveTo>
                  <a:cubicBezTo>
                    <a:pt x="50093" y="219222"/>
                    <a:pt x="43703" y="213476"/>
                    <a:pt x="43703" y="205815"/>
                  </a:cubicBezTo>
                  <a:cubicBezTo>
                    <a:pt x="43703" y="198155"/>
                    <a:pt x="49454" y="191771"/>
                    <a:pt x="57122" y="191771"/>
                  </a:cubicBezTo>
                  <a:cubicBezTo>
                    <a:pt x="64790" y="191771"/>
                    <a:pt x="71180" y="197516"/>
                    <a:pt x="71180" y="205177"/>
                  </a:cubicBezTo>
                  <a:cubicBezTo>
                    <a:pt x="71180" y="205177"/>
                    <a:pt x="71180" y="205177"/>
                    <a:pt x="71180" y="205815"/>
                  </a:cubicBezTo>
                  <a:cubicBezTo>
                    <a:pt x="71180" y="212838"/>
                    <a:pt x="64790" y="219222"/>
                    <a:pt x="57761" y="219222"/>
                  </a:cubicBezTo>
                  <a:lnTo>
                    <a:pt x="57761" y="219222"/>
                  </a:lnTo>
                  <a:close/>
                  <a:moveTo>
                    <a:pt x="145942" y="236458"/>
                  </a:moveTo>
                  <a:cubicBezTo>
                    <a:pt x="145942" y="244119"/>
                    <a:pt x="139552" y="250503"/>
                    <a:pt x="131884" y="250503"/>
                  </a:cubicBezTo>
                  <a:cubicBezTo>
                    <a:pt x="124216" y="250503"/>
                    <a:pt x="117826" y="244119"/>
                    <a:pt x="117826" y="236458"/>
                  </a:cubicBezTo>
                  <a:cubicBezTo>
                    <a:pt x="117826" y="228798"/>
                    <a:pt x="124216" y="222414"/>
                    <a:pt x="131884" y="222414"/>
                  </a:cubicBezTo>
                  <a:cubicBezTo>
                    <a:pt x="131884" y="222414"/>
                    <a:pt x="131884" y="222414"/>
                    <a:pt x="131884" y="222414"/>
                  </a:cubicBezTo>
                  <a:cubicBezTo>
                    <a:pt x="140191" y="222414"/>
                    <a:pt x="145942" y="228798"/>
                    <a:pt x="145942" y="236458"/>
                  </a:cubicBezTo>
                  <a:cubicBezTo>
                    <a:pt x="145942" y="236458"/>
                    <a:pt x="145942" y="236458"/>
                    <a:pt x="145942" y="236458"/>
                  </a:cubicBezTo>
                  <a:lnTo>
                    <a:pt x="145942" y="236458"/>
                  </a:lnTo>
                  <a:close/>
                  <a:moveTo>
                    <a:pt x="220704" y="205177"/>
                  </a:moveTo>
                  <a:cubicBezTo>
                    <a:pt x="220704" y="212838"/>
                    <a:pt x="214314" y="219222"/>
                    <a:pt x="206646" y="219222"/>
                  </a:cubicBezTo>
                  <a:cubicBezTo>
                    <a:pt x="198978" y="219222"/>
                    <a:pt x="192589" y="212838"/>
                    <a:pt x="192589" y="205177"/>
                  </a:cubicBezTo>
                  <a:cubicBezTo>
                    <a:pt x="192589" y="197516"/>
                    <a:pt x="198978" y="191132"/>
                    <a:pt x="206646" y="191132"/>
                  </a:cubicBezTo>
                  <a:cubicBezTo>
                    <a:pt x="206646" y="191132"/>
                    <a:pt x="206646" y="191132"/>
                    <a:pt x="206646" y="191132"/>
                  </a:cubicBezTo>
                  <a:cubicBezTo>
                    <a:pt x="214314" y="191132"/>
                    <a:pt x="220704" y="197516"/>
                    <a:pt x="220704" y="205177"/>
                  </a:cubicBezTo>
                  <a:cubicBezTo>
                    <a:pt x="220704" y="205177"/>
                    <a:pt x="220704" y="205177"/>
                    <a:pt x="220704" y="205177"/>
                  </a:cubicBezTo>
                  <a:lnTo>
                    <a:pt x="220704" y="205177"/>
                  </a:lnTo>
                  <a:close/>
                  <a:moveTo>
                    <a:pt x="236679" y="145168"/>
                  </a:moveTo>
                  <a:cubicBezTo>
                    <a:pt x="229011" y="145168"/>
                    <a:pt x="222621" y="138784"/>
                    <a:pt x="222621" y="131123"/>
                  </a:cubicBezTo>
                  <a:cubicBezTo>
                    <a:pt x="222621" y="123462"/>
                    <a:pt x="229011" y="117078"/>
                    <a:pt x="236679" y="117078"/>
                  </a:cubicBezTo>
                  <a:cubicBezTo>
                    <a:pt x="244347" y="117078"/>
                    <a:pt x="250737" y="123462"/>
                    <a:pt x="250737" y="131123"/>
                  </a:cubicBezTo>
                  <a:cubicBezTo>
                    <a:pt x="250737" y="131123"/>
                    <a:pt x="250737" y="131123"/>
                    <a:pt x="250737" y="131123"/>
                  </a:cubicBezTo>
                  <a:cubicBezTo>
                    <a:pt x="250737" y="138784"/>
                    <a:pt x="244347" y="145168"/>
                    <a:pt x="236679" y="145168"/>
                  </a:cubicBezTo>
                  <a:close/>
                </a:path>
              </a:pathLst>
            </a:custGeom>
            <a:solidFill>
              <a:schemeClr val="bg1"/>
            </a:solidFill>
            <a:ln w="6390" cap="flat">
              <a:noFill/>
              <a:prstDash val="solid"/>
              <a:miter/>
            </a:ln>
          </p:spPr>
          <p:txBody>
            <a:bodyPr rtlCol="0" anchor="ctr"/>
            <a:lstStyle/>
            <a:p>
              <a:endParaRPr lang="en-US"/>
            </a:p>
          </p:txBody>
        </p:sp>
        <p:grpSp>
          <p:nvGrpSpPr>
            <p:cNvPr id="1174" name="Graphic 4">
              <a:extLst>
                <a:ext uri="{FF2B5EF4-FFF2-40B4-BE49-F238E27FC236}">
                  <a16:creationId xmlns:a16="http://schemas.microsoft.com/office/drawing/2014/main" id="{8A08E829-FDB5-40AB-2BAF-40C34527926B}"/>
                </a:ext>
              </a:extLst>
            </p:cNvPr>
            <p:cNvGrpSpPr>
              <a:grpSpLocks noChangeAspect="1"/>
            </p:cNvGrpSpPr>
            <p:nvPr/>
          </p:nvGrpSpPr>
          <p:grpSpPr>
            <a:xfrm>
              <a:off x="3346266" y="4221480"/>
              <a:ext cx="304109" cy="204338"/>
              <a:chOff x="3667726" y="1017131"/>
              <a:chExt cx="242275" cy="162791"/>
            </a:xfrm>
            <a:solidFill>
              <a:schemeClr val="bg1"/>
            </a:solidFill>
          </p:grpSpPr>
          <p:sp>
            <p:nvSpPr>
              <p:cNvPr id="1175" name="Graphic 4">
                <a:extLst>
                  <a:ext uri="{FF2B5EF4-FFF2-40B4-BE49-F238E27FC236}">
                    <a16:creationId xmlns:a16="http://schemas.microsoft.com/office/drawing/2014/main" id="{2B0A0F9B-D683-FE03-0C71-225534E4E365}"/>
                  </a:ext>
                </a:extLst>
              </p:cNvPr>
              <p:cNvSpPr/>
              <p:nvPr/>
            </p:nvSpPr>
            <p:spPr>
              <a:xfrm>
                <a:off x="3667726" y="1076156"/>
                <a:ext cx="72979" cy="95467"/>
              </a:xfrm>
              <a:custGeom>
                <a:avLst/>
                <a:gdLst>
                  <a:gd name="connsiteX0" fmla="*/ 41632 w 72979"/>
                  <a:gd name="connsiteY0" fmla="*/ 62271 h 95467"/>
                  <a:gd name="connsiteX1" fmla="*/ 72304 w 72979"/>
                  <a:gd name="connsiteY1" fmla="*/ 21413 h 95467"/>
                  <a:gd name="connsiteX2" fmla="*/ 5849 w 72979"/>
                  <a:gd name="connsiteY2" fmla="*/ 984 h 95467"/>
                  <a:gd name="connsiteX3" fmla="*/ 98 w 72979"/>
                  <a:gd name="connsiteY3" fmla="*/ 8007 h 95467"/>
                  <a:gd name="connsiteX4" fmla="*/ 7127 w 72979"/>
                  <a:gd name="connsiteY4" fmla="*/ 13752 h 95467"/>
                  <a:gd name="connsiteX5" fmla="*/ 60163 w 72979"/>
                  <a:gd name="connsiteY5" fmla="*/ 25243 h 95467"/>
                  <a:gd name="connsiteX6" fmla="*/ 36521 w 72979"/>
                  <a:gd name="connsiteY6" fmla="*/ 50779 h 95467"/>
                  <a:gd name="connsiteX7" fmla="*/ 19906 w 72979"/>
                  <a:gd name="connsiteY7" fmla="*/ 69293 h 95467"/>
                  <a:gd name="connsiteX8" fmla="*/ 35242 w 72979"/>
                  <a:gd name="connsiteY8" fmla="*/ 94190 h 95467"/>
                  <a:gd name="connsiteX9" fmla="*/ 39076 w 72979"/>
                  <a:gd name="connsiteY9" fmla="*/ 95467 h 95467"/>
                  <a:gd name="connsiteX10" fmla="*/ 44189 w 72979"/>
                  <a:gd name="connsiteY10" fmla="*/ 92914 h 95467"/>
                  <a:gd name="connsiteX11" fmla="*/ 42910 w 72979"/>
                  <a:gd name="connsiteY11" fmla="*/ 83976 h 95467"/>
                  <a:gd name="connsiteX12" fmla="*/ 33326 w 72979"/>
                  <a:gd name="connsiteY12" fmla="*/ 70570 h 95467"/>
                  <a:gd name="connsiteX13" fmla="*/ 41632 w 72979"/>
                  <a:gd name="connsiteY13" fmla="*/ 62271 h 9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979" h="95467">
                    <a:moveTo>
                      <a:pt x="41632" y="62271"/>
                    </a:moveTo>
                    <a:cubicBezTo>
                      <a:pt x="63358" y="52056"/>
                      <a:pt x="76138" y="36096"/>
                      <a:pt x="72304" y="21413"/>
                    </a:cubicBezTo>
                    <a:cubicBezTo>
                      <a:pt x="69748" y="11837"/>
                      <a:pt x="57607" y="-4123"/>
                      <a:pt x="5849" y="984"/>
                    </a:cubicBezTo>
                    <a:cubicBezTo>
                      <a:pt x="2015" y="984"/>
                      <a:pt x="-541" y="4176"/>
                      <a:pt x="98" y="8007"/>
                    </a:cubicBezTo>
                    <a:cubicBezTo>
                      <a:pt x="98" y="11837"/>
                      <a:pt x="3293" y="14391"/>
                      <a:pt x="7127" y="13752"/>
                    </a:cubicBezTo>
                    <a:cubicBezTo>
                      <a:pt x="43549" y="10560"/>
                      <a:pt x="58246" y="17583"/>
                      <a:pt x="60163" y="25243"/>
                    </a:cubicBezTo>
                    <a:cubicBezTo>
                      <a:pt x="62080" y="32904"/>
                      <a:pt x="54412" y="43119"/>
                      <a:pt x="36521" y="50779"/>
                    </a:cubicBezTo>
                    <a:cubicBezTo>
                      <a:pt x="26296" y="55248"/>
                      <a:pt x="20546" y="61632"/>
                      <a:pt x="19906" y="69293"/>
                    </a:cubicBezTo>
                    <a:cubicBezTo>
                      <a:pt x="18629" y="82699"/>
                      <a:pt x="33964" y="93552"/>
                      <a:pt x="35242" y="94190"/>
                    </a:cubicBezTo>
                    <a:cubicBezTo>
                      <a:pt x="36521" y="94829"/>
                      <a:pt x="37799" y="95467"/>
                      <a:pt x="39076" y="95467"/>
                    </a:cubicBezTo>
                    <a:cubicBezTo>
                      <a:pt x="40994" y="95467"/>
                      <a:pt x="42910" y="94190"/>
                      <a:pt x="44189" y="92914"/>
                    </a:cubicBezTo>
                    <a:cubicBezTo>
                      <a:pt x="46105" y="89722"/>
                      <a:pt x="45466" y="85891"/>
                      <a:pt x="42910" y="83976"/>
                    </a:cubicBezTo>
                    <a:cubicBezTo>
                      <a:pt x="39716" y="81423"/>
                      <a:pt x="32686" y="75039"/>
                      <a:pt x="33326" y="70570"/>
                    </a:cubicBezTo>
                    <a:cubicBezTo>
                      <a:pt x="33326" y="66739"/>
                      <a:pt x="38437" y="63547"/>
                      <a:pt x="41632" y="62271"/>
                    </a:cubicBezTo>
                    <a:close/>
                  </a:path>
                </a:pathLst>
              </a:custGeom>
              <a:grpFill/>
              <a:ln w="6390" cap="flat">
                <a:noFill/>
                <a:prstDash val="solid"/>
                <a:miter/>
              </a:ln>
            </p:spPr>
            <p:txBody>
              <a:bodyPr rtlCol="0" anchor="ctr"/>
              <a:lstStyle/>
              <a:p>
                <a:endParaRPr lang="en-US"/>
              </a:p>
            </p:txBody>
          </p:sp>
          <p:sp>
            <p:nvSpPr>
              <p:cNvPr id="1176" name="Graphic 4">
                <a:extLst>
                  <a:ext uri="{FF2B5EF4-FFF2-40B4-BE49-F238E27FC236}">
                    <a16:creationId xmlns:a16="http://schemas.microsoft.com/office/drawing/2014/main" id="{1A3D33F7-4900-315F-C4D6-52F435CC3F1A}"/>
                  </a:ext>
                </a:extLst>
              </p:cNvPr>
              <p:cNvSpPr/>
              <p:nvPr/>
            </p:nvSpPr>
            <p:spPr>
              <a:xfrm>
                <a:off x="3735306" y="1017131"/>
                <a:ext cx="162555" cy="162791"/>
              </a:xfrm>
              <a:custGeom>
                <a:avLst/>
                <a:gdLst>
                  <a:gd name="connsiteX0" fmla="*/ 162555 w 162555"/>
                  <a:gd name="connsiteY0" fmla="*/ 30005 h 162791"/>
                  <a:gd name="connsiteX1" fmla="*/ 160638 w 162555"/>
                  <a:gd name="connsiteY1" fmla="*/ 25536 h 162791"/>
                  <a:gd name="connsiteX2" fmla="*/ 136995 w 162555"/>
                  <a:gd name="connsiteY2" fmla="*/ 1915 h 162791"/>
                  <a:gd name="connsiteX3" fmla="*/ 128049 w 162555"/>
                  <a:gd name="connsiteY3" fmla="*/ 1915 h 162791"/>
                  <a:gd name="connsiteX4" fmla="*/ 82042 w 162555"/>
                  <a:gd name="connsiteY4" fmla="*/ 47880 h 162791"/>
                  <a:gd name="connsiteX5" fmla="*/ 13030 w 162555"/>
                  <a:gd name="connsiteY5" fmla="*/ 117465 h 162791"/>
                  <a:gd name="connsiteX6" fmla="*/ 11753 w 162555"/>
                  <a:gd name="connsiteY6" fmla="*/ 120019 h 162791"/>
                  <a:gd name="connsiteX7" fmla="*/ 251 w 162555"/>
                  <a:gd name="connsiteY7" fmla="*/ 154492 h 162791"/>
                  <a:gd name="connsiteX8" fmla="*/ 1529 w 162555"/>
                  <a:gd name="connsiteY8" fmla="*/ 160876 h 162791"/>
                  <a:gd name="connsiteX9" fmla="*/ 6002 w 162555"/>
                  <a:gd name="connsiteY9" fmla="*/ 162792 h 162791"/>
                  <a:gd name="connsiteX10" fmla="*/ 7919 w 162555"/>
                  <a:gd name="connsiteY10" fmla="*/ 162153 h 162791"/>
                  <a:gd name="connsiteX11" fmla="*/ 42424 w 162555"/>
                  <a:gd name="connsiteY11" fmla="*/ 150662 h 162791"/>
                  <a:gd name="connsiteX12" fmla="*/ 44980 w 162555"/>
                  <a:gd name="connsiteY12" fmla="*/ 149385 h 162791"/>
                  <a:gd name="connsiteX13" fmla="*/ 114631 w 162555"/>
                  <a:gd name="connsiteY13" fmla="*/ 79800 h 162791"/>
                  <a:gd name="connsiteX14" fmla="*/ 160638 w 162555"/>
                  <a:gd name="connsiteY14" fmla="*/ 33835 h 162791"/>
                  <a:gd name="connsiteX15" fmla="*/ 162555 w 162555"/>
                  <a:gd name="connsiteY15" fmla="*/ 30005 h 162791"/>
                  <a:gd name="connsiteX16" fmla="*/ 36673 w 162555"/>
                  <a:gd name="connsiteY16" fmla="*/ 139809 h 162791"/>
                  <a:gd name="connsiteX17" fmla="*/ 15587 w 162555"/>
                  <a:gd name="connsiteY17" fmla="*/ 146832 h 162791"/>
                  <a:gd name="connsiteX18" fmla="*/ 22615 w 162555"/>
                  <a:gd name="connsiteY18" fmla="*/ 125764 h 162791"/>
                  <a:gd name="connsiteX19" fmla="*/ 86515 w 162555"/>
                  <a:gd name="connsiteY19" fmla="*/ 61925 h 162791"/>
                  <a:gd name="connsiteX20" fmla="*/ 100573 w 162555"/>
                  <a:gd name="connsiteY20" fmla="*/ 75969 h 162791"/>
                  <a:gd name="connsiteX21" fmla="*/ 36673 w 162555"/>
                  <a:gd name="connsiteY21" fmla="*/ 139809 h 162791"/>
                  <a:gd name="connsiteX22" fmla="*/ 110158 w 162555"/>
                  <a:gd name="connsiteY22" fmla="*/ 67032 h 162791"/>
                  <a:gd name="connsiteX23" fmla="*/ 96100 w 162555"/>
                  <a:gd name="connsiteY23" fmla="*/ 52987 h 162791"/>
                  <a:gd name="connsiteX24" fmla="*/ 133162 w 162555"/>
                  <a:gd name="connsiteY24" fmla="*/ 15960 h 162791"/>
                  <a:gd name="connsiteX25" fmla="*/ 147219 w 162555"/>
                  <a:gd name="connsiteY25" fmla="*/ 30005 h 162791"/>
                  <a:gd name="connsiteX26" fmla="*/ 110158 w 162555"/>
                  <a:gd name="connsiteY26" fmla="*/ 67032 h 162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2555" h="162791">
                    <a:moveTo>
                      <a:pt x="162555" y="30005"/>
                    </a:moveTo>
                    <a:cubicBezTo>
                      <a:pt x="162555" y="28090"/>
                      <a:pt x="161916" y="26813"/>
                      <a:pt x="160638" y="25536"/>
                    </a:cubicBezTo>
                    <a:lnTo>
                      <a:pt x="136995" y="1915"/>
                    </a:lnTo>
                    <a:cubicBezTo>
                      <a:pt x="134439" y="-638"/>
                      <a:pt x="130605" y="-638"/>
                      <a:pt x="128049" y="1915"/>
                    </a:cubicBezTo>
                    <a:lnTo>
                      <a:pt x="82042" y="47880"/>
                    </a:lnTo>
                    <a:lnTo>
                      <a:pt x="13030" y="117465"/>
                    </a:lnTo>
                    <a:cubicBezTo>
                      <a:pt x="12392" y="118104"/>
                      <a:pt x="11753" y="118742"/>
                      <a:pt x="11753" y="120019"/>
                    </a:cubicBezTo>
                    <a:lnTo>
                      <a:pt x="251" y="154492"/>
                    </a:lnTo>
                    <a:cubicBezTo>
                      <a:pt x="-388" y="157046"/>
                      <a:pt x="251" y="158961"/>
                      <a:pt x="1529" y="160876"/>
                    </a:cubicBezTo>
                    <a:cubicBezTo>
                      <a:pt x="2807" y="162153"/>
                      <a:pt x="4085" y="162792"/>
                      <a:pt x="6002" y="162792"/>
                    </a:cubicBezTo>
                    <a:cubicBezTo>
                      <a:pt x="6641" y="162792"/>
                      <a:pt x="7280" y="162792"/>
                      <a:pt x="7919" y="162153"/>
                    </a:cubicBezTo>
                    <a:lnTo>
                      <a:pt x="42424" y="150662"/>
                    </a:lnTo>
                    <a:cubicBezTo>
                      <a:pt x="43063" y="150024"/>
                      <a:pt x="44341" y="150024"/>
                      <a:pt x="44980" y="149385"/>
                    </a:cubicBezTo>
                    <a:lnTo>
                      <a:pt x="114631" y="79800"/>
                    </a:lnTo>
                    <a:lnTo>
                      <a:pt x="160638" y="33835"/>
                    </a:lnTo>
                    <a:cubicBezTo>
                      <a:pt x="161916" y="33197"/>
                      <a:pt x="162555" y="31282"/>
                      <a:pt x="162555" y="30005"/>
                    </a:cubicBezTo>
                    <a:close/>
                    <a:moveTo>
                      <a:pt x="36673" y="139809"/>
                    </a:moveTo>
                    <a:lnTo>
                      <a:pt x="15587" y="146832"/>
                    </a:lnTo>
                    <a:lnTo>
                      <a:pt x="22615" y="125764"/>
                    </a:lnTo>
                    <a:lnTo>
                      <a:pt x="86515" y="61925"/>
                    </a:lnTo>
                    <a:lnTo>
                      <a:pt x="100573" y="75969"/>
                    </a:lnTo>
                    <a:lnTo>
                      <a:pt x="36673" y="139809"/>
                    </a:lnTo>
                    <a:close/>
                    <a:moveTo>
                      <a:pt x="110158" y="67032"/>
                    </a:moveTo>
                    <a:lnTo>
                      <a:pt x="96100" y="52987"/>
                    </a:lnTo>
                    <a:lnTo>
                      <a:pt x="133162" y="15960"/>
                    </a:lnTo>
                    <a:lnTo>
                      <a:pt x="147219" y="30005"/>
                    </a:lnTo>
                    <a:lnTo>
                      <a:pt x="110158" y="67032"/>
                    </a:lnTo>
                    <a:close/>
                  </a:path>
                </a:pathLst>
              </a:custGeom>
              <a:grpFill/>
              <a:ln w="6390" cap="flat">
                <a:noFill/>
                <a:prstDash val="solid"/>
                <a:miter/>
              </a:ln>
            </p:spPr>
            <p:txBody>
              <a:bodyPr rtlCol="0" anchor="ctr"/>
              <a:lstStyle/>
              <a:p>
                <a:endParaRPr lang="en-US"/>
              </a:p>
            </p:txBody>
          </p:sp>
          <p:sp>
            <p:nvSpPr>
              <p:cNvPr id="1177" name="Graphic 4">
                <a:extLst>
                  <a:ext uri="{FF2B5EF4-FFF2-40B4-BE49-F238E27FC236}">
                    <a16:creationId xmlns:a16="http://schemas.microsoft.com/office/drawing/2014/main" id="{15E0A233-48F3-555A-27D9-4E410E7403F2}"/>
                  </a:ext>
                </a:extLst>
              </p:cNvPr>
              <p:cNvSpPr/>
              <p:nvPr/>
            </p:nvSpPr>
            <p:spPr>
              <a:xfrm>
                <a:off x="3864633" y="1077140"/>
                <a:ext cx="45368" cy="45326"/>
              </a:xfrm>
              <a:custGeom>
                <a:avLst/>
                <a:gdLst>
                  <a:gd name="connsiteX0" fmla="*/ 43451 w 45368"/>
                  <a:gd name="connsiteY0" fmla="*/ 1915 h 45326"/>
                  <a:gd name="connsiteX1" fmla="*/ 34506 w 45368"/>
                  <a:gd name="connsiteY1" fmla="*/ 1915 h 45326"/>
                  <a:gd name="connsiteX2" fmla="*/ 1917 w 45368"/>
                  <a:gd name="connsiteY2" fmla="*/ 34474 h 45326"/>
                  <a:gd name="connsiteX3" fmla="*/ 1917 w 45368"/>
                  <a:gd name="connsiteY3" fmla="*/ 43411 h 45326"/>
                  <a:gd name="connsiteX4" fmla="*/ 10863 w 45368"/>
                  <a:gd name="connsiteY4" fmla="*/ 43411 h 45326"/>
                  <a:gd name="connsiteX5" fmla="*/ 10863 w 45368"/>
                  <a:gd name="connsiteY5" fmla="*/ 43411 h 45326"/>
                  <a:gd name="connsiteX6" fmla="*/ 43451 w 45368"/>
                  <a:gd name="connsiteY6" fmla="*/ 10853 h 45326"/>
                  <a:gd name="connsiteX7" fmla="*/ 43451 w 45368"/>
                  <a:gd name="connsiteY7" fmla="*/ 1915 h 45326"/>
                  <a:gd name="connsiteX8" fmla="*/ 43451 w 45368"/>
                  <a:gd name="connsiteY8" fmla="*/ 1915 h 4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368" h="45326">
                    <a:moveTo>
                      <a:pt x="43451" y="1915"/>
                    </a:moveTo>
                    <a:cubicBezTo>
                      <a:pt x="40896" y="-638"/>
                      <a:pt x="37061" y="-638"/>
                      <a:pt x="34506" y="1915"/>
                    </a:cubicBezTo>
                    <a:lnTo>
                      <a:pt x="1917" y="34474"/>
                    </a:lnTo>
                    <a:cubicBezTo>
                      <a:pt x="-639" y="37027"/>
                      <a:pt x="-639" y="40857"/>
                      <a:pt x="1917" y="43411"/>
                    </a:cubicBezTo>
                    <a:cubicBezTo>
                      <a:pt x="4473" y="45965"/>
                      <a:pt x="8307" y="45965"/>
                      <a:pt x="10863" y="43411"/>
                    </a:cubicBezTo>
                    <a:lnTo>
                      <a:pt x="10863" y="43411"/>
                    </a:lnTo>
                    <a:lnTo>
                      <a:pt x="43451" y="10853"/>
                    </a:lnTo>
                    <a:cubicBezTo>
                      <a:pt x="46008" y="8299"/>
                      <a:pt x="46008" y="4469"/>
                      <a:pt x="43451" y="1915"/>
                    </a:cubicBezTo>
                    <a:cubicBezTo>
                      <a:pt x="43451" y="1915"/>
                      <a:pt x="43451" y="1915"/>
                      <a:pt x="43451" y="1915"/>
                    </a:cubicBezTo>
                    <a:close/>
                  </a:path>
                </a:pathLst>
              </a:custGeom>
              <a:grpFill/>
              <a:ln w="6390" cap="flat">
                <a:noFill/>
                <a:prstDash val="solid"/>
                <a:miter/>
              </a:ln>
            </p:spPr>
            <p:txBody>
              <a:bodyPr rtlCol="0" anchor="ctr"/>
              <a:lstStyle/>
              <a:p>
                <a:endParaRPr lang="en-US"/>
              </a:p>
            </p:txBody>
          </p:sp>
        </p:grpSp>
        <p:grpSp>
          <p:nvGrpSpPr>
            <p:cNvPr id="1178" name="Graphic 4">
              <a:extLst>
                <a:ext uri="{FF2B5EF4-FFF2-40B4-BE49-F238E27FC236}">
                  <a16:creationId xmlns:a16="http://schemas.microsoft.com/office/drawing/2014/main" id="{74C04528-5785-5D54-730D-93B74C8790F2}"/>
                </a:ext>
              </a:extLst>
            </p:cNvPr>
            <p:cNvGrpSpPr/>
            <p:nvPr/>
          </p:nvGrpSpPr>
          <p:grpSpPr>
            <a:xfrm>
              <a:off x="7207787" y="4185296"/>
              <a:ext cx="276015" cy="276720"/>
              <a:chOff x="3650915" y="3867284"/>
              <a:chExt cx="276015" cy="276720"/>
            </a:xfrm>
            <a:solidFill>
              <a:schemeClr val="bg1"/>
            </a:solidFill>
          </p:grpSpPr>
          <p:sp>
            <p:nvSpPr>
              <p:cNvPr id="1179" name="Graphic 4">
                <a:extLst>
                  <a:ext uri="{FF2B5EF4-FFF2-40B4-BE49-F238E27FC236}">
                    <a16:creationId xmlns:a16="http://schemas.microsoft.com/office/drawing/2014/main" id="{61614B1F-92FB-4282-9401-7C35CC230B21}"/>
                  </a:ext>
                </a:extLst>
              </p:cNvPr>
              <p:cNvSpPr/>
              <p:nvPr/>
            </p:nvSpPr>
            <p:spPr>
              <a:xfrm>
                <a:off x="3759199" y="3867284"/>
                <a:ext cx="56969" cy="62219"/>
              </a:xfrm>
              <a:custGeom>
                <a:avLst/>
                <a:gdLst>
                  <a:gd name="connsiteX0" fmla="*/ 5751 w 56969"/>
                  <a:gd name="connsiteY0" fmla="*/ 61581 h 62219"/>
                  <a:gd name="connsiteX1" fmla="*/ 12780 w 56969"/>
                  <a:gd name="connsiteY1" fmla="*/ 56474 h 62219"/>
                  <a:gd name="connsiteX2" fmla="*/ 26838 w 56969"/>
                  <a:gd name="connsiteY2" fmla="*/ 50728 h 62219"/>
                  <a:gd name="connsiteX3" fmla="*/ 44091 w 56969"/>
                  <a:gd name="connsiteY3" fmla="*/ 57112 h 62219"/>
                  <a:gd name="connsiteX4" fmla="*/ 50481 w 56969"/>
                  <a:gd name="connsiteY4" fmla="*/ 62219 h 62219"/>
                  <a:gd name="connsiteX5" fmla="*/ 51759 w 56969"/>
                  <a:gd name="connsiteY5" fmla="*/ 62219 h 62219"/>
                  <a:gd name="connsiteX6" fmla="*/ 56871 w 56969"/>
                  <a:gd name="connsiteY6" fmla="*/ 54559 h 62219"/>
                  <a:gd name="connsiteX7" fmla="*/ 33867 w 56969"/>
                  <a:gd name="connsiteY7" fmla="*/ 38599 h 62219"/>
                  <a:gd name="connsiteX8" fmla="*/ 40896 w 56969"/>
                  <a:gd name="connsiteY8" fmla="*/ 35407 h 62219"/>
                  <a:gd name="connsiteX9" fmla="*/ 48564 w 56969"/>
                  <a:gd name="connsiteY9" fmla="*/ 22639 h 62219"/>
                  <a:gd name="connsiteX10" fmla="*/ 32589 w 56969"/>
                  <a:gd name="connsiteY10" fmla="*/ 295 h 62219"/>
                  <a:gd name="connsiteX11" fmla="*/ 10224 w 56969"/>
                  <a:gd name="connsiteY11" fmla="*/ 16255 h 62219"/>
                  <a:gd name="connsiteX12" fmla="*/ 24282 w 56969"/>
                  <a:gd name="connsiteY12" fmla="*/ 37960 h 62219"/>
                  <a:gd name="connsiteX13" fmla="*/ 0 w 56969"/>
                  <a:gd name="connsiteY13" fmla="*/ 54559 h 62219"/>
                  <a:gd name="connsiteX14" fmla="*/ 5751 w 56969"/>
                  <a:gd name="connsiteY14" fmla="*/ 61581 h 62219"/>
                  <a:gd name="connsiteX15" fmla="*/ 23004 w 56969"/>
                  <a:gd name="connsiteY15" fmla="*/ 18170 h 62219"/>
                  <a:gd name="connsiteX16" fmla="*/ 29394 w 56969"/>
                  <a:gd name="connsiteY16" fmla="*/ 12424 h 62219"/>
                  <a:gd name="connsiteX17" fmla="*/ 30672 w 56969"/>
                  <a:gd name="connsiteY17" fmla="*/ 12424 h 62219"/>
                  <a:gd name="connsiteX18" fmla="*/ 36423 w 56969"/>
                  <a:gd name="connsiteY18" fmla="*/ 20085 h 62219"/>
                  <a:gd name="connsiteX19" fmla="*/ 33867 w 56969"/>
                  <a:gd name="connsiteY19" fmla="*/ 24554 h 62219"/>
                  <a:gd name="connsiteX20" fmla="*/ 28755 w 56969"/>
                  <a:gd name="connsiteY20" fmla="*/ 25831 h 62219"/>
                  <a:gd name="connsiteX21" fmla="*/ 23004 w 56969"/>
                  <a:gd name="connsiteY21" fmla="*/ 18170 h 6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969" h="62219">
                    <a:moveTo>
                      <a:pt x="5751" y="61581"/>
                    </a:moveTo>
                    <a:cubicBezTo>
                      <a:pt x="8946" y="62219"/>
                      <a:pt x="12780" y="59666"/>
                      <a:pt x="12780" y="56474"/>
                    </a:cubicBezTo>
                    <a:cubicBezTo>
                      <a:pt x="13419" y="53920"/>
                      <a:pt x="19170" y="50728"/>
                      <a:pt x="26838" y="50728"/>
                    </a:cubicBezTo>
                    <a:cubicBezTo>
                      <a:pt x="35784" y="50090"/>
                      <a:pt x="43451" y="53282"/>
                      <a:pt x="44091" y="57112"/>
                    </a:cubicBezTo>
                    <a:cubicBezTo>
                      <a:pt x="44730" y="60304"/>
                      <a:pt x="47286" y="62219"/>
                      <a:pt x="50481" y="62219"/>
                    </a:cubicBezTo>
                    <a:cubicBezTo>
                      <a:pt x="51119" y="62219"/>
                      <a:pt x="51119" y="62219"/>
                      <a:pt x="51759" y="62219"/>
                    </a:cubicBezTo>
                    <a:cubicBezTo>
                      <a:pt x="54954" y="61581"/>
                      <a:pt x="57509" y="57751"/>
                      <a:pt x="56871" y="54559"/>
                    </a:cubicBezTo>
                    <a:cubicBezTo>
                      <a:pt x="54954" y="44983"/>
                      <a:pt x="44730" y="39875"/>
                      <a:pt x="33867" y="38599"/>
                    </a:cubicBezTo>
                    <a:cubicBezTo>
                      <a:pt x="36423" y="37960"/>
                      <a:pt x="38340" y="37322"/>
                      <a:pt x="40896" y="35407"/>
                    </a:cubicBezTo>
                    <a:cubicBezTo>
                      <a:pt x="45369" y="32215"/>
                      <a:pt x="47925" y="27746"/>
                      <a:pt x="48564" y="22639"/>
                    </a:cubicBezTo>
                    <a:cubicBezTo>
                      <a:pt x="50481" y="11786"/>
                      <a:pt x="42813" y="2210"/>
                      <a:pt x="32589" y="295"/>
                    </a:cubicBezTo>
                    <a:cubicBezTo>
                      <a:pt x="21726" y="-1620"/>
                      <a:pt x="12141" y="6040"/>
                      <a:pt x="10224" y="16255"/>
                    </a:cubicBezTo>
                    <a:cubicBezTo>
                      <a:pt x="8307" y="25831"/>
                      <a:pt x="14697" y="35407"/>
                      <a:pt x="24282" y="37960"/>
                    </a:cubicBezTo>
                    <a:cubicBezTo>
                      <a:pt x="10863" y="39237"/>
                      <a:pt x="1278" y="45621"/>
                      <a:pt x="0" y="54559"/>
                    </a:cubicBezTo>
                    <a:cubicBezTo>
                      <a:pt x="0" y="57751"/>
                      <a:pt x="2556" y="61581"/>
                      <a:pt x="5751" y="61581"/>
                    </a:cubicBezTo>
                    <a:close/>
                    <a:moveTo>
                      <a:pt x="23004" y="18170"/>
                    </a:moveTo>
                    <a:cubicBezTo>
                      <a:pt x="23643" y="14978"/>
                      <a:pt x="26199" y="12424"/>
                      <a:pt x="29394" y="12424"/>
                    </a:cubicBezTo>
                    <a:cubicBezTo>
                      <a:pt x="30033" y="12424"/>
                      <a:pt x="30033" y="12424"/>
                      <a:pt x="30672" y="12424"/>
                    </a:cubicBezTo>
                    <a:cubicBezTo>
                      <a:pt x="34506" y="13063"/>
                      <a:pt x="37062" y="16255"/>
                      <a:pt x="36423" y="20085"/>
                    </a:cubicBezTo>
                    <a:cubicBezTo>
                      <a:pt x="36423" y="22000"/>
                      <a:pt x="35145" y="23277"/>
                      <a:pt x="33867" y="24554"/>
                    </a:cubicBezTo>
                    <a:cubicBezTo>
                      <a:pt x="32589" y="25831"/>
                      <a:pt x="30672" y="25831"/>
                      <a:pt x="28755" y="25831"/>
                    </a:cubicBezTo>
                    <a:cubicBezTo>
                      <a:pt x="24921" y="25192"/>
                      <a:pt x="23004" y="22000"/>
                      <a:pt x="23004" y="18170"/>
                    </a:cubicBezTo>
                    <a:close/>
                  </a:path>
                </a:pathLst>
              </a:custGeom>
              <a:grpFill/>
              <a:ln w="6390" cap="flat">
                <a:noFill/>
                <a:prstDash val="solid"/>
                <a:miter/>
              </a:ln>
            </p:spPr>
            <p:txBody>
              <a:bodyPr rtlCol="0" anchor="ctr"/>
              <a:lstStyle/>
              <a:p>
                <a:endParaRPr lang="en-US"/>
              </a:p>
            </p:txBody>
          </p:sp>
          <p:sp>
            <p:nvSpPr>
              <p:cNvPr id="1180" name="Graphic 4">
                <a:extLst>
                  <a:ext uri="{FF2B5EF4-FFF2-40B4-BE49-F238E27FC236}">
                    <a16:creationId xmlns:a16="http://schemas.microsoft.com/office/drawing/2014/main" id="{B55DC7E8-BB20-6646-23E2-26B9F97196B7}"/>
                  </a:ext>
                </a:extLst>
              </p:cNvPr>
              <p:cNvSpPr/>
              <p:nvPr/>
            </p:nvSpPr>
            <p:spPr>
              <a:xfrm>
                <a:off x="3760379" y="4081321"/>
                <a:ext cx="56428" cy="62683"/>
              </a:xfrm>
              <a:custGeom>
                <a:avLst/>
                <a:gdLst>
                  <a:gd name="connsiteX0" fmla="*/ 51218 w 56428"/>
                  <a:gd name="connsiteY0" fmla="*/ 121 h 62683"/>
                  <a:gd name="connsiteX1" fmla="*/ 43550 w 56428"/>
                  <a:gd name="connsiteY1" fmla="*/ 5228 h 62683"/>
                  <a:gd name="connsiteX2" fmla="*/ 26297 w 56428"/>
                  <a:gd name="connsiteY2" fmla="*/ 11612 h 62683"/>
                  <a:gd name="connsiteX3" fmla="*/ 12240 w 56428"/>
                  <a:gd name="connsiteY3" fmla="*/ 5866 h 62683"/>
                  <a:gd name="connsiteX4" fmla="*/ 5210 w 56428"/>
                  <a:gd name="connsiteY4" fmla="*/ 759 h 62683"/>
                  <a:gd name="connsiteX5" fmla="*/ 99 w 56428"/>
                  <a:gd name="connsiteY5" fmla="*/ 7782 h 62683"/>
                  <a:gd name="connsiteX6" fmla="*/ 24380 w 56428"/>
                  <a:gd name="connsiteY6" fmla="*/ 24380 h 62683"/>
                  <a:gd name="connsiteX7" fmla="*/ 10322 w 56428"/>
                  <a:gd name="connsiteY7" fmla="*/ 46086 h 62683"/>
                  <a:gd name="connsiteX8" fmla="*/ 29492 w 56428"/>
                  <a:gd name="connsiteY8" fmla="*/ 62684 h 62683"/>
                  <a:gd name="connsiteX9" fmla="*/ 32687 w 56428"/>
                  <a:gd name="connsiteY9" fmla="*/ 62684 h 62683"/>
                  <a:gd name="connsiteX10" fmla="*/ 48662 w 56428"/>
                  <a:gd name="connsiteY10" fmla="*/ 40340 h 62683"/>
                  <a:gd name="connsiteX11" fmla="*/ 33965 w 56428"/>
                  <a:gd name="connsiteY11" fmla="*/ 24380 h 62683"/>
                  <a:gd name="connsiteX12" fmla="*/ 56330 w 56428"/>
                  <a:gd name="connsiteY12" fmla="*/ 8420 h 62683"/>
                  <a:gd name="connsiteX13" fmla="*/ 51218 w 56428"/>
                  <a:gd name="connsiteY13" fmla="*/ 121 h 62683"/>
                  <a:gd name="connsiteX14" fmla="*/ 29492 w 56428"/>
                  <a:gd name="connsiteY14" fmla="*/ 49278 h 62683"/>
                  <a:gd name="connsiteX15" fmla="*/ 21824 w 56428"/>
                  <a:gd name="connsiteY15" fmla="*/ 43532 h 62683"/>
                  <a:gd name="connsiteX16" fmla="*/ 27575 w 56428"/>
                  <a:gd name="connsiteY16" fmla="*/ 35871 h 62683"/>
                  <a:gd name="connsiteX17" fmla="*/ 35243 w 56428"/>
                  <a:gd name="connsiteY17" fmla="*/ 41617 h 62683"/>
                  <a:gd name="connsiteX18" fmla="*/ 29492 w 56428"/>
                  <a:gd name="connsiteY18" fmla="*/ 49278 h 62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428" h="62683">
                    <a:moveTo>
                      <a:pt x="51218" y="121"/>
                    </a:moveTo>
                    <a:cubicBezTo>
                      <a:pt x="48023" y="-518"/>
                      <a:pt x="44189" y="1398"/>
                      <a:pt x="43550" y="5228"/>
                    </a:cubicBezTo>
                    <a:cubicBezTo>
                      <a:pt x="42911" y="9058"/>
                      <a:pt x="34604" y="12250"/>
                      <a:pt x="26297" y="11612"/>
                    </a:cubicBezTo>
                    <a:cubicBezTo>
                      <a:pt x="17990" y="11612"/>
                      <a:pt x="12240" y="8420"/>
                      <a:pt x="12240" y="5866"/>
                    </a:cubicBezTo>
                    <a:cubicBezTo>
                      <a:pt x="11600" y="2674"/>
                      <a:pt x="8405" y="121"/>
                      <a:pt x="5210" y="759"/>
                    </a:cubicBezTo>
                    <a:cubicBezTo>
                      <a:pt x="2015" y="1398"/>
                      <a:pt x="-540" y="4590"/>
                      <a:pt x="99" y="7782"/>
                    </a:cubicBezTo>
                    <a:cubicBezTo>
                      <a:pt x="1377" y="16719"/>
                      <a:pt x="10962" y="23103"/>
                      <a:pt x="24380" y="24380"/>
                    </a:cubicBezTo>
                    <a:cubicBezTo>
                      <a:pt x="14795" y="26934"/>
                      <a:pt x="8405" y="36510"/>
                      <a:pt x="10322" y="46086"/>
                    </a:cubicBezTo>
                    <a:cubicBezTo>
                      <a:pt x="11600" y="55662"/>
                      <a:pt x="19907" y="62684"/>
                      <a:pt x="29492" y="62684"/>
                    </a:cubicBezTo>
                    <a:cubicBezTo>
                      <a:pt x="30770" y="62684"/>
                      <a:pt x="31409" y="62684"/>
                      <a:pt x="32687" y="62684"/>
                    </a:cubicBezTo>
                    <a:cubicBezTo>
                      <a:pt x="43550" y="60769"/>
                      <a:pt x="50579" y="51193"/>
                      <a:pt x="48662" y="40340"/>
                    </a:cubicBezTo>
                    <a:cubicBezTo>
                      <a:pt x="47384" y="32679"/>
                      <a:pt x="41633" y="26295"/>
                      <a:pt x="33965" y="24380"/>
                    </a:cubicBezTo>
                    <a:cubicBezTo>
                      <a:pt x="44828" y="23103"/>
                      <a:pt x="54413" y="17996"/>
                      <a:pt x="56330" y="8420"/>
                    </a:cubicBezTo>
                    <a:cubicBezTo>
                      <a:pt x="56969" y="3951"/>
                      <a:pt x="54413" y="759"/>
                      <a:pt x="51218" y="121"/>
                    </a:cubicBezTo>
                    <a:close/>
                    <a:moveTo>
                      <a:pt x="29492" y="49278"/>
                    </a:moveTo>
                    <a:cubicBezTo>
                      <a:pt x="25658" y="49916"/>
                      <a:pt x="22463" y="47362"/>
                      <a:pt x="21824" y="43532"/>
                    </a:cubicBezTo>
                    <a:cubicBezTo>
                      <a:pt x="21185" y="39702"/>
                      <a:pt x="23741" y="36510"/>
                      <a:pt x="27575" y="35871"/>
                    </a:cubicBezTo>
                    <a:cubicBezTo>
                      <a:pt x="31409" y="35233"/>
                      <a:pt x="34604" y="37786"/>
                      <a:pt x="35243" y="41617"/>
                    </a:cubicBezTo>
                    <a:cubicBezTo>
                      <a:pt x="35882" y="44809"/>
                      <a:pt x="33326" y="48639"/>
                      <a:pt x="29492" y="49278"/>
                    </a:cubicBezTo>
                    <a:close/>
                  </a:path>
                </a:pathLst>
              </a:custGeom>
              <a:grpFill/>
              <a:ln w="6390" cap="flat">
                <a:noFill/>
                <a:prstDash val="solid"/>
                <a:miter/>
              </a:ln>
            </p:spPr>
            <p:txBody>
              <a:bodyPr rtlCol="0" anchor="ctr"/>
              <a:lstStyle/>
              <a:p>
                <a:endParaRPr lang="en-US"/>
              </a:p>
            </p:txBody>
          </p:sp>
          <p:sp>
            <p:nvSpPr>
              <p:cNvPr id="1181" name="Graphic 4">
                <a:extLst>
                  <a:ext uri="{FF2B5EF4-FFF2-40B4-BE49-F238E27FC236}">
                    <a16:creationId xmlns:a16="http://schemas.microsoft.com/office/drawing/2014/main" id="{DCBDE05A-FBF6-3D6C-1C31-49BEDAF1E8E5}"/>
                  </a:ext>
                </a:extLst>
              </p:cNvPr>
              <p:cNvSpPr/>
              <p:nvPr/>
            </p:nvSpPr>
            <p:spPr>
              <a:xfrm>
                <a:off x="3864512" y="3977262"/>
                <a:ext cx="62418" cy="56938"/>
              </a:xfrm>
              <a:custGeom>
                <a:avLst/>
                <a:gdLst>
                  <a:gd name="connsiteX0" fmla="*/ 62104 w 62418"/>
                  <a:gd name="connsiteY0" fmla="*/ 24380 h 56938"/>
                  <a:gd name="connsiteX1" fmla="*/ 54436 w 62418"/>
                  <a:gd name="connsiteY1" fmla="*/ 11612 h 56938"/>
                  <a:gd name="connsiteX2" fmla="*/ 39739 w 62418"/>
                  <a:gd name="connsiteY2" fmla="*/ 8420 h 56938"/>
                  <a:gd name="connsiteX3" fmla="*/ 23764 w 62418"/>
                  <a:gd name="connsiteY3" fmla="*/ 23103 h 56938"/>
                  <a:gd name="connsiteX4" fmla="*/ 7789 w 62418"/>
                  <a:gd name="connsiteY4" fmla="*/ 121 h 56938"/>
                  <a:gd name="connsiteX5" fmla="*/ 121 w 62418"/>
                  <a:gd name="connsiteY5" fmla="*/ 5228 h 56938"/>
                  <a:gd name="connsiteX6" fmla="*/ 5233 w 62418"/>
                  <a:gd name="connsiteY6" fmla="*/ 12889 h 56938"/>
                  <a:gd name="connsiteX7" fmla="*/ 11623 w 62418"/>
                  <a:gd name="connsiteY7" fmla="*/ 30125 h 56938"/>
                  <a:gd name="connsiteX8" fmla="*/ 5872 w 62418"/>
                  <a:gd name="connsiteY8" fmla="*/ 44170 h 56938"/>
                  <a:gd name="connsiteX9" fmla="*/ 760 w 62418"/>
                  <a:gd name="connsiteY9" fmla="*/ 51193 h 56938"/>
                  <a:gd name="connsiteX10" fmla="*/ 7150 w 62418"/>
                  <a:gd name="connsiteY10" fmla="*/ 56938 h 56938"/>
                  <a:gd name="connsiteX11" fmla="*/ 7789 w 62418"/>
                  <a:gd name="connsiteY11" fmla="*/ 56938 h 56938"/>
                  <a:gd name="connsiteX12" fmla="*/ 24403 w 62418"/>
                  <a:gd name="connsiteY12" fmla="*/ 32679 h 56938"/>
                  <a:gd name="connsiteX13" fmla="*/ 42934 w 62418"/>
                  <a:gd name="connsiteY13" fmla="*/ 46724 h 56938"/>
                  <a:gd name="connsiteX14" fmla="*/ 46129 w 62418"/>
                  <a:gd name="connsiteY14" fmla="*/ 46724 h 56938"/>
                  <a:gd name="connsiteX15" fmla="*/ 62104 w 62418"/>
                  <a:gd name="connsiteY15" fmla="*/ 24380 h 56938"/>
                  <a:gd name="connsiteX16" fmla="*/ 44212 w 62418"/>
                  <a:gd name="connsiteY16" fmla="*/ 33956 h 56938"/>
                  <a:gd name="connsiteX17" fmla="*/ 36544 w 62418"/>
                  <a:gd name="connsiteY17" fmla="*/ 28210 h 56938"/>
                  <a:gd name="connsiteX18" fmla="*/ 42295 w 62418"/>
                  <a:gd name="connsiteY18" fmla="*/ 20549 h 56938"/>
                  <a:gd name="connsiteX19" fmla="*/ 43573 w 62418"/>
                  <a:gd name="connsiteY19" fmla="*/ 20549 h 56938"/>
                  <a:gd name="connsiteX20" fmla="*/ 47407 w 62418"/>
                  <a:gd name="connsiteY20" fmla="*/ 21826 h 56938"/>
                  <a:gd name="connsiteX21" fmla="*/ 49962 w 62418"/>
                  <a:gd name="connsiteY21" fmla="*/ 26295 h 56938"/>
                  <a:gd name="connsiteX22" fmla="*/ 44212 w 62418"/>
                  <a:gd name="connsiteY22" fmla="*/ 33956 h 56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418" h="56938">
                    <a:moveTo>
                      <a:pt x="62104" y="24380"/>
                    </a:moveTo>
                    <a:cubicBezTo>
                      <a:pt x="61465" y="19273"/>
                      <a:pt x="58270" y="14804"/>
                      <a:pt x="54436" y="11612"/>
                    </a:cubicBezTo>
                    <a:cubicBezTo>
                      <a:pt x="49962" y="8420"/>
                      <a:pt x="44851" y="7143"/>
                      <a:pt x="39739" y="8420"/>
                    </a:cubicBezTo>
                    <a:cubicBezTo>
                      <a:pt x="32071" y="9697"/>
                      <a:pt x="25681" y="15442"/>
                      <a:pt x="23764" y="23103"/>
                    </a:cubicBezTo>
                    <a:cubicBezTo>
                      <a:pt x="22486" y="12250"/>
                      <a:pt x="17374" y="2674"/>
                      <a:pt x="7789" y="121"/>
                    </a:cubicBezTo>
                    <a:cubicBezTo>
                      <a:pt x="4594" y="-518"/>
                      <a:pt x="760" y="1398"/>
                      <a:pt x="121" y="5228"/>
                    </a:cubicBezTo>
                    <a:cubicBezTo>
                      <a:pt x="-518" y="8420"/>
                      <a:pt x="1399" y="12250"/>
                      <a:pt x="5233" y="12889"/>
                    </a:cubicBezTo>
                    <a:cubicBezTo>
                      <a:pt x="9067" y="13527"/>
                      <a:pt x="12262" y="21826"/>
                      <a:pt x="11623" y="30125"/>
                    </a:cubicBezTo>
                    <a:cubicBezTo>
                      <a:pt x="10984" y="38425"/>
                      <a:pt x="8428" y="44170"/>
                      <a:pt x="5872" y="44170"/>
                    </a:cubicBezTo>
                    <a:cubicBezTo>
                      <a:pt x="2677" y="44809"/>
                      <a:pt x="121" y="48001"/>
                      <a:pt x="760" y="51193"/>
                    </a:cubicBezTo>
                    <a:cubicBezTo>
                      <a:pt x="1399" y="54385"/>
                      <a:pt x="3955" y="56938"/>
                      <a:pt x="7150" y="56938"/>
                    </a:cubicBezTo>
                    <a:cubicBezTo>
                      <a:pt x="7150" y="56938"/>
                      <a:pt x="7789" y="56938"/>
                      <a:pt x="7789" y="56938"/>
                    </a:cubicBezTo>
                    <a:cubicBezTo>
                      <a:pt x="16735" y="55661"/>
                      <a:pt x="23125" y="46085"/>
                      <a:pt x="24403" y="32679"/>
                    </a:cubicBezTo>
                    <a:cubicBezTo>
                      <a:pt x="26959" y="40978"/>
                      <a:pt x="34627" y="46724"/>
                      <a:pt x="42934" y="46724"/>
                    </a:cubicBezTo>
                    <a:cubicBezTo>
                      <a:pt x="44212" y="46724"/>
                      <a:pt x="44851" y="46724"/>
                      <a:pt x="46129" y="46724"/>
                    </a:cubicBezTo>
                    <a:cubicBezTo>
                      <a:pt x="56992" y="45447"/>
                      <a:pt x="64020" y="35233"/>
                      <a:pt x="62104" y="24380"/>
                    </a:cubicBezTo>
                    <a:close/>
                    <a:moveTo>
                      <a:pt x="44212" y="33956"/>
                    </a:moveTo>
                    <a:cubicBezTo>
                      <a:pt x="40378" y="34594"/>
                      <a:pt x="37183" y="32041"/>
                      <a:pt x="36544" y="28210"/>
                    </a:cubicBezTo>
                    <a:cubicBezTo>
                      <a:pt x="35905" y="24380"/>
                      <a:pt x="38461" y="21188"/>
                      <a:pt x="42295" y="20549"/>
                    </a:cubicBezTo>
                    <a:cubicBezTo>
                      <a:pt x="42934" y="20549"/>
                      <a:pt x="42934" y="20549"/>
                      <a:pt x="43573" y="20549"/>
                    </a:cubicBezTo>
                    <a:cubicBezTo>
                      <a:pt x="44851" y="20549"/>
                      <a:pt x="46129" y="21188"/>
                      <a:pt x="47407" y="21826"/>
                    </a:cubicBezTo>
                    <a:cubicBezTo>
                      <a:pt x="48685" y="23103"/>
                      <a:pt x="49962" y="24380"/>
                      <a:pt x="49962" y="26295"/>
                    </a:cubicBezTo>
                    <a:cubicBezTo>
                      <a:pt x="50602" y="30125"/>
                      <a:pt x="48046" y="33956"/>
                      <a:pt x="44212" y="33956"/>
                    </a:cubicBezTo>
                    <a:close/>
                  </a:path>
                </a:pathLst>
              </a:custGeom>
              <a:grpFill/>
              <a:ln w="6390" cap="flat">
                <a:noFill/>
                <a:prstDash val="solid"/>
                <a:miter/>
              </a:ln>
            </p:spPr>
            <p:txBody>
              <a:bodyPr rtlCol="0" anchor="ctr"/>
              <a:lstStyle/>
              <a:p>
                <a:endParaRPr lang="en-US"/>
              </a:p>
            </p:txBody>
          </p:sp>
          <p:sp>
            <p:nvSpPr>
              <p:cNvPr id="1182" name="Graphic 4">
                <a:extLst>
                  <a:ext uri="{FF2B5EF4-FFF2-40B4-BE49-F238E27FC236}">
                    <a16:creationId xmlns:a16="http://schemas.microsoft.com/office/drawing/2014/main" id="{1EE560A1-86A7-2A27-EEB0-8D4A621DCE28}"/>
                  </a:ext>
                </a:extLst>
              </p:cNvPr>
              <p:cNvSpPr/>
              <p:nvPr/>
            </p:nvSpPr>
            <p:spPr>
              <a:xfrm>
                <a:off x="3650915" y="3977285"/>
                <a:ext cx="62375" cy="56915"/>
              </a:xfrm>
              <a:custGeom>
                <a:avLst/>
                <a:gdLst>
                  <a:gd name="connsiteX0" fmla="*/ 54610 w 62375"/>
                  <a:gd name="connsiteY0" fmla="*/ 56916 h 56915"/>
                  <a:gd name="connsiteX1" fmla="*/ 55248 w 62375"/>
                  <a:gd name="connsiteY1" fmla="*/ 56916 h 56915"/>
                  <a:gd name="connsiteX2" fmla="*/ 61638 w 62375"/>
                  <a:gd name="connsiteY2" fmla="*/ 51170 h 56915"/>
                  <a:gd name="connsiteX3" fmla="*/ 56526 w 62375"/>
                  <a:gd name="connsiteY3" fmla="*/ 44148 h 56915"/>
                  <a:gd name="connsiteX4" fmla="*/ 50775 w 62375"/>
                  <a:gd name="connsiteY4" fmla="*/ 30103 h 56915"/>
                  <a:gd name="connsiteX5" fmla="*/ 57165 w 62375"/>
                  <a:gd name="connsiteY5" fmla="*/ 12867 h 56915"/>
                  <a:gd name="connsiteX6" fmla="*/ 62277 w 62375"/>
                  <a:gd name="connsiteY6" fmla="*/ 5206 h 56915"/>
                  <a:gd name="connsiteX7" fmla="*/ 54610 w 62375"/>
                  <a:gd name="connsiteY7" fmla="*/ 99 h 56915"/>
                  <a:gd name="connsiteX8" fmla="*/ 38635 w 62375"/>
                  <a:gd name="connsiteY8" fmla="*/ 23081 h 56915"/>
                  <a:gd name="connsiteX9" fmla="*/ 22660 w 62375"/>
                  <a:gd name="connsiteY9" fmla="*/ 8398 h 56915"/>
                  <a:gd name="connsiteX10" fmla="*/ 7963 w 62375"/>
                  <a:gd name="connsiteY10" fmla="*/ 11590 h 56915"/>
                  <a:gd name="connsiteX11" fmla="*/ 295 w 62375"/>
                  <a:gd name="connsiteY11" fmla="*/ 24358 h 56915"/>
                  <a:gd name="connsiteX12" fmla="*/ 16270 w 62375"/>
                  <a:gd name="connsiteY12" fmla="*/ 46702 h 56915"/>
                  <a:gd name="connsiteX13" fmla="*/ 19465 w 62375"/>
                  <a:gd name="connsiteY13" fmla="*/ 46702 h 56915"/>
                  <a:gd name="connsiteX14" fmla="*/ 37995 w 62375"/>
                  <a:gd name="connsiteY14" fmla="*/ 32657 h 56915"/>
                  <a:gd name="connsiteX15" fmla="*/ 54610 w 62375"/>
                  <a:gd name="connsiteY15" fmla="*/ 56916 h 56915"/>
                  <a:gd name="connsiteX16" fmla="*/ 18187 w 62375"/>
                  <a:gd name="connsiteY16" fmla="*/ 33934 h 56915"/>
                  <a:gd name="connsiteX17" fmla="*/ 12436 w 62375"/>
                  <a:gd name="connsiteY17" fmla="*/ 26273 h 56915"/>
                  <a:gd name="connsiteX18" fmla="*/ 14992 w 62375"/>
                  <a:gd name="connsiteY18" fmla="*/ 21804 h 56915"/>
                  <a:gd name="connsiteX19" fmla="*/ 18826 w 62375"/>
                  <a:gd name="connsiteY19" fmla="*/ 20527 h 56915"/>
                  <a:gd name="connsiteX20" fmla="*/ 20104 w 62375"/>
                  <a:gd name="connsiteY20" fmla="*/ 20527 h 56915"/>
                  <a:gd name="connsiteX21" fmla="*/ 25855 w 62375"/>
                  <a:gd name="connsiteY21" fmla="*/ 28188 h 56915"/>
                  <a:gd name="connsiteX22" fmla="*/ 18187 w 62375"/>
                  <a:gd name="connsiteY22" fmla="*/ 33934 h 5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75" h="56915">
                    <a:moveTo>
                      <a:pt x="54610" y="56916"/>
                    </a:moveTo>
                    <a:cubicBezTo>
                      <a:pt x="54610" y="56916"/>
                      <a:pt x="55248" y="56916"/>
                      <a:pt x="55248" y="56916"/>
                    </a:cubicBezTo>
                    <a:cubicBezTo>
                      <a:pt x="58443" y="56916"/>
                      <a:pt x="60999" y="54362"/>
                      <a:pt x="61638" y="51170"/>
                    </a:cubicBezTo>
                    <a:cubicBezTo>
                      <a:pt x="62277" y="47978"/>
                      <a:pt x="59721" y="44148"/>
                      <a:pt x="56526" y="44148"/>
                    </a:cubicBezTo>
                    <a:cubicBezTo>
                      <a:pt x="53970" y="43510"/>
                      <a:pt x="50775" y="37764"/>
                      <a:pt x="50775" y="30103"/>
                    </a:cubicBezTo>
                    <a:cubicBezTo>
                      <a:pt x="50137" y="21166"/>
                      <a:pt x="53331" y="13505"/>
                      <a:pt x="57165" y="12867"/>
                    </a:cubicBezTo>
                    <a:cubicBezTo>
                      <a:pt x="60360" y="12228"/>
                      <a:pt x="62916" y="8398"/>
                      <a:pt x="62277" y="5206"/>
                    </a:cubicBezTo>
                    <a:cubicBezTo>
                      <a:pt x="61638" y="2014"/>
                      <a:pt x="57805" y="-540"/>
                      <a:pt x="54610" y="99"/>
                    </a:cubicBezTo>
                    <a:cubicBezTo>
                      <a:pt x="45025" y="2014"/>
                      <a:pt x="39912" y="12228"/>
                      <a:pt x="38635" y="23081"/>
                    </a:cubicBezTo>
                    <a:cubicBezTo>
                      <a:pt x="36717" y="16058"/>
                      <a:pt x="30967" y="9675"/>
                      <a:pt x="22660" y="8398"/>
                    </a:cubicBezTo>
                    <a:cubicBezTo>
                      <a:pt x="17548" y="7759"/>
                      <a:pt x="12436" y="9036"/>
                      <a:pt x="7963" y="11590"/>
                    </a:cubicBezTo>
                    <a:cubicBezTo>
                      <a:pt x="3490" y="14782"/>
                      <a:pt x="934" y="19250"/>
                      <a:pt x="295" y="24358"/>
                    </a:cubicBezTo>
                    <a:cubicBezTo>
                      <a:pt x="-1622" y="35210"/>
                      <a:pt x="6046" y="44786"/>
                      <a:pt x="16270" y="46702"/>
                    </a:cubicBezTo>
                    <a:cubicBezTo>
                      <a:pt x="17548" y="46702"/>
                      <a:pt x="18187" y="46702"/>
                      <a:pt x="19465" y="46702"/>
                    </a:cubicBezTo>
                    <a:cubicBezTo>
                      <a:pt x="28411" y="46702"/>
                      <a:pt x="36079" y="40956"/>
                      <a:pt x="37995" y="32657"/>
                    </a:cubicBezTo>
                    <a:cubicBezTo>
                      <a:pt x="39274" y="46063"/>
                      <a:pt x="45663" y="55639"/>
                      <a:pt x="54610" y="56916"/>
                    </a:cubicBezTo>
                    <a:close/>
                    <a:moveTo>
                      <a:pt x="18187" y="33934"/>
                    </a:moveTo>
                    <a:cubicBezTo>
                      <a:pt x="14353" y="33295"/>
                      <a:pt x="11797" y="30103"/>
                      <a:pt x="12436" y="26273"/>
                    </a:cubicBezTo>
                    <a:cubicBezTo>
                      <a:pt x="12436" y="24358"/>
                      <a:pt x="13714" y="23081"/>
                      <a:pt x="14992" y="21804"/>
                    </a:cubicBezTo>
                    <a:cubicBezTo>
                      <a:pt x="16270" y="21166"/>
                      <a:pt x="17548" y="20527"/>
                      <a:pt x="18826" y="20527"/>
                    </a:cubicBezTo>
                    <a:cubicBezTo>
                      <a:pt x="19465" y="20527"/>
                      <a:pt x="19465" y="20527"/>
                      <a:pt x="20104" y="20527"/>
                    </a:cubicBezTo>
                    <a:cubicBezTo>
                      <a:pt x="23938" y="21166"/>
                      <a:pt x="26494" y="24358"/>
                      <a:pt x="25855" y="28188"/>
                    </a:cubicBezTo>
                    <a:cubicBezTo>
                      <a:pt x="25216" y="32657"/>
                      <a:pt x="22021" y="34572"/>
                      <a:pt x="18187" y="33934"/>
                    </a:cubicBezTo>
                    <a:close/>
                  </a:path>
                </a:pathLst>
              </a:custGeom>
              <a:grpFill/>
              <a:ln w="6390" cap="flat">
                <a:noFill/>
                <a:prstDash val="solid"/>
                <a:miter/>
              </a:ln>
            </p:spPr>
            <p:txBody>
              <a:bodyPr rtlCol="0" anchor="ctr"/>
              <a:lstStyle/>
              <a:p>
                <a:endParaRPr lang="en-US"/>
              </a:p>
            </p:txBody>
          </p:sp>
          <p:sp>
            <p:nvSpPr>
              <p:cNvPr id="1183" name="Graphic 4">
                <a:extLst>
                  <a:ext uri="{FF2B5EF4-FFF2-40B4-BE49-F238E27FC236}">
                    <a16:creationId xmlns:a16="http://schemas.microsoft.com/office/drawing/2014/main" id="{70B7524F-BE49-9AA1-3455-6FB28E5B002F}"/>
                  </a:ext>
                </a:extLst>
              </p:cNvPr>
              <p:cNvSpPr/>
              <p:nvPr/>
            </p:nvSpPr>
            <p:spPr>
              <a:xfrm>
                <a:off x="3685552" y="4042699"/>
                <a:ext cx="67732" cy="66193"/>
              </a:xfrm>
              <a:custGeom>
                <a:avLst/>
                <a:gdLst>
                  <a:gd name="connsiteX0" fmla="*/ 57672 w 67732"/>
                  <a:gd name="connsiteY0" fmla="*/ 32359 h 66193"/>
                  <a:gd name="connsiteX1" fmla="*/ 43614 w 67732"/>
                  <a:gd name="connsiteY1" fmla="*/ 26613 h 66193"/>
                  <a:gd name="connsiteX2" fmla="*/ 35947 w 67732"/>
                  <a:gd name="connsiteY2" fmla="*/ 10015 h 66193"/>
                  <a:gd name="connsiteX3" fmla="*/ 34029 w 67732"/>
                  <a:gd name="connsiteY3" fmla="*/ 1077 h 66193"/>
                  <a:gd name="connsiteX4" fmla="*/ 25084 w 67732"/>
                  <a:gd name="connsiteY4" fmla="*/ 2992 h 66193"/>
                  <a:gd name="connsiteX5" fmla="*/ 29557 w 67732"/>
                  <a:gd name="connsiteY5" fmla="*/ 30444 h 66193"/>
                  <a:gd name="connsiteX6" fmla="*/ 7831 w 67732"/>
                  <a:gd name="connsiteY6" fmla="*/ 31082 h 66193"/>
                  <a:gd name="connsiteX7" fmla="*/ 163 w 67732"/>
                  <a:gd name="connsiteY7" fmla="*/ 43850 h 66193"/>
                  <a:gd name="connsiteX8" fmla="*/ 3358 w 67732"/>
                  <a:gd name="connsiteY8" fmla="*/ 58533 h 66193"/>
                  <a:gd name="connsiteX9" fmla="*/ 16138 w 67732"/>
                  <a:gd name="connsiteY9" fmla="*/ 66194 h 66193"/>
                  <a:gd name="connsiteX10" fmla="*/ 19333 w 67732"/>
                  <a:gd name="connsiteY10" fmla="*/ 66194 h 66193"/>
                  <a:gd name="connsiteX11" fmla="*/ 30834 w 67732"/>
                  <a:gd name="connsiteY11" fmla="*/ 62364 h 66193"/>
                  <a:gd name="connsiteX12" fmla="*/ 35947 w 67732"/>
                  <a:gd name="connsiteY12" fmla="*/ 36828 h 66193"/>
                  <a:gd name="connsiteX13" fmla="*/ 55755 w 67732"/>
                  <a:gd name="connsiteY13" fmla="*/ 45127 h 66193"/>
                  <a:gd name="connsiteX14" fmla="*/ 65340 w 67732"/>
                  <a:gd name="connsiteY14" fmla="*/ 41935 h 66193"/>
                  <a:gd name="connsiteX15" fmla="*/ 66618 w 67732"/>
                  <a:gd name="connsiteY15" fmla="*/ 32997 h 66193"/>
                  <a:gd name="connsiteX16" fmla="*/ 57672 w 67732"/>
                  <a:gd name="connsiteY16" fmla="*/ 32359 h 66193"/>
                  <a:gd name="connsiteX17" fmla="*/ 23167 w 67732"/>
                  <a:gd name="connsiteY17" fmla="*/ 52149 h 66193"/>
                  <a:gd name="connsiteX18" fmla="*/ 18055 w 67732"/>
                  <a:gd name="connsiteY18" fmla="*/ 53426 h 66193"/>
                  <a:gd name="connsiteX19" fmla="*/ 13582 w 67732"/>
                  <a:gd name="connsiteY19" fmla="*/ 50872 h 66193"/>
                  <a:gd name="connsiteX20" fmla="*/ 12304 w 67732"/>
                  <a:gd name="connsiteY20" fmla="*/ 45765 h 66193"/>
                  <a:gd name="connsiteX21" fmla="*/ 14860 w 67732"/>
                  <a:gd name="connsiteY21" fmla="*/ 41296 h 66193"/>
                  <a:gd name="connsiteX22" fmla="*/ 18694 w 67732"/>
                  <a:gd name="connsiteY22" fmla="*/ 40020 h 66193"/>
                  <a:gd name="connsiteX23" fmla="*/ 23806 w 67732"/>
                  <a:gd name="connsiteY23" fmla="*/ 42573 h 66193"/>
                  <a:gd name="connsiteX24" fmla="*/ 23167 w 67732"/>
                  <a:gd name="connsiteY24" fmla="*/ 52149 h 6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732" h="66193">
                    <a:moveTo>
                      <a:pt x="57672" y="32359"/>
                    </a:moveTo>
                    <a:cubicBezTo>
                      <a:pt x="55755" y="33636"/>
                      <a:pt x="49365" y="31720"/>
                      <a:pt x="43614" y="26613"/>
                    </a:cubicBezTo>
                    <a:cubicBezTo>
                      <a:pt x="37224" y="20868"/>
                      <a:pt x="34029" y="13207"/>
                      <a:pt x="35947" y="10015"/>
                    </a:cubicBezTo>
                    <a:cubicBezTo>
                      <a:pt x="37864" y="6823"/>
                      <a:pt x="37224" y="2992"/>
                      <a:pt x="34029" y="1077"/>
                    </a:cubicBezTo>
                    <a:cubicBezTo>
                      <a:pt x="30834" y="-838"/>
                      <a:pt x="27001" y="-200"/>
                      <a:pt x="25084" y="2992"/>
                    </a:cubicBezTo>
                    <a:cubicBezTo>
                      <a:pt x="19972" y="11292"/>
                      <a:pt x="23167" y="22144"/>
                      <a:pt x="29557" y="30444"/>
                    </a:cubicBezTo>
                    <a:cubicBezTo>
                      <a:pt x="23167" y="26613"/>
                      <a:pt x="14860" y="26613"/>
                      <a:pt x="7831" y="31082"/>
                    </a:cubicBezTo>
                    <a:cubicBezTo>
                      <a:pt x="3358" y="34274"/>
                      <a:pt x="802" y="38743"/>
                      <a:pt x="163" y="43850"/>
                    </a:cubicBezTo>
                    <a:cubicBezTo>
                      <a:pt x="-476" y="48957"/>
                      <a:pt x="802" y="54064"/>
                      <a:pt x="3358" y="58533"/>
                    </a:cubicBezTo>
                    <a:cubicBezTo>
                      <a:pt x="6553" y="63002"/>
                      <a:pt x="11026" y="65556"/>
                      <a:pt x="16138" y="66194"/>
                    </a:cubicBezTo>
                    <a:cubicBezTo>
                      <a:pt x="17416" y="66194"/>
                      <a:pt x="18055" y="66194"/>
                      <a:pt x="19333" y="66194"/>
                    </a:cubicBezTo>
                    <a:cubicBezTo>
                      <a:pt x="23167" y="66194"/>
                      <a:pt x="27001" y="64917"/>
                      <a:pt x="30834" y="62364"/>
                    </a:cubicBezTo>
                    <a:cubicBezTo>
                      <a:pt x="39142" y="56618"/>
                      <a:pt x="41059" y="45127"/>
                      <a:pt x="35947" y="36828"/>
                    </a:cubicBezTo>
                    <a:cubicBezTo>
                      <a:pt x="42337" y="42573"/>
                      <a:pt x="49365" y="45127"/>
                      <a:pt x="55755" y="45127"/>
                    </a:cubicBezTo>
                    <a:cubicBezTo>
                      <a:pt x="59589" y="45127"/>
                      <a:pt x="62784" y="43850"/>
                      <a:pt x="65340" y="41935"/>
                    </a:cubicBezTo>
                    <a:cubicBezTo>
                      <a:pt x="67896" y="40020"/>
                      <a:pt x="68535" y="35551"/>
                      <a:pt x="66618" y="32997"/>
                    </a:cubicBezTo>
                    <a:cubicBezTo>
                      <a:pt x="64062" y="30444"/>
                      <a:pt x="60228" y="29805"/>
                      <a:pt x="57672" y="32359"/>
                    </a:cubicBezTo>
                    <a:close/>
                    <a:moveTo>
                      <a:pt x="23167" y="52149"/>
                    </a:moveTo>
                    <a:cubicBezTo>
                      <a:pt x="21889" y="53426"/>
                      <a:pt x="19972" y="53426"/>
                      <a:pt x="18055" y="53426"/>
                    </a:cubicBezTo>
                    <a:cubicBezTo>
                      <a:pt x="16138" y="53426"/>
                      <a:pt x="14860" y="52149"/>
                      <a:pt x="13582" y="50872"/>
                    </a:cubicBezTo>
                    <a:cubicBezTo>
                      <a:pt x="12304" y="49596"/>
                      <a:pt x="12304" y="47680"/>
                      <a:pt x="12304" y="45765"/>
                    </a:cubicBezTo>
                    <a:cubicBezTo>
                      <a:pt x="12304" y="43850"/>
                      <a:pt x="13582" y="42573"/>
                      <a:pt x="14860" y="41296"/>
                    </a:cubicBezTo>
                    <a:cubicBezTo>
                      <a:pt x="16138" y="40658"/>
                      <a:pt x="17416" y="40020"/>
                      <a:pt x="18694" y="40020"/>
                    </a:cubicBezTo>
                    <a:cubicBezTo>
                      <a:pt x="20611" y="40020"/>
                      <a:pt x="22528" y="40658"/>
                      <a:pt x="23806" y="42573"/>
                    </a:cubicBezTo>
                    <a:cubicBezTo>
                      <a:pt x="27001" y="45765"/>
                      <a:pt x="26362" y="49596"/>
                      <a:pt x="23167" y="52149"/>
                    </a:cubicBezTo>
                    <a:close/>
                  </a:path>
                </a:pathLst>
              </a:custGeom>
              <a:grpFill/>
              <a:ln w="6390" cap="flat">
                <a:noFill/>
                <a:prstDash val="solid"/>
                <a:miter/>
              </a:ln>
            </p:spPr>
            <p:txBody>
              <a:bodyPr rtlCol="0" anchor="ctr"/>
              <a:lstStyle/>
              <a:p>
                <a:endParaRPr lang="en-US"/>
              </a:p>
            </p:txBody>
          </p:sp>
          <p:sp>
            <p:nvSpPr>
              <p:cNvPr id="1184" name="Graphic 4">
                <a:extLst>
                  <a:ext uri="{FF2B5EF4-FFF2-40B4-BE49-F238E27FC236}">
                    <a16:creationId xmlns:a16="http://schemas.microsoft.com/office/drawing/2014/main" id="{2068B8E2-EDE2-8852-70C6-4EC238F8C9E9}"/>
                  </a:ext>
                </a:extLst>
              </p:cNvPr>
              <p:cNvSpPr/>
              <p:nvPr/>
            </p:nvSpPr>
            <p:spPr>
              <a:xfrm>
                <a:off x="3825179" y="4042699"/>
                <a:ext cx="68059" cy="66193"/>
              </a:xfrm>
              <a:custGeom>
                <a:avLst/>
                <a:gdLst>
                  <a:gd name="connsiteX0" fmla="*/ 59902 w 68059"/>
                  <a:gd name="connsiteY0" fmla="*/ 31082 h 66193"/>
                  <a:gd name="connsiteX1" fmla="*/ 38176 w 68059"/>
                  <a:gd name="connsiteY1" fmla="*/ 30444 h 66193"/>
                  <a:gd name="connsiteX2" fmla="*/ 42649 w 68059"/>
                  <a:gd name="connsiteY2" fmla="*/ 2992 h 66193"/>
                  <a:gd name="connsiteX3" fmla="*/ 33704 w 68059"/>
                  <a:gd name="connsiteY3" fmla="*/ 1077 h 66193"/>
                  <a:gd name="connsiteX4" fmla="*/ 31786 w 68059"/>
                  <a:gd name="connsiteY4" fmla="*/ 10015 h 66193"/>
                  <a:gd name="connsiteX5" fmla="*/ 24119 w 68059"/>
                  <a:gd name="connsiteY5" fmla="*/ 26613 h 66193"/>
                  <a:gd name="connsiteX6" fmla="*/ 10061 w 68059"/>
                  <a:gd name="connsiteY6" fmla="*/ 32359 h 66193"/>
                  <a:gd name="connsiteX7" fmla="*/ 1115 w 68059"/>
                  <a:gd name="connsiteY7" fmla="*/ 33636 h 66193"/>
                  <a:gd name="connsiteX8" fmla="*/ 2393 w 68059"/>
                  <a:gd name="connsiteY8" fmla="*/ 42573 h 66193"/>
                  <a:gd name="connsiteX9" fmla="*/ 11978 w 68059"/>
                  <a:gd name="connsiteY9" fmla="*/ 45765 h 66193"/>
                  <a:gd name="connsiteX10" fmla="*/ 31786 w 68059"/>
                  <a:gd name="connsiteY10" fmla="*/ 36828 h 66193"/>
                  <a:gd name="connsiteX11" fmla="*/ 36898 w 68059"/>
                  <a:gd name="connsiteY11" fmla="*/ 62364 h 66193"/>
                  <a:gd name="connsiteX12" fmla="*/ 48400 w 68059"/>
                  <a:gd name="connsiteY12" fmla="*/ 66194 h 66193"/>
                  <a:gd name="connsiteX13" fmla="*/ 51595 w 68059"/>
                  <a:gd name="connsiteY13" fmla="*/ 66194 h 66193"/>
                  <a:gd name="connsiteX14" fmla="*/ 64375 w 68059"/>
                  <a:gd name="connsiteY14" fmla="*/ 58533 h 66193"/>
                  <a:gd name="connsiteX15" fmla="*/ 67570 w 68059"/>
                  <a:gd name="connsiteY15" fmla="*/ 43850 h 66193"/>
                  <a:gd name="connsiteX16" fmla="*/ 59902 w 68059"/>
                  <a:gd name="connsiteY16" fmla="*/ 31082 h 66193"/>
                  <a:gd name="connsiteX17" fmla="*/ 54151 w 68059"/>
                  <a:gd name="connsiteY17" fmla="*/ 50234 h 66193"/>
                  <a:gd name="connsiteX18" fmla="*/ 49678 w 68059"/>
                  <a:gd name="connsiteY18" fmla="*/ 52788 h 66193"/>
                  <a:gd name="connsiteX19" fmla="*/ 44566 w 68059"/>
                  <a:gd name="connsiteY19" fmla="*/ 51511 h 66193"/>
                  <a:gd name="connsiteX20" fmla="*/ 43288 w 68059"/>
                  <a:gd name="connsiteY20" fmla="*/ 41935 h 66193"/>
                  <a:gd name="connsiteX21" fmla="*/ 52873 w 68059"/>
                  <a:gd name="connsiteY21" fmla="*/ 40658 h 66193"/>
                  <a:gd name="connsiteX22" fmla="*/ 55429 w 68059"/>
                  <a:gd name="connsiteY22" fmla="*/ 45127 h 66193"/>
                  <a:gd name="connsiteX23" fmla="*/ 54151 w 68059"/>
                  <a:gd name="connsiteY23" fmla="*/ 50234 h 6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059" h="66193">
                    <a:moveTo>
                      <a:pt x="59902" y="31082"/>
                    </a:moveTo>
                    <a:cubicBezTo>
                      <a:pt x="53512" y="26613"/>
                      <a:pt x="45205" y="26613"/>
                      <a:pt x="38176" y="30444"/>
                    </a:cubicBezTo>
                    <a:cubicBezTo>
                      <a:pt x="44566" y="22144"/>
                      <a:pt x="48400" y="11292"/>
                      <a:pt x="42649" y="2992"/>
                    </a:cubicBezTo>
                    <a:cubicBezTo>
                      <a:pt x="40732" y="-200"/>
                      <a:pt x="36898" y="-838"/>
                      <a:pt x="33704" y="1077"/>
                    </a:cubicBezTo>
                    <a:cubicBezTo>
                      <a:pt x="30509" y="2992"/>
                      <a:pt x="29869" y="6823"/>
                      <a:pt x="31786" y="10015"/>
                    </a:cubicBezTo>
                    <a:cubicBezTo>
                      <a:pt x="33704" y="13207"/>
                      <a:pt x="30509" y="20868"/>
                      <a:pt x="24119" y="26613"/>
                    </a:cubicBezTo>
                    <a:cubicBezTo>
                      <a:pt x="18368" y="32359"/>
                      <a:pt x="11978" y="34274"/>
                      <a:pt x="10061" y="32359"/>
                    </a:cubicBezTo>
                    <a:cubicBezTo>
                      <a:pt x="7505" y="30444"/>
                      <a:pt x="3032" y="31082"/>
                      <a:pt x="1115" y="33636"/>
                    </a:cubicBezTo>
                    <a:cubicBezTo>
                      <a:pt x="-802" y="36189"/>
                      <a:pt x="-163" y="40658"/>
                      <a:pt x="2393" y="42573"/>
                    </a:cubicBezTo>
                    <a:cubicBezTo>
                      <a:pt x="4949" y="44488"/>
                      <a:pt x="8144" y="45765"/>
                      <a:pt x="11978" y="45765"/>
                    </a:cubicBezTo>
                    <a:cubicBezTo>
                      <a:pt x="18368" y="45765"/>
                      <a:pt x="24757" y="42573"/>
                      <a:pt x="31786" y="36828"/>
                    </a:cubicBezTo>
                    <a:cubicBezTo>
                      <a:pt x="26674" y="45127"/>
                      <a:pt x="29230" y="56618"/>
                      <a:pt x="36898" y="62364"/>
                    </a:cubicBezTo>
                    <a:cubicBezTo>
                      <a:pt x="40093" y="64917"/>
                      <a:pt x="43927" y="66194"/>
                      <a:pt x="48400" y="66194"/>
                    </a:cubicBezTo>
                    <a:cubicBezTo>
                      <a:pt x="49678" y="66194"/>
                      <a:pt x="50317" y="66194"/>
                      <a:pt x="51595" y="66194"/>
                    </a:cubicBezTo>
                    <a:cubicBezTo>
                      <a:pt x="56707" y="65556"/>
                      <a:pt x="61180" y="62364"/>
                      <a:pt x="64375" y="58533"/>
                    </a:cubicBezTo>
                    <a:cubicBezTo>
                      <a:pt x="67570" y="54064"/>
                      <a:pt x="68848" y="48957"/>
                      <a:pt x="67570" y="43850"/>
                    </a:cubicBezTo>
                    <a:cubicBezTo>
                      <a:pt x="66931" y="38743"/>
                      <a:pt x="64375" y="33636"/>
                      <a:pt x="59902" y="31082"/>
                    </a:cubicBezTo>
                    <a:close/>
                    <a:moveTo>
                      <a:pt x="54151" y="50234"/>
                    </a:moveTo>
                    <a:cubicBezTo>
                      <a:pt x="52873" y="51511"/>
                      <a:pt x="51595" y="52788"/>
                      <a:pt x="49678" y="52788"/>
                    </a:cubicBezTo>
                    <a:cubicBezTo>
                      <a:pt x="47761" y="52788"/>
                      <a:pt x="46483" y="52788"/>
                      <a:pt x="44566" y="51511"/>
                    </a:cubicBezTo>
                    <a:cubicBezTo>
                      <a:pt x="41371" y="49596"/>
                      <a:pt x="40732" y="45127"/>
                      <a:pt x="43288" y="41935"/>
                    </a:cubicBezTo>
                    <a:cubicBezTo>
                      <a:pt x="45205" y="38743"/>
                      <a:pt x="49678" y="38104"/>
                      <a:pt x="52873" y="40658"/>
                    </a:cubicBezTo>
                    <a:cubicBezTo>
                      <a:pt x="54151" y="41935"/>
                      <a:pt x="55429" y="43212"/>
                      <a:pt x="55429" y="45127"/>
                    </a:cubicBezTo>
                    <a:cubicBezTo>
                      <a:pt x="55429" y="47042"/>
                      <a:pt x="55429" y="48957"/>
                      <a:pt x="54151" y="50234"/>
                    </a:cubicBezTo>
                    <a:close/>
                  </a:path>
                </a:pathLst>
              </a:custGeom>
              <a:grpFill/>
              <a:ln w="6390" cap="flat">
                <a:noFill/>
                <a:prstDash val="solid"/>
                <a:miter/>
              </a:ln>
            </p:spPr>
            <p:txBody>
              <a:bodyPr rtlCol="0" anchor="ctr"/>
              <a:lstStyle/>
              <a:p>
                <a:endParaRPr lang="en-US"/>
              </a:p>
            </p:txBody>
          </p:sp>
          <p:sp>
            <p:nvSpPr>
              <p:cNvPr id="1185" name="Graphic 4">
                <a:extLst>
                  <a:ext uri="{FF2B5EF4-FFF2-40B4-BE49-F238E27FC236}">
                    <a16:creationId xmlns:a16="http://schemas.microsoft.com/office/drawing/2014/main" id="{2AF7183A-529D-1F19-EEB2-7402C83307CE}"/>
                  </a:ext>
                </a:extLst>
              </p:cNvPr>
              <p:cNvSpPr/>
              <p:nvPr/>
            </p:nvSpPr>
            <p:spPr>
              <a:xfrm>
                <a:off x="3684587" y="3902762"/>
                <a:ext cx="67420" cy="66322"/>
              </a:xfrm>
              <a:custGeom>
                <a:avLst/>
                <a:gdLst>
                  <a:gd name="connsiteX0" fmla="*/ 8797 w 67420"/>
                  <a:gd name="connsiteY0" fmla="*/ 35041 h 66322"/>
                  <a:gd name="connsiteX1" fmla="*/ 20298 w 67420"/>
                  <a:gd name="connsiteY1" fmla="*/ 38871 h 66322"/>
                  <a:gd name="connsiteX2" fmla="*/ 30523 w 67420"/>
                  <a:gd name="connsiteY2" fmla="*/ 35679 h 66322"/>
                  <a:gd name="connsiteX3" fmla="*/ 25410 w 67420"/>
                  <a:gd name="connsiteY3" fmla="*/ 63130 h 66322"/>
                  <a:gd name="connsiteX4" fmla="*/ 30523 w 67420"/>
                  <a:gd name="connsiteY4" fmla="*/ 66322 h 66322"/>
                  <a:gd name="connsiteX5" fmla="*/ 33718 w 67420"/>
                  <a:gd name="connsiteY5" fmla="*/ 65046 h 66322"/>
                  <a:gd name="connsiteX6" fmla="*/ 35634 w 67420"/>
                  <a:gd name="connsiteY6" fmla="*/ 56108 h 66322"/>
                  <a:gd name="connsiteX7" fmla="*/ 43302 w 67420"/>
                  <a:gd name="connsiteY7" fmla="*/ 39510 h 66322"/>
                  <a:gd name="connsiteX8" fmla="*/ 57360 w 67420"/>
                  <a:gd name="connsiteY8" fmla="*/ 33764 h 66322"/>
                  <a:gd name="connsiteX9" fmla="*/ 66306 w 67420"/>
                  <a:gd name="connsiteY9" fmla="*/ 32487 h 66322"/>
                  <a:gd name="connsiteX10" fmla="*/ 65028 w 67420"/>
                  <a:gd name="connsiteY10" fmla="*/ 23550 h 66322"/>
                  <a:gd name="connsiteX11" fmla="*/ 35634 w 67420"/>
                  <a:gd name="connsiteY11" fmla="*/ 29295 h 66322"/>
                  <a:gd name="connsiteX12" fmla="*/ 38190 w 67420"/>
                  <a:gd name="connsiteY12" fmla="*/ 16527 h 66322"/>
                  <a:gd name="connsiteX13" fmla="*/ 30523 w 67420"/>
                  <a:gd name="connsiteY13" fmla="*/ 3759 h 66322"/>
                  <a:gd name="connsiteX14" fmla="*/ 3685 w 67420"/>
                  <a:gd name="connsiteY14" fmla="*/ 8228 h 66322"/>
                  <a:gd name="connsiteX15" fmla="*/ 490 w 67420"/>
                  <a:gd name="connsiteY15" fmla="*/ 22911 h 66322"/>
                  <a:gd name="connsiteX16" fmla="*/ 8797 w 67420"/>
                  <a:gd name="connsiteY16" fmla="*/ 35041 h 66322"/>
                  <a:gd name="connsiteX17" fmla="*/ 15187 w 67420"/>
                  <a:gd name="connsiteY17" fmla="*/ 15250 h 66322"/>
                  <a:gd name="connsiteX18" fmla="*/ 20298 w 67420"/>
                  <a:gd name="connsiteY18" fmla="*/ 12697 h 66322"/>
                  <a:gd name="connsiteX19" fmla="*/ 24133 w 67420"/>
                  <a:gd name="connsiteY19" fmla="*/ 13974 h 66322"/>
                  <a:gd name="connsiteX20" fmla="*/ 26688 w 67420"/>
                  <a:gd name="connsiteY20" fmla="*/ 18442 h 66322"/>
                  <a:gd name="connsiteX21" fmla="*/ 25410 w 67420"/>
                  <a:gd name="connsiteY21" fmla="*/ 23550 h 66322"/>
                  <a:gd name="connsiteX22" fmla="*/ 15825 w 67420"/>
                  <a:gd name="connsiteY22" fmla="*/ 24826 h 66322"/>
                  <a:gd name="connsiteX23" fmla="*/ 13270 w 67420"/>
                  <a:gd name="connsiteY23" fmla="*/ 20358 h 66322"/>
                  <a:gd name="connsiteX24" fmla="*/ 15187 w 67420"/>
                  <a:gd name="connsiteY24" fmla="*/ 15250 h 6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420" h="66322">
                    <a:moveTo>
                      <a:pt x="8797" y="35041"/>
                    </a:moveTo>
                    <a:cubicBezTo>
                      <a:pt x="11992" y="37594"/>
                      <a:pt x="16465" y="38871"/>
                      <a:pt x="20298" y="38871"/>
                    </a:cubicBezTo>
                    <a:cubicBezTo>
                      <a:pt x="24133" y="38871"/>
                      <a:pt x="27328" y="37594"/>
                      <a:pt x="30523" y="35679"/>
                    </a:cubicBezTo>
                    <a:cubicBezTo>
                      <a:pt x="23493" y="43978"/>
                      <a:pt x="20298" y="54831"/>
                      <a:pt x="25410" y="63130"/>
                    </a:cubicBezTo>
                    <a:cubicBezTo>
                      <a:pt x="26688" y="65046"/>
                      <a:pt x="28605" y="66322"/>
                      <a:pt x="30523" y="66322"/>
                    </a:cubicBezTo>
                    <a:cubicBezTo>
                      <a:pt x="31800" y="66322"/>
                      <a:pt x="33078" y="66322"/>
                      <a:pt x="33718" y="65046"/>
                    </a:cubicBezTo>
                    <a:cubicBezTo>
                      <a:pt x="36912" y="63130"/>
                      <a:pt x="37551" y="59300"/>
                      <a:pt x="35634" y="56108"/>
                    </a:cubicBezTo>
                    <a:cubicBezTo>
                      <a:pt x="33718" y="52916"/>
                      <a:pt x="36912" y="45255"/>
                      <a:pt x="43302" y="39510"/>
                    </a:cubicBezTo>
                    <a:cubicBezTo>
                      <a:pt x="49053" y="33764"/>
                      <a:pt x="55443" y="31849"/>
                      <a:pt x="57360" y="33764"/>
                    </a:cubicBezTo>
                    <a:cubicBezTo>
                      <a:pt x="59916" y="35679"/>
                      <a:pt x="64389" y="35041"/>
                      <a:pt x="66306" y="32487"/>
                    </a:cubicBezTo>
                    <a:cubicBezTo>
                      <a:pt x="68223" y="29934"/>
                      <a:pt x="67584" y="25465"/>
                      <a:pt x="65028" y="23550"/>
                    </a:cubicBezTo>
                    <a:cubicBezTo>
                      <a:pt x="57360" y="17804"/>
                      <a:pt x="46497" y="20358"/>
                      <a:pt x="35634" y="29295"/>
                    </a:cubicBezTo>
                    <a:cubicBezTo>
                      <a:pt x="37551" y="25465"/>
                      <a:pt x="38829" y="20996"/>
                      <a:pt x="38190" y="16527"/>
                    </a:cubicBezTo>
                    <a:cubicBezTo>
                      <a:pt x="37551" y="11420"/>
                      <a:pt x="34356" y="6951"/>
                      <a:pt x="30523" y="3759"/>
                    </a:cubicBezTo>
                    <a:cubicBezTo>
                      <a:pt x="21576" y="-2625"/>
                      <a:pt x="9435" y="-710"/>
                      <a:pt x="3685" y="8228"/>
                    </a:cubicBezTo>
                    <a:cubicBezTo>
                      <a:pt x="490" y="12697"/>
                      <a:pt x="-788" y="17804"/>
                      <a:pt x="490" y="22911"/>
                    </a:cubicBezTo>
                    <a:cubicBezTo>
                      <a:pt x="1768" y="28018"/>
                      <a:pt x="4963" y="31849"/>
                      <a:pt x="8797" y="35041"/>
                    </a:cubicBezTo>
                    <a:close/>
                    <a:moveTo>
                      <a:pt x="15187" y="15250"/>
                    </a:moveTo>
                    <a:cubicBezTo>
                      <a:pt x="16465" y="13335"/>
                      <a:pt x="18382" y="12697"/>
                      <a:pt x="20298" y="12697"/>
                    </a:cubicBezTo>
                    <a:cubicBezTo>
                      <a:pt x="21576" y="12697"/>
                      <a:pt x="22855" y="13335"/>
                      <a:pt x="24133" y="13974"/>
                    </a:cubicBezTo>
                    <a:cubicBezTo>
                      <a:pt x="25410" y="15250"/>
                      <a:pt x="26688" y="16527"/>
                      <a:pt x="26688" y="18442"/>
                    </a:cubicBezTo>
                    <a:cubicBezTo>
                      <a:pt x="26688" y="20358"/>
                      <a:pt x="26688" y="21634"/>
                      <a:pt x="25410" y="23550"/>
                    </a:cubicBezTo>
                    <a:cubicBezTo>
                      <a:pt x="23493" y="26742"/>
                      <a:pt x="19020" y="27380"/>
                      <a:pt x="15825" y="24826"/>
                    </a:cubicBezTo>
                    <a:cubicBezTo>
                      <a:pt x="14548" y="23550"/>
                      <a:pt x="13270" y="22273"/>
                      <a:pt x="13270" y="20358"/>
                    </a:cubicBezTo>
                    <a:cubicBezTo>
                      <a:pt x="13270" y="18442"/>
                      <a:pt x="13908" y="16527"/>
                      <a:pt x="15187" y="15250"/>
                    </a:cubicBezTo>
                    <a:close/>
                  </a:path>
                </a:pathLst>
              </a:custGeom>
              <a:grpFill/>
              <a:ln w="6390" cap="flat">
                <a:noFill/>
                <a:prstDash val="solid"/>
                <a:miter/>
              </a:ln>
            </p:spPr>
            <p:txBody>
              <a:bodyPr rtlCol="0" anchor="ctr"/>
              <a:lstStyle/>
              <a:p>
                <a:endParaRPr lang="en-US"/>
              </a:p>
            </p:txBody>
          </p:sp>
          <p:sp>
            <p:nvSpPr>
              <p:cNvPr id="1186" name="Graphic 4">
                <a:extLst>
                  <a:ext uri="{FF2B5EF4-FFF2-40B4-BE49-F238E27FC236}">
                    <a16:creationId xmlns:a16="http://schemas.microsoft.com/office/drawing/2014/main" id="{CA0CFA16-0846-C7B1-9F6E-BDDDFCFBA275}"/>
                  </a:ext>
                </a:extLst>
              </p:cNvPr>
              <p:cNvSpPr/>
              <p:nvPr/>
            </p:nvSpPr>
            <p:spPr>
              <a:xfrm>
                <a:off x="3825179" y="3902123"/>
                <a:ext cx="67093" cy="66960"/>
              </a:xfrm>
              <a:custGeom>
                <a:avLst/>
                <a:gdLst>
                  <a:gd name="connsiteX0" fmla="*/ 10700 w 67093"/>
                  <a:gd name="connsiteY0" fmla="*/ 34402 h 66960"/>
                  <a:gd name="connsiteX1" fmla="*/ 24757 w 67093"/>
                  <a:gd name="connsiteY1" fmla="*/ 40148 h 66960"/>
                  <a:gd name="connsiteX2" fmla="*/ 32425 w 67093"/>
                  <a:gd name="connsiteY2" fmla="*/ 56746 h 66960"/>
                  <a:gd name="connsiteX3" fmla="*/ 34342 w 67093"/>
                  <a:gd name="connsiteY3" fmla="*/ 65684 h 66960"/>
                  <a:gd name="connsiteX4" fmla="*/ 37537 w 67093"/>
                  <a:gd name="connsiteY4" fmla="*/ 66960 h 66960"/>
                  <a:gd name="connsiteX5" fmla="*/ 42649 w 67093"/>
                  <a:gd name="connsiteY5" fmla="*/ 63768 h 66960"/>
                  <a:gd name="connsiteX6" fmla="*/ 37537 w 67093"/>
                  <a:gd name="connsiteY6" fmla="*/ 36317 h 66960"/>
                  <a:gd name="connsiteX7" fmla="*/ 47761 w 67093"/>
                  <a:gd name="connsiteY7" fmla="*/ 39509 h 66960"/>
                  <a:gd name="connsiteX8" fmla="*/ 59263 w 67093"/>
                  <a:gd name="connsiteY8" fmla="*/ 35679 h 66960"/>
                  <a:gd name="connsiteX9" fmla="*/ 66931 w 67093"/>
                  <a:gd name="connsiteY9" fmla="*/ 22911 h 66960"/>
                  <a:gd name="connsiteX10" fmla="*/ 63736 w 67093"/>
                  <a:gd name="connsiteY10" fmla="*/ 8228 h 66960"/>
                  <a:gd name="connsiteX11" fmla="*/ 36898 w 67093"/>
                  <a:gd name="connsiteY11" fmla="*/ 3759 h 66960"/>
                  <a:gd name="connsiteX12" fmla="*/ 29230 w 67093"/>
                  <a:gd name="connsiteY12" fmla="*/ 16527 h 66960"/>
                  <a:gd name="connsiteX13" fmla="*/ 31786 w 67093"/>
                  <a:gd name="connsiteY13" fmla="*/ 29295 h 66960"/>
                  <a:gd name="connsiteX14" fmla="*/ 2393 w 67093"/>
                  <a:gd name="connsiteY14" fmla="*/ 23549 h 66960"/>
                  <a:gd name="connsiteX15" fmla="*/ 1115 w 67093"/>
                  <a:gd name="connsiteY15" fmla="*/ 32487 h 66960"/>
                  <a:gd name="connsiteX16" fmla="*/ 10700 w 67093"/>
                  <a:gd name="connsiteY16" fmla="*/ 34402 h 66960"/>
                  <a:gd name="connsiteX17" fmla="*/ 44566 w 67093"/>
                  <a:gd name="connsiteY17" fmla="*/ 14612 h 66960"/>
                  <a:gd name="connsiteX18" fmla="*/ 48400 w 67093"/>
                  <a:gd name="connsiteY18" fmla="*/ 13335 h 66960"/>
                  <a:gd name="connsiteX19" fmla="*/ 53512 w 67093"/>
                  <a:gd name="connsiteY19" fmla="*/ 15888 h 66960"/>
                  <a:gd name="connsiteX20" fmla="*/ 54790 w 67093"/>
                  <a:gd name="connsiteY20" fmla="*/ 20996 h 66960"/>
                  <a:gd name="connsiteX21" fmla="*/ 52234 w 67093"/>
                  <a:gd name="connsiteY21" fmla="*/ 25464 h 66960"/>
                  <a:gd name="connsiteX22" fmla="*/ 42649 w 67093"/>
                  <a:gd name="connsiteY22" fmla="*/ 24188 h 66960"/>
                  <a:gd name="connsiteX23" fmla="*/ 42649 w 67093"/>
                  <a:gd name="connsiteY23" fmla="*/ 24188 h 66960"/>
                  <a:gd name="connsiteX24" fmla="*/ 41371 w 67093"/>
                  <a:gd name="connsiteY24" fmla="*/ 19080 h 66960"/>
                  <a:gd name="connsiteX25" fmla="*/ 44566 w 67093"/>
                  <a:gd name="connsiteY25" fmla="*/ 14612 h 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7093" h="66960">
                    <a:moveTo>
                      <a:pt x="10700" y="34402"/>
                    </a:moveTo>
                    <a:cubicBezTo>
                      <a:pt x="12616" y="33125"/>
                      <a:pt x="19006" y="35040"/>
                      <a:pt x="24757" y="40148"/>
                    </a:cubicBezTo>
                    <a:cubicBezTo>
                      <a:pt x="31147" y="45893"/>
                      <a:pt x="34342" y="53554"/>
                      <a:pt x="32425" y="56746"/>
                    </a:cubicBezTo>
                    <a:cubicBezTo>
                      <a:pt x="30509" y="59938"/>
                      <a:pt x="31147" y="63768"/>
                      <a:pt x="34342" y="65684"/>
                    </a:cubicBezTo>
                    <a:cubicBezTo>
                      <a:pt x="35620" y="66322"/>
                      <a:pt x="36898" y="66960"/>
                      <a:pt x="37537" y="66960"/>
                    </a:cubicBezTo>
                    <a:cubicBezTo>
                      <a:pt x="39454" y="66960"/>
                      <a:pt x="42010" y="65684"/>
                      <a:pt x="42649" y="63768"/>
                    </a:cubicBezTo>
                    <a:cubicBezTo>
                      <a:pt x="47761" y="55469"/>
                      <a:pt x="44566" y="44616"/>
                      <a:pt x="37537" y="36317"/>
                    </a:cubicBezTo>
                    <a:cubicBezTo>
                      <a:pt x="40732" y="38232"/>
                      <a:pt x="43927" y="39509"/>
                      <a:pt x="47761" y="39509"/>
                    </a:cubicBezTo>
                    <a:cubicBezTo>
                      <a:pt x="51595" y="39509"/>
                      <a:pt x="55429" y="38232"/>
                      <a:pt x="59263" y="35679"/>
                    </a:cubicBezTo>
                    <a:cubicBezTo>
                      <a:pt x="63736" y="32487"/>
                      <a:pt x="66292" y="28018"/>
                      <a:pt x="66931" y="22911"/>
                    </a:cubicBezTo>
                    <a:cubicBezTo>
                      <a:pt x="67570" y="17804"/>
                      <a:pt x="66292" y="12696"/>
                      <a:pt x="63736" y="8228"/>
                    </a:cubicBezTo>
                    <a:cubicBezTo>
                      <a:pt x="57346" y="-710"/>
                      <a:pt x="45205" y="-2625"/>
                      <a:pt x="36898" y="3759"/>
                    </a:cubicBezTo>
                    <a:cubicBezTo>
                      <a:pt x="32425" y="6951"/>
                      <a:pt x="29869" y="11420"/>
                      <a:pt x="29230" y="16527"/>
                    </a:cubicBezTo>
                    <a:cubicBezTo>
                      <a:pt x="28591" y="20996"/>
                      <a:pt x="29230" y="25464"/>
                      <a:pt x="31786" y="29295"/>
                    </a:cubicBezTo>
                    <a:cubicBezTo>
                      <a:pt x="21562" y="20357"/>
                      <a:pt x="10061" y="18442"/>
                      <a:pt x="2393" y="23549"/>
                    </a:cubicBezTo>
                    <a:cubicBezTo>
                      <a:pt x="-163" y="25464"/>
                      <a:pt x="-802" y="29933"/>
                      <a:pt x="1115" y="32487"/>
                    </a:cubicBezTo>
                    <a:cubicBezTo>
                      <a:pt x="3671" y="35679"/>
                      <a:pt x="7505" y="36317"/>
                      <a:pt x="10700" y="34402"/>
                    </a:cubicBezTo>
                    <a:close/>
                    <a:moveTo>
                      <a:pt x="44566" y="14612"/>
                    </a:moveTo>
                    <a:cubicBezTo>
                      <a:pt x="45844" y="13973"/>
                      <a:pt x="47122" y="13335"/>
                      <a:pt x="48400" y="13335"/>
                    </a:cubicBezTo>
                    <a:cubicBezTo>
                      <a:pt x="50317" y="13335"/>
                      <a:pt x="52234" y="13973"/>
                      <a:pt x="53512" y="15888"/>
                    </a:cubicBezTo>
                    <a:cubicBezTo>
                      <a:pt x="54790" y="17165"/>
                      <a:pt x="54790" y="19080"/>
                      <a:pt x="54790" y="20996"/>
                    </a:cubicBezTo>
                    <a:cubicBezTo>
                      <a:pt x="54790" y="22911"/>
                      <a:pt x="53512" y="24188"/>
                      <a:pt x="52234" y="25464"/>
                    </a:cubicBezTo>
                    <a:cubicBezTo>
                      <a:pt x="49039" y="27380"/>
                      <a:pt x="45205" y="26741"/>
                      <a:pt x="42649" y="24188"/>
                    </a:cubicBezTo>
                    <a:lnTo>
                      <a:pt x="42649" y="24188"/>
                    </a:lnTo>
                    <a:cubicBezTo>
                      <a:pt x="41371" y="22911"/>
                      <a:pt x="41371" y="20996"/>
                      <a:pt x="41371" y="19080"/>
                    </a:cubicBezTo>
                    <a:cubicBezTo>
                      <a:pt x="42649" y="17165"/>
                      <a:pt x="43288" y="15250"/>
                      <a:pt x="44566" y="14612"/>
                    </a:cubicBezTo>
                    <a:close/>
                  </a:path>
                </a:pathLst>
              </a:custGeom>
              <a:grpFill/>
              <a:ln w="6390" cap="flat">
                <a:noFill/>
                <a:prstDash val="solid"/>
                <a:miter/>
              </a:ln>
            </p:spPr>
            <p:txBody>
              <a:bodyPr rtlCol="0" anchor="ctr"/>
              <a:lstStyle/>
              <a:p>
                <a:endParaRPr lang="en-US"/>
              </a:p>
            </p:txBody>
          </p:sp>
          <p:sp>
            <p:nvSpPr>
              <p:cNvPr id="1187" name="Graphic 4">
                <a:extLst>
                  <a:ext uri="{FF2B5EF4-FFF2-40B4-BE49-F238E27FC236}">
                    <a16:creationId xmlns:a16="http://schemas.microsoft.com/office/drawing/2014/main" id="{DEA0D870-9633-D2FB-6492-C50A9AE568BB}"/>
                  </a:ext>
                </a:extLst>
              </p:cNvPr>
              <p:cNvSpPr/>
              <p:nvPr/>
            </p:nvSpPr>
            <p:spPr>
              <a:xfrm>
                <a:off x="3735557" y="3944825"/>
                <a:ext cx="102238" cy="121934"/>
              </a:xfrm>
              <a:custGeom>
                <a:avLst/>
                <a:gdLst>
                  <a:gd name="connsiteX0" fmla="*/ 102239 w 102238"/>
                  <a:gd name="connsiteY0" fmla="*/ 23621 h 121934"/>
                  <a:gd name="connsiteX1" fmla="*/ 100322 w 102238"/>
                  <a:gd name="connsiteY1" fmla="*/ 19152 h 121934"/>
                  <a:gd name="connsiteX2" fmla="*/ 95849 w 102238"/>
                  <a:gd name="connsiteY2" fmla="*/ 17237 h 121934"/>
                  <a:gd name="connsiteX3" fmla="*/ 73484 w 102238"/>
                  <a:gd name="connsiteY3" fmla="*/ 13407 h 121934"/>
                  <a:gd name="connsiteX4" fmla="*/ 56232 w 102238"/>
                  <a:gd name="connsiteY4" fmla="*/ 1915 h 121934"/>
                  <a:gd name="connsiteX5" fmla="*/ 51759 w 102238"/>
                  <a:gd name="connsiteY5" fmla="*/ 0 h 121934"/>
                  <a:gd name="connsiteX6" fmla="*/ 47286 w 102238"/>
                  <a:gd name="connsiteY6" fmla="*/ 1915 h 121934"/>
                  <a:gd name="connsiteX7" fmla="*/ 28755 w 102238"/>
                  <a:gd name="connsiteY7" fmla="*/ 14045 h 121934"/>
                  <a:gd name="connsiteX8" fmla="*/ 7029 w 102238"/>
                  <a:gd name="connsiteY8" fmla="*/ 16599 h 121934"/>
                  <a:gd name="connsiteX9" fmla="*/ 1917 w 102238"/>
                  <a:gd name="connsiteY9" fmla="*/ 18514 h 121934"/>
                  <a:gd name="connsiteX10" fmla="*/ 0 w 102238"/>
                  <a:gd name="connsiteY10" fmla="*/ 23621 h 121934"/>
                  <a:gd name="connsiteX11" fmla="*/ 639 w 102238"/>
                  <a:gd name="connsiteY11" fmla="*/ 56179 h 121934"/>
                  <a:gd name="connsiteX12" fmla="*/ 20448 w 102238"/>
                  <a:gd name="connsiteY12" fmla="*/ 101505 h 121934"/>
                  <a:gd name="connsiteX13" fmla="*/ 21087 w 102238"/>
                  <a:gd name="connsiteY13" fmla="*/ 102144 h 121934"/>
                  <a:gd name="connsiteX14" fmla="*/ 49842 w 102238"/>
                  <a:gd name="connsiteY14" fmla="*/ 121296 h 121934"/>
                  <a:gd name="connsiteX15" fmla="*/ 52398 w 102238"/>
                  <a:gd name="connsiteY15" fmla="*/ 121934 h 121934"/>
                  <a:gd name="connsiteX16" fmla="*/ 54954 w 102238"/>
                  <a:gd name="connsiteY16" fmla="*/ 121296 h 121934"/>
                  <a:gd name="connsiteX17" fmla="*/ 81792 w 102238"/>
                  <a:gd name="connsiteY17" fmla="*/ 102144 h 121934"/>
                  <a:gd name="connsiteX18" fmla="*/ 85625 w 102238"/>
                  <a:gd name="connsiteY18" fmla="*/ 97675 h 121934"/>
                  <a:gd name="connsiteX19" fmla="*/ 101600 w 102238"/>
                  <a:gd name="connsiteY19" fmla="*/ 54902 h 121934"/>
                  <a:gd name="connsiteX20" fmla="*/ 101600 w 102238"/>
                  <a:gd name="connsiteY20" fmla="*/ 23621 h 121934"/>
                  <a:gd name="connsiteX21" fmla="*/ 89459 w 102238"/>
                  <a:gd name="connsiteY21" fmla="*/ 56179 h 121934"/>
                  <a:gd name="connsiteX22" fmla="*/ 76679 w 102238"/>
                  <a:gd name="connsiteY22" fmla="*/ 90014 h 121934"/>
                  <a:gd name="connsiteX23" fmla="*/ 73484 w 102238"/>
                  <a:gd name="connsiteY23" fmla="*/ 93845 h 121934"/>
                  <a:gd name="connsiteX24" fmla="*/ 52398 w 102238"/>
                  <a:gd name="connsiteY24" fmla="*/ 109166 h 121934"/>
                  <a:gd name="connsiteX25" fmla="*/ 29394 w 102238"/>
                  <a:gd name="connsiteY25" fmla="*/ 93206 h 121934"/>
                  <a:gd name="connsiteX26" fmla="*/ 28755 w 102238"/>
                  <a:gd name="connsiteY26" fmla="*/ 92568 h 121934"/>
                  <a:gd name="connsiteX27" fmla="*/ 13419 w 102238"/>
                  <a:gd name="connsiteY27" fmla="*/ 56179 h 121934"/>
                  <a:gd name="connsiteX28" fmla="*/ 12780 w 102238"/>
                  <a:gd name="connsiteY28" fmla="*/ 30005 h 121934"/>
                  <a:gd name="connsiteX29" fmla="*/ 33228 w 102238"/>
                  <a:gd name="connsiteY29" fmla="*/ 26175 h 121934"/>
                  <a:gd name="connsiteX30" fmla="*/ 51759 w 102238"/>
                  <a:gd name="connsiteY30" fmla="*/ 14683 h 121934"/>
                  <a:gd name="connsiteX31" fmla="*/ 68372 w 102238"/>
                  <a:gd name="connsiteY31" fmla="*/ 24259 h 121934"/>
                  <a:gd name="connsiteX32" fmla="*/ 89459 w 102238"/>
                  <a:gd name="connsiteY32" fmla="*/ 28728 h 121934"/>
                  <a:gd name="connsiteX33" fmla="*/ 89459 w 102238"/>
                  <a:gd name="connsiteY33" fmla="*/ 56179 h 12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2238" h="121934">
                    <a:moveTo>
                      <a:pt x="102239" y="23621"/>
                    </a:moveTo>
                    <a:cubicBezTo>
                      <a:pt x="102239" y="21706"/>
                      <a:pt x="101600" y="20429"/>
                      <a:pt x="100322" y="19152"/>
                    </a:cubicBezTo>
                    <a:cubicBezTo>
                      <a:pt x="99044" y="17875"/>
                      <a:pt x="97127" y="17237"/>
                      <a:pt x="95849" y="17237"/>
                    </a:cubicBezTo>
                    <a:cubicBezTo>
                      <a:pt x="88181" y="17875"/>
                      <a:pt x="80513" y="16599"/>
                      <a:pt x="73484" y="13407"/>
                    </a:cubicBezTo>
                    <a:cubicBezTo>
                      <a:pt x="67094" y="10853"/>
                      <a:pt x="61344" y="7023"/>
                      <a:pt x="56232" y="1915"/>
                    </a:cubicBezTo>
                    <a:cubicBezTo>
                      <a:pt x="54954" y="639"/>
                      <a:pt x="53676" y="0"/>
                      <a:pt x="51759" y="0"/>
                    </a:cubicBezTo>
                    <a:cubicBezTo>
                      <a:pt x="49842" y="0"/>
                      <a:pt x="48564" y="639"/>
                      <a:pt x="47286" y="1915"/>
                    </a:cubicBezTo>
                    <a:cubicBezTo>
                      <a:pt x="43452" y="5746"/>
                      <a:pt x="37701" y="10853"/>
                      <a:pt x="28755" y="14045"/>
                    </a:cubicBezTo>
                    <a:cubicBezTo>
                      <a:pt x="19809" y="17237"/>
                      <a:pt x="12141" y="17237"/>
                      <a:pt x="7029" y="16599"/>
                    </a:cubicBezTo>
                    <a:cubicBezTo>
                      <a:pt x="5112" y="16599"/>
                      <a:pt x="3195" y="17237"/>
                      <a:pt x="1917" y="18514"/>
                    </a:cubicBezTo>
                    <a:cubicBezTo>
                      <a:pt x="639" y="19791"/>
                      <a:pt x="0" y="21706"/>
                      <a:pt x="0" y="23621"/>
                    </a:cubicBezTo>
                    <a:lnTo>
                      <a:pt x="639" y="56179"/>
                    </a:lnTo>
                    <a:cubicBezTo>
                      <a:pt x="639" y="73416"/>
                      <a:pt x="8307" y="90014"/>
                      <a:pt x="20448" y="101505"/>
                    </a:cubicBezTo>
                    <a:lnTo>
                      <a:pt x="21087" y="102144"/>
                    </a:lnTo>
                    <a:cubicBezTo>
                      <a:pt x="29394" y="109805"/>
                      <a:pt x="39618" y="116827"/>
                      <a:pt x="49842" y="121296"/>
                    </a:cubicBezTo>
                    <a:cubicBezTo>
                      <a:pt x="50481" y="121934"/>
                      <a:pt x="51759" y="121934"/>
                      <a:pt x="52398" y="121934"/>
                    </a:cubicBezTo>
                    <a:cubicBezTo>
                      <a:pt x="53676" y="121934"/>
                      <a:pt x="54314" y="121934"/>
                      <a:pt x="54954" y="121296"/>
                    </a:cubicBezTo>
                    <a:cubicBezTo>
                      <a:pt x="65177" y="116189"/>
                      <a:pt x="74124" y="109805"/>
                      <a:pt x="81792" y="102144"/>
                    </a:cubicBezTo>
                    <a:cubicBezTo>
                      <a:pt x="83069" y="100867"/>
                      <a:pt x="84347" y="99590"/>
                      <a:pt x="85625" y="97675"/>
                    </a:cubicBezTo>
                    <a:cubicBezTo>
                      <a:pt x="95849" y="86184"/>
                      <a:pt x="101600" y="70862"/>
                      <a:pt x="101600" y="54902"/>
                    </a:cubicBezTo>
                    <a:lnTo>
                      <a:pt x="101600" y="23621"/>
                    </a:lnTo>
                    <a:close/>
                    <a:moveTo>
                      <a:pt x="89459" y="56179"/>
                    </a:moveTo>
                    <a:cubicBezTo>
                      <a:pt x="89459" y="68947"/>
                      <a:pt x="84986" y="81077"/>
                      <a:pt x="76679" y="90014"/>
                    </a:cubicBezTo>
                    <a:cubicBezTo>
                      <a:pt x="75402" y="91291"/>
                      <a:pt x="74762" y="92568"/>
                      <a:pt x="73484" y="93845"/>
                    </a:cubicBezTo>
                    <a:cubicBezTo>
                      <a:pt x="67094" y="100229"/>
                      <a:pt x="60066" y="105336"/>
                      <a:pt x="52398" y="109166"/>
                    </a:cubicBezTo>
                    <a:cubicBezTo>
                      <a:pt x="44091" y="105336"/>
                      <a:pt x="36423" y="99590"/>
                      <a:pt x="29394" y="93206"/>
                    </a:cubicBezTo>
                    <a:lnTo>
                      <a:pt x="28755" y="92568"/>
                    </a:lnTo>
                    <a:cubicBezTo>
                      <a:pt x="19170" y="83630"/>
                      <a:pt x="13419" y="70224"/>
                      <a:pt x="13419" y="56179"/>
                    </a:cubicBezTo>
                    <a:lnTo>
                      <a:pt x="12780" y="30005"/>
                    </a:lnTo>
                    <a:cubicBezTo>
                      <a:pt x="19809" y="30005"/>
                      <a:pt x="26838" y="28728"/>
                      <a:pt x="33228" y="26175"/>
                    </a:cubicBezTo>
                    <a:cubicBezTo>
                      <a:pt x="40257" y="23621"/>
                      <a:pt x="46647" y="19791"/>
                      <a:pt x="51759" y="14683"/>
                    </a:cubicBezTo>
                    <a:cubicBezTo>
                      <a:pt x="56871" y="18514"/>
                      <a:pt x="62622" y="22344"/>
                      <a:pt x="68372" y="24259"/>
                    </a:cubicBezTo>
                    <a:cubicBezTo>
                      <a:pt x="74762" y="26813"/>
                      <a:pt x="81792" y="28728"/>
                      <a:pt x="89459" y="28728"/>
                    </a:cubicBezTo>
                    <a:lnTo>
                      <a:pt x="89459" y="56179"/>
                    </a:lnTo>
                    <a:close/>
                  </a:path>
                </a:pathLst>
              </a:custGeom>
              <a:grpFill/>
              <a:ln w="6390" cap="flat">
                <a:noFill/>
                <a:prstDash val="solid"/>
                <a:miter/>
              </a:ln>
            </p:spPr>
            <p:txBody>
              <a:bodyPr rtlCol="0" anchor="ctr"/>
              <a:lstStyle/>
              <a:p>
                <a:endParaRPr lang="en-US"/>
              </a:p>
            </p:txBody>
          </p:sp>
          <p:sp>
            <p:nvSpPr>
              <p:cNvPr id="1188" name="Graphic 4">
                <a:extLst>
                  <a:ext uri="{FF2B5EF4-FFF2-40B4-BE49-F238E27FC236}">
                    <a16:creationId xmlns:a16="http://schemas.microsoft.com/office/drawing/2014/main" id="{7009DE80-B7CC-2238-2451-C7D9CB49FC2C}"/>
                  </a:ext>
                </a:extLst>
              </p:cNvPr>
              <p:cNvSpPr/>
              <p:nvPr/>
            </p:nvSpPr>
            <p:spPr>
              <a:xfrm>
                <a:off x="3762874" y="3988236"/>
                <a:ext cx="46966" cy="41495"/>
              </a:xfrm>
              <a:custGeom>
                <a:avLst/>
                <a:gdLst>
                  <a:gd name="connsiteX0" fmla="*/ 26358 w 46966"/>
                  <a:gd name="connsiteY0" fmla="*/ 3831 h 41495"/>
                  <a:gd name="connsiteX1" fmla="*/ 23163 w 46966"/>
                  <a:gd name="connsiteY1" fmla="*/ 7023 h 41495"/>
                  <a:gd name="connsiteX2" fmla="*/ 19968 w 46966"/>
                  <a:gd name="connsiteY2" fmla="*/ 3831 h 41495"/>
                  <a:gd name="connsiteX3" fmla="*/ 11662 w 46966"/>
                  <a:gd name="connsiteY3" fmla="*/ 0 h 41495"/>
                  <a:gd name="connsiteX4" fmla="*/ 3355 w 46966"/>
                  <a:gd name="connsiteY4" fmla="*/ 3831 h 41495"/>
                  <a:gd name="connsiteX5" fmla="*/ 3355 w 46966"/>
                  <a:gd name="connsiteY5" fmla="*/ 21067 h 41495"/>
                  <a:gd name="connsiteX6" fmla="*/ 21885 w 46966"/>
                  <a:gd name="connsiteY6" fmla="*/ 40858 h 41495"/>
                  <a:gd name="connsiteX7" fmla="*/ 23163 w 46966"/>
                  <a:gd name="connsiteY7" fmla="*/ 41496 h 41495"/>
                  <a:gd name="connsiteX8" fmla="*/ 23163 w 46966"/>
                  <a:gd name="connsiteY8" fmla="*/ 41496 h 41495"/>
                  <a:gd name="connsiteX9" fmla="*/ 23163 w 46966"/>
                  <a:gd name="connsiteY9" fmla="*/ 41496 h 41495"/>
                  <a:gd name="connsiteX10" fmla="*/ 24441 w 46966"/>
                  <a:gd name="connsiteY10" fmla="*/ 40858 h 41495"/>
                  <a:gd name="connsiteX11" fmla="*/ 39138 w 46966"/>
                  <a:gd name="connsiteY11" fmla="*/ 25536 h 41495"/>
                  <a:gd name="connsiteX12" fmla="*/ 43611 w 46966"/>
                  <a:gd name="connsiteY12" fmla="*/ 21067 h 41495"/>
                  <a:gd name="connsiteX13" fmla="*/ 43611 w 46966"/>
                  <a:gd name="connsiteY13" fmla="*/ 3831 h 41495"/>
                  <a:gd name="connsiteX14" fmla="*/ 35304 w 46966"/>
                  <a:gd name="connsiteY14" fmla="*/ 0 h 41495"/>
                  <a:gd name="connsiteX15" fmla="*/ 26358 w 46966"/>
                  <a:gd name="connsiteY15" fmla="*/ 3831 h 4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966" h="41495">
                    <a:moveTo>
                      <a:pt x="26358" y="3831"/>
                    </a:moveTo>
                    <a:lnTo>
                      <a:pt x="23163" y="7023"/>
                    </a:lnTo>
                    <a:lnTo>
                      <a:pt x="19968" y="3831"/>
                    </a:lnTo>
                    <a:cubicBezTo>
                      <a:pt x="17412" y="1277"/>
                      <a:pt x="14857" y="0"/>
                      <a:pt x="11662" y="0"/>
                    </a:cubicBezTo>
                    <a:cubicBezTo>
                      <a:pt x="8467" y="0"/>
                      <a:pt x="5272" y="1277"/>
                      <a:pt x="3355" y="3831"/>
                    </a:cubicBezTo>
                    <a:cubicBezTo>
                      <a:pt x="-1118" y="8938"/>
                      <a:pt x="-1118" y="16599"/>
                      <a:pt x="3355" y="21067"/>
                    </a:cubicBezTo>
                    <a:lnTo>
                      <a:pt x="21885" y="40858"/>
                    </a:lnTo>
                    <a:cubicBezTo>
                      <a:pt x="21885" y="41496"/>
                      <a:pt x="22525" y="41496"/>
                      <a:pt x="23163" y="41496"/>
                    </a:cubicBezTo>
                    <a:cubicBezTo>
                      <a:pt x="23163" y="41496"/>
                      <a:pt x="23163" y="41496"/>
                      <a:pt x="23163" y="41496"/>
                    </a:cubicBezTo>
                    <a:cubicBezTo>
                      <a:pt x="23163" y="41496"/>
                      <a:pt x="23163" y="41496"/>
                      <a:pt x="23163" y="41496"/>
                    </a:cubicBezTo>
                    <a:cubicBezTo>
                      <a:pt x="23802" y="41496"/>
                      <a:pt x="23802" y="41496"/>
                      <a:pt x="24441" y="40858"/>
                    </a:cubicBezTo>
                    <a:lnTo>
                      <a:pt x="39138" y="25536"/>
                    </a:lnTo>
                    <a:lnTo>
                      <a:pt x="43611" y="21067"/>
                    </a:lnTo>
                    <a:cubicBezTo>
                      <a:pt x="48084" y="15960"/>
                      <a:pt x="48084" y="8299"/>
                      <a:pt x="43611" y="3831"/>
                    </a:cubicBezTo>
                    <a:cubicBezTo>
                      <a:pt x="41055" y="1277"/>
                      <a:pt x="38499" y="0"/>
                      <a:pt x="35304" y="0"/>
                    </a:cubicBezTo>
                    <a:cubicBezTo>
                      <a:pt x="32109" y="0"/>
                      <a:pt x="28915" y="1277"/>
                      <a:pt x="26358" y="3831"/>
                    </a:cubicBezTo>
                    <a:close/>
                  </a:path>
                </a:pathLst>
              </a:custGeom>
              <a:grpFill/>
              <a:ln w="6390" cap="flat">
                <a:noFill/>
                <a:prstDash val="solid"/>
                <a:miter/>
              </a:ln>
            </p:spPr>
            <p:txBody>
              <a:bodyPr rtlCol="0" anchor="ctr"/>
              <a:lstStyle/>
              <a:p>
                <a:endParaRPr lang="en-US"/>
              </a:p>
            </p:txBody>
          </p:sp>
        </p:grpSp>
        <p:grpSp>
          <p:nvGrpSpPr>
            <p:cNvPr id="1189" name="Graphic 4">
              <a:extLst>
                <a:ext uri="{FF2B5EF4-FFF2-40B4-BE49-F238E27FC236}">
                  <a16:creationId xmlns:a16="http://schemas.microsoft.com/office/drawing/2014/main" id="{DB0A6EB5-64E9-5F78-0A70-66326B774CA9}"/>
                </a:ext>
              </a:extLst>
            </p:cNvPr>
            <p:cNvGrpSpPr>
              <a:grpSpLocks noChangeAspect="1"/>
            </p:cNvGrpSpPr>
            <p:nvPr/>
          </p:nvGrpSpPr>
          <p:grpSpPr>
            <a:xfrm>
              <a:off x="5921179" y="4178194"/>
              <a:ext cx="186755" cy="291011"/>
              <a:chOff x="1617932" y="3399633"/>
              <a:chExt cx="155274" cy="241952"/>
            </a:xfrm>
            <a:solidFill>
              <a:schemeClr val="bg1"/>
            </a:solidFill>
          </p:grpSpPr>
          <p:sp>
            <p:nvSpPr>
              <p:cNvPr id="1190" name="Graphic 4">
                <a:extLst>
                  <a:ext uri="{FF2B5EF4-FFF2-40B4-BE49-F238E27FC236}">
                    <a16:creationId xmlns:a16="http://schemas.microsoft.com/office/drawing/2014/main" id="{DC957EF4-26B0-710C-5E8A-9594D1F25F6F}"/>
                  </a:ext>
                </a:extLst>
              </p:cNvPr>
              <p:cNvSpPr/>
              <p:nvPr/>
            </p:nvSpPr>
            <p:spPr>
              <a:xfrm>
                <a:off x="1655387" y="3442979"/>
                <a:ext cx="81466" cy="93909"/>
              </a:xfrm>
              <a:custGeom>
                <a:avLst/>
                <a:gdLst>
                  <a:gd name="connsiteX0" fmla="*/ 9191 w 81466"/>
                  <a:gd name="connsiteY0" fmla="*/ 65819 h 93909"/>
                  <a:gd name="connsiteX1" fmla="*/ 16859 w 81466"/>
                  <a:gd name="connsiteY1" fmla="*/ 87525 h 93909"/>
                  <a:gd name="connsiteX2" fmla="*/ 23249 w 81466"/>
                  <a:gd name="connsiteY2" fmla="*/ 93909 h 93909"/>
                  <a:gd name="connsiteX3" fmla="*/ 57754 w 81466"/>
                  <a:gd name="connsiteY3" fmla="*/ 93909 h 93909"/>
                  <a:gd name="connsiteX4" fmla="*/ 64144 w 81466"/>
                  <a:gd name="connsiteY4" fmla="*/ 87525 h 93909"/>
                  <a:gd name="connsiteX5" fmla="*/ 71812 w 81466"/>
                  <a:gd name="connsiteY5" fmla="*/ 65819 h 93909"/>
                  <a:gd name="connsiteX6" fmla="*/ 81397 w 81466"/>
                  <a:gd name="connsiteY6" fmla="*/ 39007 h 93909"/>
                  <a:gd name="connsiteX7" fmla="*/ 39224 w 81466"/>
                  <a:gd name="connsiteY7" fmla="*/ 64 h 93909"/>
                  <a:gd name="connsiteX8" fmla="*/ 245 w 81466"/>
                  <a:gd name="connsiteY8" fmla="*/ 39007 h 93909"/>
                  <a:gd name="connsiteX9" fmla="*/ 9191 w 81466"/>
                  <a:gd name="connsiteY9" fmla="*/ 65819 h 93909"/>
                  <a:gd name="connsiteX10" fmla="*/ 40501 w 81466"/>
                  <a:gd name="connsiteY10" fmla="*/ 11555 h 93909"/>
                  <a:gd name="connsiteX11" fmla="*/ 68617 w 81466"/>
                  <a:gd name="connsiteY11" fmla="*/ 37730 h 93909"/>
                  <a:gd name="connsiteX12" fmla="*/ 68617 w 81466"/>
                  <a:gd name="connsiteY12" fmla="*/ 39007 h 93909"/>
                  <a:gd name="connsiteX13" fmla="*/ 61588 w 81466"/>
                  <a:gd name="connsiteY13" fmla="*/ 58158 h 93909"/>
                  <a:gd name="connsiteX14" fmla="*/ 51364 w 81466"/>
                  <a:gd name="connsiteY14" fmla="*/ 81141 h 93909"/>
                  <a:gd name="connsiteX15" fmla="*/ 29000 w 81466"/>
                  <a:gd name="connsiteY15" fmla="*/ 81141 h 93909"/>
                  <a:gd name="connsiteX16" fmla="*/ 18776 w 81466"/>
                  <a:gd name="connsiteY16" fmla="*/ 58158 h 93909"/>
                  <a:gd name="connsiteX17" fmla="*/ 11747 w 81466"/>
                  <a:gd name="connsiteY17" fmla="*/ 39007 h 93909"/>
                  <a:gd name="connsiteX18" fmla="*/ 38585 w 81466"/>
                  <a:gd name="connsiteY18" fmla="*/ 12194 h 93909"/>
                  <a:gd name="connsiteX19" fmla="*/ 40501 w 81466"/>
                  <a:gd name="connsiteY19" fmla="*/ 11555 h 9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466" h="93909">
                    <a:moveTo>
                      <a:pt x="9191" y="65819"/>
                    </a:moveTo>
                    <a:cubicBezTo>
                      <a:pt x="14303" y="71565"/>
                      <a:pt x="17498" y="79864"/>
                      <a:pt x="16859" y="87525"/>
                    </a:cubicBezTo>
                    <a:cubicBezTo>
                      <a:pt x="16859" y="91355"/>
                      <a:pt x="19415" y="93909"/>
                      <a:pt x="23249" y="93909"/>
                    </a:cubicBezTo>
                    <a:lnTo>
                      <a:pt x="57754" y="93909"/>
                    </a:lnTo>
                    <a:cubicBezTo>
                      <a:pt x="61588" y="93909"/>
                      <a:pt x="64144" y="91355"/>
                      <a:pt x="64144" y="87525"/>
                    </a:cubicBezTo>
                    <a:cubicBezTo>
                      <a:pt x="63505" y="79226"/>
                      <a:pt x="66700" y="71565"/>
                      <a:pt x="71812" y="65819"/>
                    </a:cubicBezTo>
                    <a:cubicBezTo>
                      <a:pt x="78202" y="58158"/>
                      <a:pt x="82036" y="48583"/>
                      <a:pt x="81397" y="39007"/>
                    </a:cubicBezTo>
                    <a:cubicBezTo>
                      <a:pt x="80758" y="16663"/>
                      <a:pt x="61588" y="-1212"/>
                      <a:pt x="39224" y="64"/>
                    </a:cubicBezTo>
                    <a:cubicBezTo>
                      <a:pt x="18137" y="703"/>
                      <a:pt x="884" y="17939"/>
                      <a:pt x="245" y="39007"/>
                    </a:cubicBezTo>
                    <a:cubicBezTo>
                      <a:pt x="-1033" y="48583"/>
                      <a:pt x="2801" y="58158"/>
                      <a:pt x="9191" y="65819"/>
                    </a:cubicBezTo>
                    <a:close/>
                    <a:moveTo>
                      <a:pt x="40501" y="11555"/>
                    </a:moveTo>
                    <a:cubicBezTo>
                      <a:pt x="55198" y="10917"/>
                      <a:pt x="67978" y="22408"/>
                      <a:pt x="68617" y="37730"/>
                    </a:cubicBezTo>
                    <a:cubicBezTo>
                      <a:pt x="68617" y="38368"/>
                      <a:pt x="68617" y="38368"/>
                      <a:pt x="68617" y="39007"/>
                    </a:cubicBezTo>
                    <a:cubicBezTo>
                      <a:pt x="69256" y="46029"/>
                      <a:pt x="66700" y="53051"/>
                      <a:pt x="61588" y="58158"/>
                    </a:cubicBezTo>
                    <a:cubicBezTo>
                      <a:pt x="55837" y="64542"/>
                      <a:pt x="52642" y="72842"/>
                      <a:pt x="51364" y="81141"/>
                    </a:cubicBezTo>
                    <a:lnTo>
                      <a:pt x="29000" y="81141"/>
                    </a:lnTo>
                    <a:cubicBezTo>
                      <a:pt x="28361" y="72842"/>
                      <a:pt x="24527" y="64542"/>
                      <a:pt x="18776" y="58158"/>
                    </a:cubicBezTo>
                    <a:cubicBezTo>
                      <a:pt x="13664" y="53051"/>
                      <a:pt x="11747" y="46029"/>
                      <a:pt x="11747" y="39007"/>
                    </a:cubicBezTo>
                    <a:cubicBezTo>
                      <a:pt x="11747" y="24323"/>
                      <a:pt x="23888" y="12194"/>
                      <a:pt x="38585" y="12194"/>
                    </a:cubicBezTo>
                    <a:cubicBezTo>
                      <a:pt x="39862" y="11555"/>
                      <a:pt x="39862" y="11555"/>
                      <a:pt x="40501" y="11555"/>
                    </a:cubicBezTo>
                    <a:close/>
                  </a:path>
                </a:pathLst>
              </a:custGeom>
              <a:grpFill/>
              <a:ln w="6390" cap="flat">
                <a:noFill/>
                <a:prstDash val="solid"/>
                <a:miter/>
              </a:ln>
            </p:spPr>
            <p:txBody>
              <a:bodyPr rtlCol="0" anchor="ctr"/>
              <a:lstStyle/>
              <a:p>
                <a:endParaRPr lang="en-US"/>
              </a:p>
            </p:txBody>
          </p:sp>
          <p:sp>
            <p:nvSpPr>
              <p:cNvPr id="1191" name="Graphic 4">
                <a:extLst>
                  <a:ext uri="{FF2B5EF4-FFF2-40B4-BE49-F238E27FC236}">
                    <a16:creationId xmlns:a16="http://schemas.microsoft.com/office/drawing/2014/main" id="{BB1D4691-7FE7-F202-CB22-32F2FD64E0CF}"/>
                  </a:ext>
                </a:extLst>
              </p:cNvPr>
              <p:cNvSpPr/>
              <p:nvPr/>
            </p:nvSpPr>
            <p:spPr>
              <a:xfrm>
                <a:off x="1672885" y="3542634"/>
                <a:ext cx="45368" cy="12767"/>
              </a:xfrm>
              <a:custGeom>
                <a:avLst/>
                <a:gdLst>
                  <a:gd name="connsiteX0" fmla="*/ 38979 w 45368"/>
                  <a:gd name="connsiteY0" fmla="*/ 0 h 12767"/>
                  <a:gd name="connsiteX1" fmla="*/ 6390 w 45368"/>
                  <a:gd name="connsiteY1" fmla="*/ 0 h 12767"/>
                  <a:gd name="connsiteX2" fmla="*/ 0 w 45368"/>
                  <a:gd name="connsiteY2" fmla="*/ 6384 h 12767"/>
                  <a:gd name="connsiteX3" fmla="*/ 6390 w 45368"/>
                  <a:gd name="connsiteY3" fmla="*/ 12768 h 12767"/>
                  <a:gd name="connsiteX4" fmla="*/ 38979 w 45368"/>
                  <a:gd name="connsiteY4" fmla="*/ 12768 h 12767"/>
                  <a:gd name="connsiteX5" fmla="*/ 45369 w 45368"/>
                  <a:gd name="connsiteY5" fmla="*/ 6384 h 12767"/>
                  <a:gd name="connsiteX6" fmla="*/ 38979 w 45368"/>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8" h="12767">
                    <a:moveTo>
                      <a:pt x="38979" y="0"/>
                    </a:moveTo>
                    <a:lnTo>
                      <a:pt x="6390" y="0"/>
                    </a:lnTo>
                    <a:cubicBezTo>
                      <a:pt x="2556" y="0"/>
                      <a:pt x="0" y="2554"/>
                      <a:pt x="0" y="6384"/>
                    </a:cubicBezTo>
                    <a:cubicBezTo>
                      <a:pt x="0" y="10215"/>
                      <a:pt x="2556" y="12768"/>
                      <a:pt x="6390" y="12768"/>
                    </a:cubicBezTo>
                    <a:lnTo>
                      <a:pt x="38979" y="12768"/>
                    </a:lnTo>
                    <a:cubicBezTo>
                      <a:pt x="42813" y="12768"/>
                      <a:pt x="45369" y="10215"/>
                      <a:pt x="45369" y="6384"/>
                    </a:cubicBezTo>
                    <a:cubicBezTo>
                      <a:pt x="45369" y="2554"/>
                      <a:pt x="42813" y="0"/>
                      <a:pt x="38979" y="0"/>
                    </a:cubicBezTo>
                    <a:close/>
                  </a:path>
                </a:pathLst>
              </a:custGeom>
              <a:grpFill/>
              <a:ln w="6390" cap="flat">
                <a:noFill/>
                <a:prstDash val="solid"/>
                <a:miter/>
              </a:ln>
            </p:spPr>
            <p:txBody>
              <a:bodyPr rtlCol="0" anchor="ctr"/>
              <a:lstStyle/>
              <a:p>
                <a:endParaRPr lang="en-US"/>
              </a:p>
            </p:txBody>
          </p:sp>
          <p:sp>
            <p:nvSpPr>
              <p:cNvPr id="1192" name="Graphic 4">
                <a:extLst>
                  <a:ext uri="{FF2B5EF4-FFF2-40B4-BE49-F238E27FC236}">
                    <a16:creationId xmlns:a16="http://schemas.microsoft.com/office/drawing/2014/main" id="{7ED69C66-2158-64D5-C4BC-848F81E82AFF}"/>
                  </a:ext>
                </a:extLst>
              </p:cNvPr>
              <p:cNvSpPr/>
              <p:nvPr/>
            </p:nvSpPr>
            <p:spPr>
              <a:xfrm>
                <a:off x="1689499" y="3399633"/>
                <a:ext cx="12779" cy="26812"/>
              </a:xfrm>
              <a:custGeom>
                <a:avLst/>
                <a:gdLst>
                  <a:gd name="connsiteX0" fmla="*/ 6390 w 12779"/>
                  <a:gd name="connsiteY0" fmla="*/ 26812 h 26812"/>
                  <a:gd name="connsiteX1" fmla="*/ 12780 w 12779"/>
                  <a:gd name="connsiteY1" fmla="*/ 20428 h 26812"/>
                  <a:gd name="connsiteX2" fmla="*/ 12780 w 12779"/>
                  <a:gd name="connsiteY2" fmla="*/ 6384 h 26812"/>
                  <a:gd name="connsiteX3" fmla="*/ 6390 w 12779"/>
                  <a:gd name="connsiteY3" fmla="*/ 0 h 26812"/>
                  <a:gd name="connsiteX4" fmla="*/ 0 w 12779"/>
                  <a:gd name="connsiteY4" fmla="*/ 6384 h 26812"/>
                  <a:gd name="connsiteX5" fmla="*/ 0 w 12779"/>
                  <a:gd name="connsiteY5" fmla="*/ 20428 h 26812"/>
                  <a:gd name="connsiteX6" fmla="*/ 6390 w 12779"/>
                  <a:gd name="connsiteY6" fmla="*/ 26812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6812">
                    <a:moveTo>
                      <a:pt x="6390" y="26812"/>
                    </a:moveTo>
                    <a:cubicBezTo>
                      <a:pt x="10224" y="26812"/>
                      <a:pt x="12780" y="24259"/>
                      <a:pt x="12780" y="20428"/>
                    </a:cubicBezTo>
                    <a:lnTo>
                      <a:pt x="12780" y="6384"/>
                    </a:lnTo>
                    <a:cubicBezTo>
                      <a:pt x="12780" y="2553"/>
                      <a:pt x="10224" y="0"/>
                      <a:pt x="6390" y="0"/>
                    </a:cubicBezTo>
                    <a:cubicBezTo>
                      <a:pt x="2556" y="0"/>
                      <a:pt x="0" y="2553"/>
                      <a:pt x="0" y="6384"/>
                    </a:cubicBezTo>
                    <a:lnTo>
                      <a:pt x="0" y="20428"/>
                    </a:lnTo>
                    <a:cubicBezTo>
                      <a:pt x="0" y="24259"/>
                      <a:pt x="2556" y="26812"/>
                      <a:pt x="6390" y="26812"/>
                    </a:cubicBezTo>
                    <a:close/>
                  </a:path>
                </a:pathLst>
              </a:custGeom>
              <a:grpFill/>
              <a:ln w="6390" cap="flat">
                <a:noFill/>
                <a:prstDash val="solid"/>
                <a:miter/>
              </a:ln>
            </p:spPr>
            <p:txBody>
              <a:bodyPr rtlCol="0" anchor="ctr"/>
              <a:lstStyle/>
              <a:p>
                <a:endParaRPr lang="en-US"/>
              </a:p>
            </p:txBody>
          </p:sp>
          <p:sp>
            <p:nvSpPr>
              <p:cNvPr id="1193" name="Graphic 4">
                <a:extLst>
                  <a:ext uri="{FF2B5EF4-FFF2-40B4-BE49-F238E27FC236}">
                    <a16:creationId xmlns:a16="http://schemas.microsoft.com/office/drawing/2014/main" id="{FB4138E5-820B-C0E8-CE8A-7349FBFEBF66}"/>
                  </a:ext>
                </a:extLst>
              </p:cNvPr>
              <p:cNvSpPr/>
              <p:nvPr/>
            </p:nvSpPr>
            <p:spPr>
              <a:xfrm>
                <a:off x="1628994" y="3431752"/>
                <a:ext cx="25999" cy="21505"/>
              </a:xfrm>
              <a:custGeom>
                <a:avLst/>
                <a:gdLst>
                  <a:gd name="connsiteX0" fmla="*/ 16414 w 25999"/>
                  <a:gd name="connsiteY0" fmla="*/ 20229 h 21505"/>
                  <a:gd name="connsiteX1" fmla="*/ 19609 w 25999"/>
                  <a:gd name="connsiteY1" fmla="*/ 21506 h 21505"/>
                  <a:gd name="connsiteX2" fmla="*/ 25999 w 25999"/>
                  <a:gd name="connsiteY2" fmla="*/ 15122 h 21505"/>
                  <a:gd name="connsiteX3" fmla="*/ 22804 w 25999"/>
                  <a:gd name="connsiteY3" fmla="*/ 9377 h 21505"/>
                  <a:gd name="connsiteX4" fmla="*/ 10024 w 25999"/>
                  <a:gd name="connsiteY4" fmla="*/ 1077 h 21505"/>
                  <a:gd name="connsiteX5" fmla="*/ 1078 w 25999"/>
                  <a:gd name="connsiteY5" fmla="*/ 2993 h 21505"/>
                  <a:gd name="connsiteX6" fmla="*/ 2995 w 25999"/>
                  <a:gd name="connsiteY6" fmla="*/ 11930 h 21505"/>
                  <a:gd name="connsiteX7" fmla="*/ 2995 w 25999"/>
                  <a:gd name="connsiteY7" fmla="*/ 11930 h 21505"/>
                  <a:gd name="connsiteX8" fmla="*/ 16414 w 25999"/>
                  <a:gd name="connsiteY8" fmla="*/ 20229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9" h="21505">
                    <a:moveTo>
                      <a:pt x="16414" y="20229"/>
                    </a:moveTo>
                    <a:cubicBezTo>
                      <a:pt x="17692" y="20868"/>
                      <a:pt x="18970" y="21506"/>
                      <a:pt x="19609" y="21506"/>
                    </a:cubicBezTo>
                    <a:cubicBezTo>
                      <a:pt x="23443" y="21506"/>
                      <a:pt x="25999" y="18953"/>
                      <a:pt x="25999" y="15122"/>
                    </a:cubicBezTo>
                    <a:cubicBezTo>
                      <a:pt x="25999" y="13207"/>
                      <a:pt x="24721" y="10653"/>
                      <a:pt x="22804" y="9377"/>
                    </a:cubicBezTo>
                    <a:lnTo>
                      <a:pt x="10024" y="1077"/>
                    </a:lnTo>
                    <a:cubicBezTo>
                      <a:pt x="6829" y="-838"/>
                      <a:pt x="2995" y="-199"/>
                      <a:pt x="1078" y="2993"/>
                    </a:cubicBezTo>
                    <a:cubicBezTo>
                      <a:pt x="-839" y="6185"/>
                      <a:pt x="-200" y="10015"/>
                      <a:pt x="2995" y="11930"/>
                    </a:cubicBezTo>
                    <a:lnTo>
                      <a:pt x="2995" y="11930"/>
                    </a:lnTo>
                    <a:lnTo>
                      <a:pt x="16414" y="20229"/>
                    </a:lnTo>
                    <a:close/>
                  </a:path>
                </a:pathLst>
              </a:custGeom>
              <a:grpFill/>
              <a:ln w="6390" cap="flat">
                <a:noFill/>
                <a:prstDash val="solid"/>
                <a:miter/>
              </a:ln>
            </p:spPr>
            <p:txBody>
              <a:bodyPr rtlCol="0" anchor="ctr"/>
              <a:lstStyle/>
              <a:p>
                <a:endParaRPr lang="en-US"/>
              </a:p>
            </p:txBody>
          </p:sp>
          <p:sp>
            <p:nvSpPr>
              <p:cNvPr id="1194" name="Graphic 4">
                <a:extLst>
                  <a:ext uri="{FF2B5EF4-FFF2-40B4-BE49-F238E27FC236}">
                    <a16:creationId xmlns:a16="http://schemas.microsoft.com/office/drawing/2014/main" id="{A1FAF503-2EE8-CF46-4F7E-5CA6C7A22160}"/>
                  </a:ext>
                </a:extLst>
              </p:cNvPr>
              <p:cNvSpPr/>
              <p:nvPr/>
            </p:nvSpPr>
            <p:spPr>
              <a:xfrm>
                <a:off x="1617932" y="3490924"/>
                <a:ext cx="28115" cy="12767"/>
              </a:xfrm>
              <a:custGeom>
                <a:avLst/>
                <a:gdLst>
                  <a:gd name="connsiteX0" fmla="*/ 21726 w 28115"/>
                  <a:gd name="connsiteY0" fmla="*/ 12768 h 12767"/>
                  <a:gd name="connsiteX1" fmla="*/ 28116 w 28115"/>
                  <a:gd name="connsiteY1" fmla="*/ 6384 h 12767"/>
                  <a:gd name="connsiteX2" fmla="*/ 21726 w 28115"/>
                  <a:gd name="connsiteY2" fmla="*/ 0 h 12767"/>
                  <a:gd name="connsiteX3" fmla="*/ 6390 w 28115"/>
                  <a:gd name="connsiteY3" fmla="*/ 0 h 12767"/>
                  <a:gd name="connsiteX4" fmla="*/ 0 w 28115"/>
                  <a:gd name="connsiteY4" fmla="*/ 6384 h 12767"/>
                  <a:gd name="connsiteX5" fmla="*/ 6390 w 28115"/>
                  <a:gd name="connsiteY5" fmla="*/ 12768 h 12767"/>
                  <a:gd name="connsiteX6" fmla="*/ 21726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12768"/>
                    </a:moveTo>
                    <a:cubicBezTo>
                      <a:pt x="25560" y="12768"/>
                      <a:pt x="28116" y="10214"/>
                      <a:pt x="28116" y="6384"/>
                    </a:cubicBezTo>
                    <a:cubicBezTo>
                      <a:pt x="28116" y="2553"/>
                      <a:pt x="25560" y="0"/>
                      <a:pt x="21726" y="0"/>
                    </a:cubicBezTo>
                    <a:lnTo>
                      <a:pt x="6390" y="0"/>
                    </a:lnTo>
                    <a:cubicBezTo>
                      <a:pt x="2556" y="0"/>
                      <a:pt x="0" y="2553"/>
                      <a:pt x="0" y="6384"/>
                    </a:cubicBezTo>
                    <a:cubicBezTo>
                      <a:pt x="0" y="10214"/>
                      <a:pt x="2556" y="12768"/>
                      <a:pt x="6390" y="12768"/>
                    </a:cubicBezTo>
                    <a:lnTo>
                      <a:pt x="21726" y="12768"/>
                    </a:lnTo>
                    <a:close/>
                  </a:path>
                </a:pathLst>
              </a:custGeom>
              <a:grpFill/>
              <a:ln w="6390" cap="flat">
                <a:noFill/>
                <a:prstDash val="solid"/>
                <a:miter/>
              </a:ln>
            </p:spPr>
            <p:txBody>
              <a:bodyPr rtlCol="0" anchor="ctr"/>
              <a:lstStyle/>
              <a:p>
                <a:endParaRPr lang="en-US"/>
              </a:p>
            </p:txBody>
          </p:sp>
          <p:sp>
            <p:nvSpPr>
              <p:cNvPr id="1195" name="Graphic 4">
                <a:extLst>
                  <a:ext uri="{FF2B5EF4-FFF2-40B4-BE49-F238E27FC236}">
                    <a16:creationId xmlns:a16="http://schemas.microsoft.com/office/drawing/2014/main" id="{EBB17EC2-DF4F-6E85-4738-BE90C682EAEF}"/>
                  </a:ext>
                </a:extLst>
              </p:cNvPr>
              <p:cNvSpPr/>
              <p:nvPr/>
            </p:nvSpPr>
            <p:spPr>
              <a:xfrm>
                <a:off x="1735706" y="3431752"/>
                <a:ext cx="25799" cy="21505"/>
              </a:xfrm>
              <a:custGeom>
                <a:avLst/>
                <a:gdLst>
                  <a:gd name="connsiteX0" fmla="*/ 6829 w 25799"/>
                  <a:gd name="connsiteY0" fmla="*/ 21506 h 21505"/>
                  <a:gd name="connsiteX1" fmla="*/ 10024 w 25799"/>
                  <a:gd name="connsiteY1" fmla="*/ 20229 h 21505"/>
                  <a:gd name="connsiteX2" fmla="*/ 22804 w 25799"/>
                  <a:gd name="connsiteY2" fmla="*/ 11930 h 21505"/>
                  <a:gd name="connsiteX3" fmla="*/ 24721 w 25799"/>
                  <a:gd name="connsiteY3" fmla="*/ 2993 h 21505"/>
                  <a:gd name="connsiteX4" fmla="*/ 15775 w 25799"/>
                  <a:gd name="connsiteY4" fmla="*/ 1077 h 21505"/>
                  <a:gd name="connsiteX5" fmla="*/ 2995 w 25799"/>
                  <a:gd name="connsiteY5" fmla="*/ 9377 h 21505"/>
                  <a:gd name="connsiteX6" fmla="*/ 1078 w 25799"/>
                  <a:gd name="connsiteY6" fmla="*/ 18314 h 21505"/>
                  <a:gd name="connsiteX7" fmla="*/ 6829 w 25799"/>
                  <a:gd name="connsiteY7" fmla="*/ 21506 h 21505"/>
                  <a:gd name="connsiteX8" fmla="*/ 6829 w 25799"/>
                  <a:gd name="connsiteY8" fmla="*/ 21506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99" h="21505">
                    <a:moveTo>
                      <a:pt x="6829" y="21506"/>
                    </a:moveTo>
                    <a:cubicBezTo>
                      <a:pt x="8107" y="21506"/>
                      <a:pt x="9385" y="20868"/>
                      <a:pt x="10024" y="20229"/>
                    </a:cubicBezTo>
                    <a:lnTo>
                      <a:pt x="22804" y="11930"/>
                    </a:lnTo>
                    <a:cubicBezTo>
                      <a:pt x="25999" y="10015"/>
                      <a:pt x="26638" y="6185"/>
                      <a:pt x="24721" y="2993"/>
                    </a:cubicBezTo>
                    <a:cubicBezTo>
                      <a:pt x="22804" y="-199"/>
                      <a:pt x="18970" y="-838"/>
                      <a:pt x="15775" y="1077"/>
                    </a:cubicBezTo>
                    <a:lnTo>
                      <a:pt x="2995" y="9377"/>
                    </a:lnTo>
                    <a:cubicBezTo>
                      <a:pt x="-200" y="11292"/>
                      <a:pt x="-839" y="15122"/>
                      <a:pt x="1078" y="18314"/>
                    </a:cubicBezTo>
                    <a:cubicBezTo>
                      <a:pt x="2356" y="20229"/>
                      <a:pt x="4912" y="21506"/>
                      <a:pt x="6829" y="21506"/>
                    </a:cubicBezTo>
                    <a:lnTo>
                      <a:pt x="6829" y="21506"/>
                    </a:lnTo>
                    <a:close/>
                  </a:path>
                </a:pathLst>
              </a:custGeom>
              <a:grpFill/>
              <a:ln w="6390" cap="flat">
                <a:noFill/>
                <a:prstDash val="solid"/>
                <a:miter/>
              </a:ln>
            </p:spPr>
            <p:txBody>
              <a:bodyPr rtlCol="0" anchor="ctr"/>
              <a:lstStyle/>
              <a:p>
                <a:endParaRPr lang="en-US"/>
              </a:p>
            </p:txBody>
          </p:sp>
          <p:sp>
            <p:nvSpPr>
              <p:cNvPr id="1196" name="Graphic 4">
                <a:extLst>
                  <a:ext uri="{FF2B5EF4-FFF2-40B4-BE49-F238E27FC236}">
                    <a16:creationId xmlns:a16="http://schemas.microsoft.com/office/drawing/2014/main" id="{6713FB0E-DE80-E073-CE6C-D3448E4ECBDD}"/>
                  </a:ext>
                </a:extLst>
              </p:cNvPr>
              <p:cNvSpPr/>
              <p:nvPr/>
            </p:nvSpPr>
            <p:spPr>
              <a:xfrm>
                <a:off x="1745091" y="3490924"/>
                <a:ext cx="28115" cy="12767"/>
              </a:xfrm>
              <a:custGeom>
                <a:avLst/>
                <a:gdLst>
                  <a:gd name="connsiteX0" fmla="*/ 21726 w 28115"/>
                  <a:gd name="connsiteY0" fmla="*/ 0 h 12767"/>
                  <a:gd name="connsiteX1" fmla="*/ 6390 w 28115"/>
                  <a:gd name="connsiteY1" fmla="*/ 0 h 12767"/>
                  <a:gd name="connsiteX2" fmla="*/ 0 w 28115"/>
                  <a:gd name="connsiteY2" fmla="*/ 6384 h 12767"/>
                  <a:gd name="connsiteX3" fmla="*/ 6390 w 28115"/>
                  <a:gd name="connsiteY3" fmla="*/ 12768 h 12767"/>
                  <a:gd name="connsiteX4" fmla="*/ 21726 w 28115"/>
                  <a:gd name="connsiteY4" fmla="*/ 12768 h 12767"/>
                  <a:gd name="connsiteX5" fmla="*/ 28116 w 28115"/>
                  <a:gd name="connsiteY5" fmla="*/ 6384 h 12767"/>
                  <a:gd name="connsiteX6" fmla="*/ 21726 w 28115"/>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0"/>
                    </a:moveTo>
                    <a:lnTo>
                      <a:pt x="6390" y="0"/>
                    </a:lnTo>
                    <a:cubicBezTo>
                      <a:pt x="2556" y="0"/>
                      <a:pt x="0" y="2553"/>
                      <a:pt x="0" y="6384"/>
                    </a:cubicBezTo>
                    <a:cubicBezTo>
                      <a:pt x="0" y="10214"/>
                      <a:pt x="2556" y="12768"/>
                      <a:pt x="6390" y="12768"/>
                    </a:cubicBezTo>
                    <a:lnTo>
                      <a:pt x="21726" y="12768"/>
                    </a:lnTo>
                    <a:cubicBezTo>
                      <a:pt x="25560" y="12768"/>
                      <a:pt x="28116" y="10214"/>
                      <a:pt x="28116" y="6384"/>
                    </a:cubicBezTo>
                    <a:cubicBezTo>
                      <a:pt x="28116" y="2553"/>
                      <a:pt x="25560" y="0"/>
                      <a:pt x="21726" y="0"/>
                    </a:cubicBezTo>
                    <a:close/>
                  </a:path>
                </a:pathLst>
              </a:custGeom>
              <a:grpFill/>
              <a:ln w="6390" cap="flat">
                <a:noFill/>
                <a:prstDash val="solid"/>
                <a:miter/>
              </a:ln>
            </p:spPr>
            <p:txBody>
              <a:bodyPr rtlCol="0" anchor="ctr"/>
              <a:lstStyle/>
              <a:p>
                <a:endParaRPr lang="en-US"/>
              </a:p>
            </p:txBody>
          </p:sp>
          <p:sp>
            <p:nvSpPr>
              <p:cNvPr id="1197" name="Graphic 4">
                <a:extLst>
                  <a:ext uri="{FF2B5EF4-FFF2-40B4-BE49-F238E27FC236}">
                    <a16:creationId xmlns:a16="http://schemas.microsoft.com/office/drawing/2014/main" id="{2300FAA0-AF2D-1858-DCE4-B6DA2485AC6A}"/>
                  </a:ext>
                </a:extLst>
              </p:cNvPr>
              <p:cNvSpPr/>
              <p:nvPr/>
            </p:nvSpPr>
            <p:spPr>
              <a:xfrm>
                <a:off x="1620488" y="3563701"/>
                <a:ext cx="150802" cy="77884"/>
              </a:xfrm>
              <a:custGeom>
                <a:avLst/>
                <a:gdLst>
                  <a:gd name="connsiteX0" fmla="*/ 94571 w 150802"/>
                  <a:gd name="connsiteY0" fmla="*/ 0 h 77884"/>
                  <a:gd name="connsiteX1" fmla="*/ 56231 w 150802"/>
                  <a:gd name="connsiteY1" fmla="*/ 0 h 77884"/>
                  <a:gd name="connsiteX2" fmla="*/ 0 w 150802"/>
                  <a:gd name="connsiteY2" fmla="*/ 60010 h 77884"/>
                  <a:gd name="connsiteX3" fmla="*/ 0 w 150802"/>
                  <a:gd name="connsiteY3" fmla="*/ 71501 h 77884"/>
                  <a:gd name="connsiteX4" fmla="*/ 6390 w 150802"/>
                  <a:gd name="connsiteY4" fmla="*/ 77885 h 77884"/>
                  <a:gd name="connsiteX5" fmla="*/ 12780 w 150802"/>
                  <a:gd name="connsiteY5" fmla="*/ 71501 h 77884"/>
                  <a:gd name="connsiteX6" fmla="*/ 12780 w 150802"/>
                  <a:gd name="connsiteY6" fmla="*/ 60010 h 77884"/>
                  <a:gd name="connsiteX7" fmla="*/ 56231 w 150802"/>
                  <a:gd name="connsiteY7" fmla="*/ 12768 h 77884"/>
                  <a:gd name="connsiteX8" fmla="*/ 94571 w 150802"/>
                  <a:gd name="connsiteY8" fmla="*/ 12768 h 77884"/>
                  <a:gd name="connsiteX9" fmla="*/ 138023 w 150802"/>
                  <a:gd name="connsiteY9" fmla="*/ 60010 h 77884"/>
                  <a:gd name="connsiteX10" fmla="*/ 138023 w 150802"/>
                  <a:gd name="connsiteY10" fmla="*/ 71501 h 77884"/>
                  <a:gd name="connsiteX11" fmla="*/ 144413 w 150802"/>
                  <a:gd name="connsiteY11" fmla="*/ 77885 h 77884"/>
                  <a:gd name="connsiteX12" fmla="*/ 150803 w 150802"/>
                  <a:gd name="connsiteY12" fmla="*/ 71501 h 77884"/>
                  <a:gd name="connsiteX13" fmla="*/ 150803 w 150802"/>
                  <a:gd name="connsiteY13" fmla="*/ 60010 h 77884"/>
                  <a:gd name="connsiteX14" fmla="*/ 94571 w 150802"/>
                  <a:gd name="connsiteY14" fmla="*/ 0 h 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802" h="77884">
                    <a:moveTo>
                      <a:pt x="94571" y="0"/>
                    </a:moveTo>
                    <a:lnTo>
                      <a:pt x="56231" y="0"/>
                    </a:lnTo>
                    <a:cubicBezTo>
                      <a:pt x="24921" y="0"/>
                      <a:pt x="0" y="26813"/>
                      <a:pt x="0" y="60010"/>
                    </a:cubicBezTo>
                    <a:lnTo>
                      <a:pt x="0" y="71501"/>
                    </a:lnTo>
                    <a:cubicBezTo>
                      <a:pt x="0" y="75331"/>
                      <a:pt x="2556" y="77885"/>
                      <a:pt x="6390" y="77885"/>
                    </a:cubicBezTo>
                    <a:cubicBezTo>
                      <a:pt x="10224" y="77885"/>
                      <a:pt x="12780" y="75331"/>
                      <a:pt x="12780" y="71501"/>
                    </a:cubicBezTo>
                    <a:lnTo>
                      <a:pt x="12780" y="60010"/>
                    </a:lnTo>
                    <a:cubicBezTo>
                      <a:pt x="12780" y="33835"/>
                      <a:pt x="31950" y="12768"/>
                      <a:pt x="56231" y="12768"/>
                    </a:cubicBezTo>
                    <a:lnTo>
                      <a:pt x="94571" y="12768"/>
                    </a:lnTo>
                    <a:cubicBezTo>
                      <a:pt x="118853" y="12768"/>
                      <a:pt x="138023" y="33835"/>
                      <a:pt x="138023" y="60010"/>
                    </a:cubicBezTo>
                    <a:lnTo>
                      <a:pt x="138023" y="71501"/>
                    </a:lnTo>
                    <a:cubicBezTo>
                      <a:pt x="138023" y="75331"/>
                      <a:pt x="140579" y="77885"/>
                      <a:pt x="144413" y="77885"/>
                    </a:cubicBezTo>
                    <a:cubicBezTo>
                      <a:pt x="148246" y="77885"/>
                      <a:pt x="150803" y="75331"/>
                      <a:pt x="150803" y="71501"/>
                    </a:cubicBezTo>
                    <a:lnTo>
                      <a:pt x="150803" y="60010"/>
                    </a:lnTo>
                    <a:cubicBezTo>
                      <a:pt x="150803" y="26813"/>
                      <a:pt x="125243" y="0"/>
                      <a:pt x="94571" y="0"/>
                    </a:cubicBezTo>
                    <a:close/>
                  </a:path>
                </a:pathLst>
              </a:custGeom>
              <a:grpFill/>
              <a:ln w="6390" cap="flat">
                <a:noFill/>
                <a:prstDash val="solid"/>
                <a:miter/>
              </a:ln>
            </p:spPr>
            <p:txBody>
              <a:bodyPr rtlCol="0" anchor="ctr"/>
              <a:lstStyle/>
              <a:p>
                <a:endParaRPr lang="en-US"/>
              </a:p>
            </p:txBody>
          </p:sp>
        </p:grpSp>
        <p:sp>
          <p:nvSpPr>
            <p:cNvPr id="1198" name="Graphic 4">
              <a:extLst>
                <a:ext uri="{FF2B5EF4-FFF2-40B4-BE49-F238E27FC236}">
                  <a16:creationId xmlns:a16="http://schemas.microsoft.com/office/drawing/2014/main" id="{FD3F9AF8-E58A-B280-159E-BFD57C3653C9}"/>
                </a:ext>
              </a:extLst>
            </p:cNvPr>
            <p:cNvSpPr/>
            <p:nvPr/>
          </p:nvSpPr>
          <p:spPr>
            <a:xfrm>
              <a:off x="4632860" y="4159940"/>
              <a:ext cx="267246" cy="327432"/>
            </a:xfrm>
            <a:custGeom>
              <a:avLst/>
              <a:gdLst>
                <a:gd name="connsiteX0" fmla="*/ 187225 w 189142"/>
                <a:gd name="connsiteY0" fmla="*/ 43411 h 231738"/>
                <a:gd name="connsiteX1" fmla="*/ 146330 w 189142"/>
                <a:gd name="connsiteY1" fmla="*/ 1915 h 231738"/>
                <a:gd name="connsiteX2" fmla="*/ 141857 w 189142"/>
                <a:gd name="connsiteY2" fmla="*/ 0 h 231738"/>
                <a:gd name="connsiteX3" fmla="*/ 65177 w 189142"/>
                <a:gd name="connsiteY3" fmla="*/ 0 h 231738"/>
                <a:gd name="connsiteX4" fmla="*/ 58787 w 189142"/>
                <a:gd name="connsiteY4" fmla="*/ 6384 h 231738"/>
                <a:gd name="connsiteX5" fmla="*/ 58787 w 189142"/>
                <a:gd name="connsiteY5" fmla="*/ 50434 h 231738"/>
                <a:gd name="connsiteX6" fmla="*/ 6390 w 189142"/>
                <a:gd name="connsiteY6" fmla="*/ 50434 h 231738"/>
                <a:gd name="connsiteX7" fmla="*/ 0 w 189142"/>
                <a:gd name="connsiteY7" fmla="*/ 56818 h 231738"/>
                <a:gd name="connsiteX8" fmla="*/ 0 w 189142"/>
                <a:gd name="connsiteY8" fmla="*/ 225355 h 231738"/>
                <a:gd name="connsiteX9" fmla="*/ 6390 w 189142"/>
                <a:gd name="connsiteY9" fmla="*/ 231739 h 231738"/>
                <a:gd name="connsiteX10" fmla="*/ 123965 w 189142"/>
                <a:gd name="connsiteY10" fmla="*/ 231739 h 231738"/>
                <a:gd name="connsiteX11" fmla="*/ 130355 w 189142"/>
                <a:gd name="connsiteY11" fmla="*/ 225355 h 231738"/>
                <a:gd name="connsiteX12" fmla="*/ 130355 w 189142"/>
                <a:gd name="connsiteY12" fmla="*/ 181305 h 231738"/>
                <a:gd name="connsiteX13" fmla="*/ 182752 w 189142"/>
                <a:gd name="connsiteY13" fmla="*/ 181305 h 231738"/>
                <a:gd name="connsiteX14" fmla="*/ 189142 w 189142"/>
                <a:gd name="connsiteY14" fmla="*/ 174921 h 231738"/>
                <a:gd name="connsiteX15" fmla="*/ 189142 w 189142"/>
                <a:gd name="connsiteY15" fmla="*/ 49157 h 231738"/>
                <a:gd name="connsiteX16" fmla="*/ 188503 w 189142"/>
                <a:gd name="connsiteY16" fmla="*/ 45965 h 231738"/>
                <a:gd name="connsiteX17" fmla="*/ 187225 w 189142"/>
                <a:gd name="connsiteY17" fmla="*/ 43411 h 231738"/>
                <a:gd name="connsiteX18" fmla="*/ 147608 w 189142"/>
                <a:gd name="connsiteY18" fmla="*/ 21706 h 231738"/>
                <a:gd name="connsiteX19" fmla="*/ 168055 w 189142"/>
                <a:gd name="connsiteY19" fmla="*/ 42773 h 231738"/>
                <a:gd name="connsiteX20" fmla="*/ 147608 w 189142"/>
                <a:gd name="connsiteY20" fmla="*/ 42773 h 231738"/>
                <a:gd name="connsiteX21" fmla="*/ 147608 w 189142"/>
                <a:gd name="connsiteY21" fmla="*/ 21706 h 231738"/>
                <a:gd name="connsiteX22" fmla="*/ 117575 w 189142"/>
                <a:gd name="connsiteY22" fmla="*/ 218971 h 231738"/>
                <a:gd name="connsiteX23" fmla="*/ 12780 w 189142"/>
                <a:gd name="connsiteY23" fmla="*/ 218971 h 231738"/>
                <a:gd name="connsiteX24" fmla="*/ 12780 w 189142"/>
                <a:gd name="connsiteY24" fmla="*/ 63840 h 231738"/>
                <a:gd name="connsiteX25" fmla="*/ 76040 w 189142"/>
                <a:gd name="connsiteY25" fmla="*/ 63840 h 231738"/>
                <a:gd name="connsiteX26" fmla="*/ 76040 w 189142"/>
                <a:gd name="connsiteY26" fmla="*/ 99590 h 231738"/>
                <a:gd name="connsiteX27" fmla="*/ 82430 w 189142"/>
                <a:gd name="connsiteY27" fmla="*/ 105974 h 231738"/>
                <a:gd name="connsiteX28" fmla="*/ 118214 w 189142"/>
                <a:gd name="connsiteY28" fmla="*/ 105974 h 231738"/>
                <a:gd name="connsiteX29" fmla="*/ 117575 w 189142"/>
                <a:gd name="connsiteY29" fmla="*/ 218971 h 231738"/>
                <a:gd name="connsiteX30" fmla="*/ 88181 w 189142"/>
                <a:gd name="connsiteY30" fmla="*/ 92568 h 231738"/>
                <a:gd name="connsiteX31" fmla="*/ 88181 w 189142"/>
                <a:gd name="connsiteY31" fmla="*/ 71501 h 231738"/>
                <a:gd name="connsiteX32" fmla="*/ 108629 w 189142"/>
                <a:gd name="connsiteY32" fmla="*/ 92568 h 231738"/>
                <a:gd name="connsiteX33" fmla="*/ 88181 w 189142"/>
                <a:gd name="connsiteY33" fmla="*/ 92568 h 231738"/>
                <a:gd name="connsiteX34" fmla="*/ 176362 w 189142"/>
                <a:gd name="connsiteY34" fmla="*/ 168537 h 231738"/>
                <a:gd name="connsiteX35" fmla="*/ 130355 w 189142"/>
                <a:gd name="connsiteY35" fmla="*/ 168537 h 231738"/>
                <a:gd name="connsiteX36" fmla="*/ 130355 w 189142"/>
                <a:gd name="connsiteY36" fmla="*/ 99590 h 231738"/>
                <a:gd name="connsiteX37" fmla="*/ 129716 w 189142"/>
                <a:gd name="connsiteY37" fmla="*/ 96398 h 231738"/>
                <a:gd name="connsiteX38" fmla="*/ 128438 w 189142"/>
                <a:gd name="connsiteY38" fmla="*/ 94483 h 231738"/>
                <a:gd name="connsiteX39" fmla="*/ 87542 w 189142"/>
                <a:gd name="connsiteY39" fmla="*/ 53626 h 231738"/>
                <a:gd name="connsiteX40" fmla="*/ 83069 w 189142"/>
                <a:gd name="connsiteY40" fmla="*/ 51710 h 231738"/>
                <a:gd name="connsiteX41" fmla="*/ 71567 w 189142"/>
                <a:gd name="connsiteY41" fmla="*/ 51710 h 231738"/>
                <a:gd name="connsiteX42" fmla="*/ 71567 w 189142"/>
                <a:gd name="connsiteY42" fmla="*/ 14045 h 231738"/>
                <a:gd name="connsiteX43" fmla="*/ 134828 w 189142"/>
                <a:gd name="connsiteY43" fmla="*/ 14045 h 231738"/>
                <a:gd name="connsiteX44" fmla="*/ 134828 w 189142"/>
                <a:gd name="connsiteY44" fmla="*/ 49795 h 231738"/>
                <a:gd name="connsiteX45" fmla="*/ 141218 w 189142"/>
                <a:gd name="connsiteY45" fmla="*/ 56179 h 231738"/>
                <a:gd name="connsiteX46" fmla="*/ 177001 w 189142"/>
                <a:gd name="connsiteY46" fmla="*/ 56179 h 231738"/>
                <a:gd name="connsiteX47" fmla="*/ 176362 w 189142"/>
                <a:gd name="connsiteY47" fmla="*/ 168537 h 23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9142" h="231738">
                  <a:moveTo>
                    <a:pt x="187225" y="43411"/>
                  </a:moveTo>
                  <a:lnTo>
                    <a:pt x="146330" y="1915"/>
                  </a:lnTo>
                  <a:cubicBezTo>
                    <a:pt x="145052" y="638"/>
                    <a:pt x="143774" y="0"/>
                    <a:pt x="141857" y="0"/>
                  </a:cubicBezTo>
                  <a:lnTo>
                    <a:pt x="65177" y="0"/>
                  </a:lnTo>
                  <a:cubicBezTo>
                    <a:pt x="61343" y="0"/>
                    <a:pt x="58787" y="2554"/>
                    <a:pt x="58787" y="6384"/>
                  </a:cubicBezTo>
                  <a:lnTo>
                    <a:pt x="58787" y="50434"/>
                  </a:lnTo>
                  <a:lnTo>
                    <a:pt x="6390" y="50434"/>
                  </a:lnTo>
                  <a:cubicBezTo>
                    <a:pt x="2556" y="50434"/>
                    <a:pt x="0" y="52987"/>
                    <a:pt x="0" y="56818"/>
                  </a:cubicBezTo>
                  <a:lnTo>
                    <a:pt x="0" y="225355"/>
                  </a:lnTo>
                  <a:cubicBezTo>
                    <a:pt x="0" y="229185"/>
                    <a:pt x="2556" y="231739"/>
                    <a:pt x="6390" y="231739"/>
                  </a:cubicBezTo>
                  <a:lnTo>
                    <a:pt x="123965" y="231739"/>
                  </a:lnTo>
                  <a:cubicBezTo>
                    <a:pt x="127799" y="231739"/>
                    <a:pt x="130355" y="229185"/>
                    <a:pt x="130355" y="225355"/>
                  </a:cubicBezTo>
                  <a:lnTo>
                    <a:pt x="130355" y="181305"/>
                  </a:lnTo>
                  <a:lnTo>
                    <a:pt x="182752" y="181305"/>
                  </a:lnTo>
                  <a:cubicBezTo>
                    <a:pt x="186586" y="181305"/>
                    <a:pt x="189142" y="178752"/>
                    <a:pt x="189142" y="174921"/>
                  </a:cubicBezTo>
                  <a:lnTo>
                    <a:pt x="189142" y="49157"/>
                  </a:lnTo>
                  <a:cubicBezTo>
                    <a:pt x="189142" y="47880"/>
                    <a:pt x="189142" y="47242"/>
                    <a:pt x="188503" y="45965"/>
                  </a:cubicBezTo>
                  <a:cubicBezTo>
                    <a:pt x="188503" y="44688"/>
                    <a:pt x="187864" y="44050"/>
                    <a:pt x="187225" y="43411"/>
                  </a:cubicBezTo>
                  <a:close/>
                  <a:moveTo>
                    <a:pt x="147608" y="21706"/>
                  </a:moveTo>
                  <a:lnTo>
                    <a:pt x="168055" y="42773"/>
                  </a:lnTo>
                  <a:lnTo>
                    <a:pt x="147608" y="42773"/>
                  </a:lnTo>
                  <a:lnTo>
                    <a:pt x="147608" y="21706"/>
                  </a:lnTo>
                  <a:close/>
                  <a:moveTo>
                    <a:pt x="117575" y="218971"/>
                  </a:moveTo>
                  <a:lnTo>
                    <a:pt x="12780" y="218971"/>
                  </a:lnTo>
                  <a:lnTo>
                    <a:pt x="12780" y="63840"/>
                  </a:lnTo>
                  <a:lnTo>
                    <a:pt x="76040" y="63840"/>
                  </a:lnTo>
                  <a:lnTo>
                    <a:pt x="76040" y="99590"/>
                  </a:lnTo>
                  <a:cubicBezTo>
                    <a:pt x="76040" y="103420"/>
                    <a:pt x="78596" y="105974"/>
                    <a:pt x="82430" y="105974"/>
                  </a:cubicBezTo>
                  <a:lnTo>
                    <a:pt x="118214" y="105974"/>
                  </a:lnTo>
                  <a:lnTo>
                    <a:pt x="117575" y="218971"/>
                  </a:lnTo>
                  <a:close/>
                  <a:moveTo>
                    <a:pt x="88181" y="92568"/>
                  </a:moveTo>
                  <a:lnTo>
                    <a:pt x="88181" y="71501"/>
                  </a:lnTo>
                  <a:lnTo>
                    <a:pt x="108629" y="92568"/>
                  </a:lnTo>
                  <a:lnTo>
                    <a:pt x="88181" y="92568"/>
                  </a:lnTo>
                  <a:close/>
                  <a:moveTo>
                    <a:pt x="176362" y="168537"/>
                  </a:moveTo>
                  <a:lnTo>
                    <a:pt x="130355" y="168537"/>
                  </a:lnTo>
                  <a:lnTo>
                    <a:pt x="130355" y="99590"/>
                  </a:lnTo>
                  <a:cubicBezTo>
                    <a:pt x="130355" y="98313"/>
                    <a:pt x="130355" y="97037"/>
                    <a:pt x="129716" y="96398"/>
                  </a:cubicBezTo>
                  <a:cubicBezTo>
                    <a:pt x="129077" y="95760"/>
                    <a:pt x="129077" y="95121"/>
                    <a:pt x="128438" y="94483"/>
                  </a:cubicBezTo>
                  <a:lnTo>
                    <a:pt x="87542" y="53626"/>
                  </a:lnTo>
                  <a:cubicBezTo>
                    <a:pt x="86264" y="52349"/>
                    <a:pt x="84986" y="51710"/>
                    <a:pt x="83069" y="51710"/>
                  </a:cubicBezTo>
                  <a:lnTo>
                    <a:pt x="71567" y="51710"/>
                  </a:lnTo>
                  <a:lnTo>
                    <a:pt x="71567" y="14045"/>
                  </a:lnTo>
                  <a:lnTo>
                    <a:pt x="134828" y="14045"/>
                  </a:lnTo>
                  <a:lnTo>
                    <a:pt x="134828" y="49795"/>
                  </a:lnTo>
                  <a:cubicBezTo>
                    <a:pt x="134828" y="53626"/>
                    <a:pt x="137384" y="56179"/>
                    <a:pt x="141218" y="56179"/>
                  </a:cubicBezTo>
                  <a:lnTo>
                    <a:pt x="177001" y="56179"/>
                  </a:lnTo>
                  <a:lnTo>
                    <a:pt x="176362" y="168537"/>
                  </a:lnTo>
                  <a:close/>
                </a:path>
              </a:pathLst>
            </a:custGeom>
            <a:solidFill>
              <a:schemeClr val="bg1"/>
            </a:solidFill>
            <a:ln w="6390" cap="flat">
              <a:noFill/>
              <a:prstDash val="solid"/>
              <a:miter/>
            </a:ln>
          </p:spPr>
          <p:txBody>
            <a:bodyPr rtlCol="0" anchor="ctr"/>
            <a:lstStyle/>
            <a:p>
              <a:endParaRPr lang="en-US"/>
            </a:p>
          </p:txBody>
        </p:sp>
        <p:sp>
          <p:nvSpPr>
            <p:cNvPr id="1199" name="Rectangle: Rounded Corners 1198">
              <a:extLst>
                <a:ext uri="{FF2B5EF4-FFF2-40B4-BE49-F238E27FC236}">
                  <a16:creationId xmlns:a16="http://schemas.microsoft.com/office/drawing/2014/main" id="{18A9A7B3-6A4E-22DE-F2FB-20F8E3835E00}"/>
                </a:ext>
              </a:extLst>
            </p:cNvPr>
            <p:cNvSpPr/>
            <p:nvPr/>
          </p:nvSpPr>
          <p:spPr>
            <a:xfrm>
              <a:off x="1976260" y="5229634"/>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0" name="Rectangle 1199">
              <a:extLst>
                <a:ext uri="{FF2B5EF4-FFF2-40B4-BE49-F238E27FC236}">
                  <a16:creationId xmlns:a16="http://schemas.microsoft.com/office/drawing/2014/main" id="{C4538B15-9F30-107A-5741-3DF1637D608A}"/>
                </a:ext>
              </a:extLst>
            </p:cNvPr>
            <p:cNvSpPr/>
            <p:nvPr/>
          </p:nvSpPr>
          <p:spPr>
            <a:xfrm>
              <a:off x="2059672" y="5337285"/>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Job &amp; Automation Monitoring</a:t>
              </a:r>
            </a:p>
          </p:txBody>
        </p:sp>
        <p:sp>
          <p:nvSpPr>
            <p:cNvPr id="1201" name="Rectangle: Rounded Corners 1200">
              <a:extLst>
                <a:ext uri="{FF2B5EF4-FFF2-40B4-BE49-F238E27FC236}">
                  <a16:creationId xmlns:a16="http://schemas.microsoft.com/office/drawing/2014/main" id="{8D2E77C3-540D-6917-1E03-52786BEE0EFD}"/>
                </a:ext>
              </a:extLst>
            </p:cNvPr>
            <p:cNvSpPr/>
            <p:nvPr/>
          </p:nvSpPr>
          <p:spPr>
            <a:xfrm>
              <a:off x="3262854" y="5229634"/>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2" name="Rectangle 1201">
              <a:extLst>
                <a:ext uri="{FF2B5EF4-FFF2-40B4-BE49-F238E27FC236}">
                  <a16:creationId xmlns:a16="http://schemas.microsoft.com/office/drawing/2014/main" id="{3838867A-5CF6-7AA6-A061-D611E34B9201}"/>
                </a:ext>
              </a:extLst>
            </p:cNvPr>
            <p:cNvSpPr/>
            <p:nvPr/>
          </p:nvSpPr>
          <p:spPr>
            <a:xfrm>
              <a:off x="3346266" y="5337285"/>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Real User Monitoring</a:t>
              </a:r>
            </a:p>
          </p:txBody>
        </p:sp>
        <p:sp>
          <p:nvSpPr>
            <p:cNvPr id="1203" name="Rectangle: Rounded Corners 1202">
              <a:extLst>
                <a:ext uri="{FF2B5EF4-FFF2-40B4-BE49-F238E27FC236}">
                  <a16:creationId xmlns:a16="http://schemas.microsoft.com/office/drawing/2014/main" id="{9C62F5F9-B821-A8AE-81DD-781608F1C164}"/>
                </a:ext>
              </a:extLst>
            </p:cNvPr>
            <p:cNvSpPr/>
            <p:nvPr/>
          </p:nvSpPr>
          <p:spPr>
            <a:xfrm>
              <a:off x="4549448" y="5229634"/>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4" name="Rectangle 1203">
              <a:extLst>
                <a:ext uri="{FF2B5EF4-FFF2-40B4-BE49-F238E27FC236}">
                  <a16:creationId xmlns:a16="http://schemas.microsoft.com/office/drawing/2014/main" id="{E334B760-5D43-4C48-B1F3-410D29E15DC9}"/>
                </a:ext>
              </a:extLst>
            </p:cNvPr>
            <p:cNvSpPr/>
            <p:nvPr/>
          </p:nvSpPr>
          <p:spPr>
            <a:xfrm>
              <a:off x="4632860" y="5337285"/>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Health Monitoring</a:t>
              </a:r>
            </a:p>
          </p:txBody>
        </p:sp>
        <p:sp>
          <p:nvSpPr>
            <p:cNvPr id="1205" name="Rectangle: Rounded Corners 1204">
              <a:extLst>
                <a:ext uri="{FF2B5EF4-FFF2-40B4-BE49-F238E27FC236}">
                  <a16:creationId xmlns:a16="http://schemas.microsoft.com/office/drawing/2014/main" id="{8AD5BB5A-355B-DBEE-55BA-A0DAC6346E96}"/>
                </a:ext>
              </a:extLst>
            </p:cNvPr>
            <p:cNvSpPr/>
            <p:nvPr/>
          </p:nvSpPr>
          <p:spPr>
            <a:xfrm>
              <a:off x="5837781" y="5229634"/>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6" name="Rectangle 1205">
              <a:extLst>
                <a:ext uri="{FF2B5EF4-FFF2-40B4-BE49-F238E27FC236}">
                  <a16:creationId xmlns:a16="http://schemas.microsoft.com/office/drawing/2014/main" id="{36B64FBC-FBC9-C9EB-7634-82C90115B362}"/>
                </a:ext>
              </a:extLst>
            </p:cNvPr>
            <p:cNvSpPr/>
            <p:nvPr/>
          </p:nvSpPr>
          <p:spPr>
            <a:xfrm>
              <a:off x="5921193" y="5337285"/>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000" b="1">
                  <a:solidFill>
                    <a:schemeClr val="bg1"/>
                  </a:solidFill>
                  <a:latin typeface="+mj-lt"/>
                  <a:ea typeface="Sans Serif Collection" panose="020B0502040504020204" pitchFamily="34" charset="0"/>
                  <a:cs typeface="Sans Serif Collection" panose="020B0502040504020204" pitchFamily="34" charset="0"/>
                </a:rPr>
                <a:t>Evaluation</a:t>
              </a:r>
            </a:p>
          </p:txBody>
        </p:sp>
        <p:grpSp>
          <p:nvGrpSpPr>
            <p:cNvPr id="1207" name="Graphic 4">
              <a:extLst>
                <a:ext uri="{FF2B5EF4-FFF2-40B4-BE49-F238E27FC236}">
                  <a16:creationId xmlns:a16="http://schemas.microsoft.com/office/drawing/2014/main" id="{4B3F0A63-F724-8A11-55BF-B6C4666F27C4}"/>
                </a:ext>
              </a:extLst>
            </p:cNvPr>
            <p:cNvGrpSpPr/>
            <p:nvPr/>
          </p:nvGrpSpPr>
          <p:grpSpPr>
            <a:xfrm flipH="1">
              <a:off x="2059711" y="5994024"/>
              <a:ext cx="321923" cy="267687"/>
              <a:chOff x="1579592" y="3424371"/>
              <a:chExt cx="232052" cy="192955"/>
            </a:xfrm>
            <a:solidFill>
              <a:schemeClr val="bg1"/>
            </a:solidFill>
          </p:grpSpPr>
          <p:sp>
            <p:nvSpPr>
              <p:cNvPr id="1208" name="Graphic 4">
                <a:extLst>
                  <a:ext uri="{FF2B5EF4-FFF2-40B4-BE49-F238E27FC236}">
                    <a16:creationId xmlns:a16="http://schemas.microsoft.com/office/drawing/2014/main" id="{63E008B7-4CA2-C2F6-3B03-EDA66CF89828}"/>
                  </a:ext>
                </a:extLst>
              </p:cNvPr>
              <p:cNvSpPr/>
              <p:nvPr/>
            </p:nvSpPr>
            <p:spPr>
              <a:xfrm>
                <a:off x="1703557" y="3460919"/>
                <a:ext cx="17891" cy="17875"/>
              </a:xfrm>
              <a:custGeom>
                <a:avLst/>
                <a:gdLst>
                  <a:gd name="connsiteX0" fmla="*/ 17892 w 17891"/>
                  <a:gd name="connsiteY0" fmla="*/ 8938 h 17875"/>
                  <a:gd name="connsiteX1" fmla="*/ 8946 w 17891"/>
                  <a:gd name="connsiteY1" fmla="*/ 0 h 17875"/>
                  <a:gd name="connsiteX2" fmla="*/ 0 w 17891"/>
                  <a:gd name="connsiteY2" fmla="*/ 8938 h 17875"/>
                  <a:gd name="connsiteX3" fmla="*/ 8946 w 17891"/>
                  <a:gd name="connsiteY3" fmla="*/ 17875 h 17875"/>
                  <a:gd name="connsiteX4" fmla="*/ 8946 w 17891"/>
                  <a:gd name="connsiteY4" fmla="*/ 17875 h 17875"/>
                  <a:gd name="connsiteX5" fmla="*/ 17892 w 17891"/>
                  <a:gd name="connsiteY5" fmla="*/ 8938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17892" y="8938"/>
                    </a:moveTo>
                    <a:cubicBezTo>
                      <a:pt x="17892" y="3830"/>
                      <a:pt x="14058" y="0"/>
                      <a:pt x="8946" y="0"/>
                    </a:cubicBezTo>
                    <a:cubicBezTo>
                      <a:pt x="3834" y="0"/>
                      <a:pt x="0" y="3830"/>
                      <a:pt x="0" y="8938"/>
                    </a:cubicBezTo>
                    <a:cubicBezTo>
                      <a:pt x="0" y="14045"/>
                      <a:pt x="3834" y="17875"/>
                      <a:pt x="8946" y="17875"/>
                    </a:cubicBezTo>
                    <a:cubicBezTo>
                      <a:pt x="8946" y="17875"/>
                      <a:pt x="8946" y="17875"/>
                      <a:pt x="8946" y="17875"/>
                    </a:cubicBezTo>
                    <a:cubicBezTo>
                      <a:pt x="14058" y="17875"/>
                      <a:pt x="17892" y="14045"/>
                      <a:pt x="17892" y="8938"/>
                    </a:cubicBezTo>
                    <a:close/>
                  </a:path>
                </a:pathLst>
              </a:custGeom>
              <a:grpFill/>
              <a:ln w="6390" cap="flat">
                <a:noFill/>
                <a:prstDash val="solid"/>
                <a:miter/>
              </a:ln>
            </p:spPr>
            <p:txBody>
              <a:bodyPr rtlCol="0" anchor="ctr"/>
              <a:lstStyle/>
              <a:p>
                <a:endParaRPr lang="en-US"/>
              </a:p>
            </p:txBody>
          </p:sp>
          <p:sp>
            <p:nvSpPr>
              <p:cNvPr id="1209" name="Graphic 4">
                <a:extLst>
                  <a:ext uri="{FF2B5EF4-FFF2-40B4-BE49-F238E27FC236}">
                    <a16:creationId xmlns:a16="http://schemas.microsoft.com/office/drawing/2014/main" id="{553F11F4-15D9-3D44-F204-305B37E56469}"/>
                  </a:ext>
                </a:extLst>
              </p:cNvPr>
              <p:cNvSpPr/>
              <p:nvPr/>
            </p:nvSpPr>
            <p:spPr>
              <a:xfrm>
                <a:off x="1579592" y="3424371"/>
                <a:ext cx="232052" cy="192955"/>
              </a:xfrm>
              <a:custGeom>
                <a:avLst/>
                <a:gdLst>
                  <a:gd name="connsiteX0" fmla="*/ 226204 w 232052"/>
                  <a:gd name="connsiteY0" fmla="*/ 101665 h 192955"/>
                  <a:gd name="connsiteX1" fmla="*/ 219814 w 232052"/>
                  <a:gd name="connsiteY1" fmla="*/ 108049 h 192955"/>
                  <a:gd name="connsiteX2" fmla="*/ 219814 w 232052"/>
                  <a:gd name="connsiteY2" fmla="*/ 141246 h 192955"/>
                  <a:gd name="connsiteX3" fmla="*/ 146330 w 232052"/>
                  <a:gd name="connsiteY3" fmla="*/ 141246 h 192955"/>
                  <a:gd name="connsiteX4" fmla="*/ 146330 w 232052"/>
                  <a:gd name="connsiteY4" fmla="*/ 87620 h 192955"/>
                  <a:gd name="connsiteX5" fmla="*/ 184030 w 232052"/>
                  <a:gd name="connsiteY5" fmla="*/ 49954 h 192955"/>
                  <a:gd name="connsiteX6" fmla="*/ 185947 w 232052"/>
                  <a:gd name="connsiteY6" fmla="*/ 44847 h 192955"/>
                  <a:gd name="connsiteX7" fmla="*/ 183391 w 232052"/>
                  <a:gd name="connsiteY7" fmla="*/ 40378 h 192955"/>
                  <a:gd name="connsiteX8" fmla="*/ 136106 w 232052"/>
                  <a:gd name="connsiteY8" fmla="*/ 1436 h 192955"/>
                  <a:gd name="connsiteX9" fmla="*/ 127799 w 232052"/>
                  <a:gd name="connsiteY9" fmla="*/ 1436 h 192955"/>
                  <a:gd name="connsiteX10" fmla="*/ 1917 w 232052"/>
                  <a:gd name="connsiteY10" fmla="*/ 119540 h 192955"/>
                  <a:gd name="connsiteX11" fmla="*/ 0 w 232052"/>
                  <a:gd name="connsiteY11" fmla="*/ 125286 h 192955"/>
                  <a:gd name="connsiteX12" fmla="*/ 3195 w 232052"/>
                  <a:gd name="connsiteY12" fmla="*/ 130393 h 192955"/>
                  <a:gd name="connsiteX13" fmla="*/ 65816 w 232052"/>
                  <a:gd name="connsiteY13" fmla="*/ 161674 h 192955"/>
                  <a:gd name="connsiteX14" fmla="*/ 68372 w 232052"/>
                  <a:gd name="connsiteY14" fmla="*/ 162313 h 192955"/>
                  <a:gd name="connsiteX15" fmla="*/ 72845 w 232052"/>
                  <a:gd name="connsiteY15" fmla="*/ 160398 h 192955"/>
                  <a:gd name="connsiteX16" fmla="*/ 132911 w 232052"/>
                  <a:gd name="connsiteY16" fmla="*/ 100388 h 192955"/>
                  <a:gd name="connsiteX17" fmla="*/ 132911 w 232052"/>
                  <a:gd name="connsiteY17" fmla="*/ 147630 h 192955"/>
                  <a:gd name="connsiteX18" fmla="*/ 139301 w 232052"/>
                  <a:gd name="connsiteY18" fmla="*/ 154014 h 192955"/>
                  <a:gd name="connsiteX19" fmla="*/ 219175 w 232052"/>
                  <a:gd name="connsiteY19" fmla="*/ 154014 h 192955"/>
                  <a:gd name="connsiteX20" fmla="*/ 219175 w 232052"/>
                  <a:gd name="connsiteY20" fmla="*/ 186572 h 192955"/>
                  <a:gd name="connsiteX21" fmla="*/ 225565 w 232052"/>
                  <a:gd name="connsiteY21" fmla="*/ 192956 h 192955"/>
                  <a:gd name="connsiteX22" fmla="*/ 231955 w 232052"/>
                  <a:gd name="connsiteY22" fmla="*/ 186572 h 192955"/>
                  <a:gd name="connsiteX23" fmla="*/ 231955 w 232052"/>
                  <a:gd name="connsiteY23" fmla="*/ 108049 h 192955"/>
                  <a:gd name="connsiteX24" fmla="*/ 226204 w 232052"/>
                  <a:gd name="connsiteY24" fmla="*/ 101665 h 192955"/>
                  <a:gd name="connsiteX25" fmla="*/ 67733 w 232052"/>
                  <a:gd name="connsiteY25" fmla="*/ 147630 h 192955"/>
                  <a:gd name="connsiteX26" fmla="*/ 17253 w 232052"/>
                  <a:gd name="connsiteY26" fmla="*/ 122094 h 192955"/>
                  <a:gd name="connsiteX27" fmla="*/ 132272 w 232052"/>
                  <a:gd name="connsiteY27" fmla="*/ 14204 h 192955"/>
                  <a:gd name="connsiteX28" fmla="*/ 169972 w 232052"/>
                  <a:gd name="connsiteY28" fmla="*/ 45486 h 192955"/>
                  <a:gd name="connsiteX29" fmla="*/ 135467 w 232052"/>
                  <a:gd name="connsiteY29" fmla="*/ 79959 h 192955"/>
                  <a:gd name="connsiteX30" fmla="*/ 135467 w 232052"/>
                  <a:gd name="connsiteY30" fmla="*/ 79959 h 192955"/>
                  <a:gd name="connsiteX31" fmla="*/ 67733 w 232052"/>
                  <a:gd name="connsiteY31" fmla="*/ 147630 h 19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052" h="192955">
                    <a:moveTo>
                      <a:pt x="226204" y="101665"/>
                    </a:moveTo>
                    <a:cubicBezTo>
                      <a:pt x="222370" y="101665"/>
                      <a:pt x="219814" y="104218"/>
                      <a:pt x="219814" y="108049"/>
                    </a:cubicBezTo>
                    <a:lnTo>
                      <a:pt x="219814" y="141246"/>
                    </a:lnTo>
                    <a:lnTo>
                      <a:pt x="146330" y="141246"/>
                    </a:lnTo>
                    <a:lnTo>
                      <a:pt x="146330" y="87620"/>
                    </a:lnTo>
                    <a:lnTo>
                      <a:pt x="184030" y="49954"/>
                    </a:lnTo>
                    <a:cubicBezTo>
                      <a:pt x="185308" y="48678"/>
                      <a:pt x="185947" y="46762"/>
                      <a:pt x="185947" y="44847"/>
                    </a:cubicBezTo>
                    <a:cubicBezTo>
                      <a:pt x="185947" y="42932"/>
                      <a:pt x="185308" y="41655"/>
                      <a:pt x="183391" y="40378"/>
                    </a:cubicBezTo>
                    <a:lnTo>
                      <a:pt x="136106" y="1436"/>
                    </a:lnTo>
                    <a:cubicBezTo>
                      <a:pt x="133550" y="-479"/>
                      <a:pt x="130355" y="-479"/>
                      <a:pt x="127799" y="1436"/>
                    </a:cubicBezTo>
                    <a:lnTo>
                      <a:pt x="1917" y="119540"/>
                    </a:lnTo>
                    <a:cubicBezTo>
                      <a:pt x="639" y="120817"/>
                      <a:pt x="0" y="122732"/>
                      <a:pt x="0" y="125286"/>
                    </a:cubicBezTo>
                    <a:cubicBezTo>
                      <a:pt x="0" y="127201"/>
                      <a:pt x="1278" y="129116"/>
                      <a:pt x="3195" y="130393"/>
                    </a:cubicBezTo>
                    <a:lnTo>
                      <a:pt x="65816" y="161674"/>
                    </a:lnTo>
                    <a:cubicBezTo>
                      <a:pt x="66455" y="162313"/>
                      <a:pt x="67733" y="162313"/>
                      <a:pt x="68372" y="162313"/>
                    </a:cubicBezTo>
                    <a:cubicBezTo>
                      <a:pt x="70289" y="162313"/>
                      <a:pt x="71567" y="161674"/>
                      <a:pt x="72845" y="160398"/>
                    </a:cubicBezTo>
                    <a:lnTo>
                      <a:pt x="132911" y="100388"/>
                    </a:lnTo>
                    <a:lnTo>
                      <a:pt x="132911" y="147630"/>
                    </a:lnTo>
                    <a:cubicBezTo>
                      <a:pt x="132911" y="151460"/>
                      <a:pt x="135467" y="154014"/>
                      <a:pt x="139301" y="154014"/>
                    </a:cubicBezTo>
                    <a:lnTo>
                      <a:pt x="219175" y="154014"/>
                    </a:lnTo>
                    <a:lnTo>
                      <a:pt x="219175" y="186572"/>
                    </a:lnTo>
                    <a:cubicBezTo>
                      <a:pt x="219175" y="190402"/>
                      <a:pt x="221731" y="192956"/>
                      <a:pt x="225565" y="192956"/>
                    </a:cubicBezTo>
                    <a:cubicBezTo>
                      <a:pt x="229399" y="192956"/>
                      <a:pt x="231955" y="190402"/>
                      <a:pt x="231955" y="186572"/>
                    </a:cubicBezTo>
                    <a:lnTo>
                      <a:pt x="231955" y="108049"/>
                    </a:lnTo>
                    <a:cubicBezTo>
                      <a:pt x="232594" y="104857"/>
                      <a:pt x="230038" y="101665"/>
                      <a:pt x="226204" y="101665"/>
                    </a:cubicBezTo>
                    <a:close/>
                    <a:moveTo>
                      <a:pt x="67733" y="147630"/>
                    </a:moveTo>
                    <a:lnTo>
                      <a:pt x="17253" y="122094"/>
                    </a:lnTo>
                    <a:lnTo>
                      <a:pt x="132272" y="14204"/>
                    </a:lnTo>
                    <a:lnTo>
                      <a:pt x="169972" y="45486"/>
                    </a:lnTo>
                    <a:lnTo>
                      <a:pt x="135467" y="79959"/>
                    </a:lnTo>
                    <a:lnTo>
                      <a:pt x="135467" y="79959"/>
                    </a:lnTo>
                    <a:lnTo>
                      <a:pt x="67733" y="147630"/>
                    </a:lnTo>
                    <a:close/>
                  </a:path>
                </a:pathLst>
              </a:custGeom>
              <a:grpFill/>
              <a:ln w="6390" cap="flat">
                <a:noFill/>
                <a:prstDash val="solid"/>
                <a:miter/>
              </a:ln>
            </p:spPr>
            <p:txBody>
              <a:bodyPr rtlCol="0" anchor="ctr"/>
              <a:lstStyle/>
              <a:p>
                <a:endParaRPr lang="en-US"/>
              </a:p>
            </p:txBody>
          </p:sp>
        </p:grpSp>
        <p:grpSp>
          <p:nvGrpSpPr>
            <p:cNvPr id="1210" name="Graphic 4">
              <a:extLst>
                <a:ext uri="{FF2B5EF4-FFF2-40B4-BE49-F238E27FC236}">
                  <a16:creationId xmlns:a16="http://schemas.microsoft.com/office/drawing/2014/main" id="{A3915AE8-D6F0-1025-394C-D483B0CB8524}"/>
                </a:ext>
              </a:extLst>
            </p:cNvPr>
            <p:cNvGrpSpPr/>
            <p:nvPr/>
          </p:nvGrpSpPr>
          <p:grpSpPr>
            <a:xfrm>
              <a:off x="3346266" y="6018504"/>
              <a:ext cx="298393" cy="218799"/>
              <a:chOff x="3684437" y="1997072"/>
              <a:chExt cx="208951" cy="153215"/>
            </a:xfrm>
            <a:solidFill>
              <a:schemeClr val="bg1"/>
            </a:solidFill>
          </p:grpSpPr>
          <p:sp>
            <p:nvSpPr>
              <p:cNvPr id="1211" name="Graphic 4">
                <a:extLst>
                  <a:ext uri="{FF2B5EF4-FFF2-40B4-BE49-F238E27FC236}">
                    <a16:creationId xmlns:a16="http://schemas.microsoft.com/office/drawing/2014/main" id="{4B7FC500-1858-EE04-B4D5-5E0CFDA03775}"/>
                  </a:ext>
                </a:extLst>
              </p:cNvPr>
              <p:cNvSpPr/>
              <p:nvPr/>
            </p:nvSpPr>
            <p:spPr>
              <a:xfrm>
                <a:off x="3684437" y="1997710"/>
                <a:ext cx="208951" cy="152577"/>
              </a:xfrm>
              <a:custGeom>
                <a:avLst/>
                <a:gdLst>
                  <a:gd name="connsiteX0" fmla="*/ 202561 w 208951"/>
                  <a:gd name="connsiteY0" fmla="*/ 139809 h 152577"/>
                  <a:gd name="connsiteX1" fmla="*/ 12780 w 208951"/>
                  <a:gd name="connsiteY1" fmla="*/ 139809 h 152577"/>
                  <a:gd name="connsiteX2" fmla="*/ 12780 w 208951"/>
                  <a:gd name="connsiteY2" fmla="*/ 6384 h 152577"/>
                  <a:gd name="connsiteX3" fmla="*/ 6390 w 208951"/>
                  <a:gd name="connsiteY3" fmla="*/ 0 h 152577"/>
                  <a:gd name="connsiteX4" fmla="*/ 0 w 208951"/>
                  <a:gd name="connsiteY4" fmla="*/ 6384 h 152577"/>
                  <a:gd name="connsiteX5" fmla="*/ 0 w 208951"/>
                  <a:gd name="connsiteY5" fmla="*/ 146193 h 152577"/>
                  <a:gd name="connsiteX6" fmla="*/ 6390 w 208951"/>
                  <a:gd name="connsiteY6" fmla="*/ 152577 h 152577"/>
                  <a:gd name="connsiteX7" fmla="*/ 202561 w 208951"/>
                  <a:gd name="connsiteY7" fmla="*/ 152577 h 152577"/>
                  <a:gd name="connsiteX8" fmla="*/ 208951 w 208951"/>
                  <a:gd name="connsiteY8" fmla="*/ 146193 h 152577"/>
                  <a:gd name="connsiteX9" fmla="*/ 202561 w 208951"/>
                  <a:gd name="connsiteY9" fmla="*/ 139809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1" h="152577">
                    <a:moveTo>
                      <a:pt x="202561" y="139809"/>
                    </a:moveTo>
                    <a:lnTo>
                      <a:pt x="12780" y="139809"/>
                    </a:lnTo>
                    <a:lnTo>
                      <a:pt x="12780" y="6384"/>
                    </a:lnTo>
                    <a:cubicBezTo>
                      <a:pt x="12780" y="2554"/>
                      <a:pt x="10224" y="0"/>
                      <a:pt x="6390" y="0"/>
                    </a:cubicBezTo>
                    <a:cubicBezTo>
                      <a:pt x="2556" y="0"/>
                      <a:pt x="0" y="2554"/>
                      <a:pt x="0" y="6384"/>
                    </a:cubicBezTo>
                    <a:lnTo>
                      <a:pt x="0" y="146193"/>
                    </a:lnTo>
                    <a:cubicBezTo>
                      <a:pt x="0" y="150024"/>
                      <a:pt x="2556" y="152577"/>
                      <a:pt x="6390" y="152577"/>
                    </a:cubicBezTo>
                    <a:lnTo>
                      <a:pt x="202561" y="152577"/>
                    </a:lnTo>
                    <a:cubicBezTo>
                      <a:pt x="206395" y="152577"/>
                      <a:pt x="208951" y="150024"/>
                      <a:pt x="208951" y="146193"/>
                    </a:cubicBezTo>
                    <a:cubicBezTo>
                      <a:pt x="208951" y="142363"/>
                      <a:pt x="206395" y="139809"/>
                      <a:pt x="202561" y="139809"/>
                    </a:cubicBezTo>
                    <a:close/>
                  </a:path>
                </a:pathLst>
              </a:custGeom>
              <a:grpFill/>
              <a:ln w="6390" cap="flat">
                <a:noFill/>
                <a:prstDash val="solid"/>
                <a:miter/>
              </a:ln>
            </p:spPr>
            <p:txBody>
              <a:bodyPr rtlCol="0" anchor="ctr"/>
              <a:lstStyle/>
              <a:p>
                <a:endParaRPr lang="en-US"/>
              </a:p>
            </p:txBody>
          </p:sp>
          <p:sp>
            <p:nvSpPr>
              <p:cNvPr id="1212" name="Graphic 4">
                <a:extLst>
                  <a:ext uri="{FF2B5EF4-FFF2-40B4-BE49-F238E27FC236}">
                    <a16:creationId xmlns:a16="http://schemas.microsoft.com/office/drawing/2014/main" id="{A00DAC21-6666-5457-C85D-A0306B227C49}"/>
                  </a:ext>
                </a:extLst>
              </p:cNvPr>
              <p:cNvSpPr/>
              <p:nvPr/>
            </p:nvSpPr>
            <p:spPr>
              <a:xfrm>
                <a:off x="3712553" y="2081340"/>
                <a:ext cx="12779" cy="40857"/>
              </a:xfrm>
              <a:custGeom>
                <a:avLst/>
                <a:gdLst>
                  <a:gd name="connsiteX0" fmla="*/ 6390 w 12779"/>
                  <a:gd name="connsiteY0" fmla="*/ 40857 h 40857"/>
                  <a:gd name="connsiteX1" fmla="*/ 12780 w 12779"/>
                  <a:gd name="connsiteY1" fmla="*/ 34473 h 40857"/>
                  <a:gd name="connsiteX2" fmla="*/ 12780 w 12779"/>
                  <a:gd name="connsiteY2" fmla="*/ 6384 h 40857"/>
                  <a:gd name="connsiteX3" fmla="*/ 6390 w 12779"/>
                  <a:gd name="connsiteY3" fmla="*/ 0 h 40857"/>
                  <a:gd name="connsiteX4" fmla="*/ 0 w 12779"/>
                  <a:gd name="connsiteY4" fmla="*/ 6384 h 40857"/>
                  <a:gd name="connsiteX5" fmla="*/ 0 w 12779"/>
                  <a:gd name="connsiteY5" fmla="*/ 34473 h 40857"/>
                  <a:gd name="connsiteX6" fmla="*/ 6390 w 12779"/>
                  <a:gd name="connsiteY6" fmla="*/ 40857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0857">
                    <a:moveTo>
                      <a:pt x="6390" y="40857"/>
                    </a:moveTo>
                    <a:cubicBezTo>
                      <a:pt x="10224" y="40857"/>
                      <a:pt x="12780" y="38304"/>
                      <a:pt x="12780" y="34473"/>
                    </a:cubicBezTo>
                    <a:lnTo>
                      <a:pt x="12780" y="6384"/>
                    </a:lnTo>
                    <a:cubicBezTo>
                      <a:pt x="12780" y="2554"/>
                      <a:pt x="10224" y="0"/>
                      <a:pt x="6390" y="0"/>
                    </a:cubicBezTo>
                    <a:cubicBezTo>
                      <a:pt x="2556" y="0"/>
                      <a:pt x="0" y="2554"/>
                      <a:pt x="0" y="6384"/>
                    </a:cubicBezTo>
                    <a:lnTo>
                      <a:pt x="0" y="34473"/>
                    </a:lnTo>
                    <a:cubicBezTo>
                      <a:pt x="0" y="38304"/>
                      <a:pt x="2556" y="40857"/>
                      <a:pt x="6390" y="40857"/>
                    </a:cubicBezTo>
                    <a:close/>
                  </a:path>
                </a:pathLst>
              </a:custGeom>
              <a:grpFill/>
              <a:ln w="6390" cap="flat">
                <a:noFill/>
                <a:prstDash val="solid"/>
                <a:miter/>
              </a:ln>
            </p:spPr>
            <p:txBody>
              <a:bodyPr rtlCol="0" anchor="ctr"/>
              <a:lstStyle/>
              <a:p>
                <a:endParaRPr lang="en-US"/>
              </a:p>
            </p:txBody>
          </p:sp>
          <p:sp>
            <p:nvSpPr>
              <p:cNvPr id="1213" name="Graphic 4">
                <a:extLst>
                  <a:ext uri="{FF2B5EF4-FFF2-40B4-BE49-F238E27FC236}">
                    <a16:creationId xmlns:a16="http://schemas.microsoft.com/office/drawing/2014/main" id="{D5CCDE2A-384D-1668-529E-C6617A7B4AC5}"/>
                  </a:ext>
                </a:extLst>
              </p:cNvPr>
              <p:cNvSpPr/>
              <p:nvPr/>
            </p:nvSpPr>
            <p:spPr>
              <a:xfrm>
                <a:off x="3740669" y="2060273"/>
                <a:ext cx="12779" cy="61924"/>
              </a:xfrm>
              <a:custGeom>
                <a:avLst/>
                <a:gdLst>
                  <a:gd name="connsiteX0" fmla="*/ 6390 w 12779"/>
                  <a:gd name="connsiteY0" fmla="*/ 61925 h 61924"/>
                  <a:gd name="connsiteX1" fmla="*/ 12780 w 12779"/>
                  <a:gd name="connsiteY1" fmla="*/ 55541 h 61924"/>
                  <a:gd name="connsiteX2" fmla="*/ 12780 w 12779"/>
                  <a:gd name="connsiteY2" fmla="*/ 6384 h 61924"/>
                  <a:gd name="connsiteX3" fmla="*/ 6390 w 12779"/>
                  <a:gd name="connsiteY3" fmla="*/ 0 h 61924"/>
                  <a:gd name="connsiteX4" fmla="*/ 0 w 12779"/>
                  <a:gd name="connsiteY4" fmla="*/ 6384 h 61924"/>
                  <a:gd name="connsiteX5" fmla="*/ 0 w 12779"/>
                  <a:gd name="connsiteY5" fmla="*/ 55541 h 61924"/>
                  <a:gd name="connsiteX6" fmla="*/ 6390 w 12779"/>
                  <a:gd name="connsiteY6" fmla="*/ 61925 h 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1924">
                    <a:moveTo>
                      <a:pt x="6390" y="61925"/>
                    </a:moveTo>
                    <a:cubicBezTo>
                      <a:pt x="10224" y="61925"/>
                      <a:pt x="12780" y="59371"/>
                      <a:pt x="12780" y="55541"/>
                    </a:cubicBezTo>
                    <a:lnTo>
                      <a:pt x="12780" y="6384"/>
                    </a:lnTo>
                    <a:cubicBezTo>
                      <a:pt x="12780" y="2554"/>
                      <a:pt x="10224" y="0"/>
                      <a:pt x="6390" y="0"/>
                    </a:cubicBezTo>
                    <a:cubicBezTo>
                      <a:pt x="2556" y="0"/>
                      <a:pt x="0" y="2554"/>
                      <a:pt x="0" y="6384"/>
                    </a:cubicBezTo>
                    <a:lnTo>
                      <a:pt x="0" y="55541"/>
                    </a:lnTo>
                    <a:cubicBezTo>
                      <a:pt x="0" y="59371"/>
                      <a:pt x="2556" y="61925"/>
                      <a:pt x="6390" y="61925"/>
                    </a:cubicBezTo>
                    <a:close/>
                  </a:path>
                </a:pathLst>
              </a:custGeom>
              <a:grpFill/>
              <a:ln w="6390" cap="flat">
                <a:noFill/>
                <a:prstDash val="solid"/>
                <a:miter/>
              </a:ln>
            </p:spPr>
            <p:txBody>
              <a:bodyPr rtlCol="0" anchor="ctr"/>
              <a:lstStyle/>
              <a:p>
                <a:endParaRPr lang="en-US"/>
              </a:p>
            </p:txBody>
          </p:sp>
          <p:sp>
            <p:nvSpPr>
              <p:cNvPr id="1214" name="Graphic 4">
                <a:extLst>
                  <a:ext uri="{FF2B5EF4-FFF2-40B4-BE49-F238E27FC236}">
                    <a16:creationId xmlns:a16="http://schemas.microsoft.com/office/drawing/2014/main" id="{4271D6C3-3C06-3699-205A-4318318C7690}"/>
                  </a:ext>
                </a:extLst>
              </p:cNvPr>
              <p:cNvSpPr/>
              <p:nvPr/>
            </p:nvSpPr>
            <p:spPr>
              <a:xfrm>
                <a:off x="3768784" y="1997072"/>
                <a:ext cx="12779" cy="125125"/>
              </a:xfrm>
              <a:custGeom>
                <a:avLst/>
                <a:gdLst>
                  <a:gd name="connsiteX0" fmla="*/ 6390 w 12779"/>
                  <a:gd name="connsiteY0" fmla="*/ 125126 h 125125"/>
                  <a:gd name="connsiteX1" fmla="*/ 12780 w 12779"/>
                  <a:gd name="connsiteY1" fmla="*/ 118742 h 125125"/>
                  <a:gd name="connsiteX2" fmla="*/ 12780 w 12779"/>
                  <a:gd name="connsiteY2" fmla="*/ 6384 h 125125"/>
                  <a:gd name="connsiteX3" fmla="*/ 6390 w 12779"/>
                  <a:gd name="connsiteY3" fmla="*/ 0 h 125125"/>
                  <a:gd name="connsiteX4" fmla="*/ 0 w 12779"/>
                  <a:gd name="connsiteY4" fmla="*/ 6384 h 125125"/>
                  <a:gd name="connsiteX5" fmla="*/ 0 w 12779"/>
                  <a:gd name="connsiteY5" fmla="*/ 118742 h 125125"/>
                  <a:gd name="connsiteX6" fmla="*/ 6390 w 12779"/>
                  <a:gd name="connsiteY6" fmla="*/ 125126 h 1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25125">
                    <a:moveTo>
                      <a:pt x="6390" y="125126"/>
                    </a:moveTo>
                    <a:cubicBezTo>
                      <a:pt x="10224" y="125126"/>
                      <a:pt x="12780" y="122572"/>
                      <a:pt x="12780" y="118742"/>
                    </a:cubicBezTo>
                    <a:lnTo>
                      <a:pt x="12780" y="6384"/>
                    </a:lnTo>
                    <a:cubicBezTo>
                      <a:pt x="12780" y="2554"/>
                      <a:pt x="10224" y="0"/>
                      <a:pt x="6390" y="0"/>
                    </a:cubicBezTo>
                    <a:cubicBezTo>
                      <a:pt x="2556" y="0"/>
                      <a:pt x="0" y="2554"/>
                      <a:pt x="0" y="6384"/>
                    </a:cubicBezTo>
                    <a:lnTo>
                      <a:pt x="0" y="118742"/>
                    </a:lnTo>
                    <a:cubicBezTo>
                      <a:pt x="0" y="122572"/>
                      <a:pt x="2556" y="125126"/>
                      <a:pt x="6390" y="125126"/>
                    </a:cubicBezTo>
                    <a:close/>
                  </a:path>
                </a:pathLst>
              </a:custGeom>
              <a:grpFill/>
              <a:ln w="6390" cap="flat">
                <a:noFill/>
                <a:prstDash val="solid"/>
                <a:miter/>
              </a:ln>
            </p:spPr>
            <p:txBody>
              <a:bodyPr rtlCol="0" anchor="ctr"/>
              <a:lstStyle/>
              <a:p>
                <a:endParaRPr lang="en-US"/>
              </a:p>
            </p:txBody>
          </p:sp>
          <p:sp>
            <p:nvSpPr>
              <p:cNvPr id="1215" name="Graphic 4">
                <a:extLst>
                  <a:ext uri="{FF2B5EF4-FFF2-40B4-BE49-F238E27FC236}">
                    <a16:creationId xmlns:a16="http://schemas.microsoft.com/office/drawing/2014/main" id="{EEDA3F49-E8BB-3D6C-CFF6-B4E4EC668DB8}"/>
                  </a:ext>
                </a:extLst>
              </p:cNvPr>
              <p:cNvSpPr/>
              <p:nvPr/>
            </p:nvSpPr>
            <p:spPr>
              <a:xfrm>
                <a:off x="3796261" y="2032184"/>
                <a:ext cx="12779" cy="90013"/>
              </a:xfrm>
              <a:custGeom>
                <a:avLst/>
                <a:gdLst>
                  <a:gd name="connsiteX0" fmla="*/ 6390 w 12779"/>
                  <a:gd name="connsiteY0" fmla="*/ 90014 h 90013"/>
                  <a:gd name="connsiteX1" fmla="*/ 12780 w 12779"/>
                  <a:gd name="connsiteY1" fmla="*/ 83630 h 90013"/>
                  <a:gd name="connsiteX2" fmla="*/ 12780 w 12779"/>
                  <a:gd name="connsiteY2" fmla="*/ 6384 h 90013"/>
                  <a:gd name="connsiteX3" fmla="*/ 6390 w 12779"/>
                  <a:gd name="connsiteY3" fmla="*/ 0 h 90013"/>
                  <a:gd name="connsiteX4" fmla="*/ 0 w 12779"/>
                  <a:gd name="connsiteY4" fmla="*/ 6384 h 90013"/>
                  <a:gd name="connsiteX5" fmla="*/ 0 w 12779"/>
                  <a:gd name="connsiteY5" fmla="*/ 83630 h 90013"/>
                  <a:gd name="connsiteX6" fmla="*/ 6390 w 12779"/>
                  <a:gd name="connsiteY6" fmla="*/ 90014 h 9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90013">
                    <a:moveTo>
                      <a:pt x="6390" y="90014"/>
                    </a:moveTo>
                    <a:cubicBezTo>
                      <a:pt x="10224" y="90014"/>
                      <a:pt x="12780" y="87460"/>
                      <a:pt x="12780" y="83630"/>
                    </a:cubicBezTo>
                    <a:lnTo>
                      <a:pt x="12780" y="6384"/>
                    </a:lnTo>
                    <a:cubicBezTo>
                      <a:pt x="12780" y="2554"/>
                      <a:pt x="10224" y="0"/>
                      <a:pt x="6390" y="0"/>
                    </a:cubicBezTo>
                    <a:cubicBezTo>
                      <a:pt x="2556" y="0"/>
                      <a:pt x="0" y="2554"/>
                      <a:pt x="0" y="6384"/>
                    </a:cubicBezTo>
                    <a:lnTo>
                      <a:pt x="0" y="83630"/>
                    </a:lnTo>
                    <a:cubicBezTo>
                      <a:pt x="0" y="87460"/>
                      <a:pt x="3195" y="90014"/>
                      <a:pt x="6390" y="90014"/>
                    </a:cubicBezTo>
                    <a:close/>
                  </a:path>
                </a:pathLst>
              </a:custGeom>
              <a:grpFill/>
              <a:ln w="6390" cap="flat">
                <a:noFill/>
                <a:prstDash val="solid"/>
                <a:miter/>
              </a:ln>
            </p:spPr>
            <p:txBody>
              <a:bodyPr rtlCol="0" anchor="ctr"/>
              <a:lstStyle/>
              <a:p>
                <a:endParaRPr lang="en-US"/>
              </a:p>
            </p:txBody>
          </p:sp>
          <p:sp>
            <p:nvSpPr>
              <p:cNvPr id="1216" name="Graphic 4">
                <a:extLst>
                  <a:ext uri="{FF2B5EF4-FFF2-40B4-BE49-F238E27FC236}">
                    <a16:creationId xmlns:a16="http://schemas.microsoft.com/office/drawing/2014/main" id="{00635115-9165-D3E1-797F-7A04C2230ADB}"/>
                  </a:ext>
                </a:extLst>
              </p:cNvPr>
              <p:cNvSpPr/>
              <p:nvPr/>
            </p:nvSpPr>
            <p:spPr>
              <a:xfrm>
                <a:off x="3824377" y="2011116"/>
                <a:ext cx="12779" cy="111081"/>
              </a:xfrm>
              <a:custGeom>
                <a:avLst/>
                <a:gdLst>
                  <a:gd name="connsiteX0" fmla="*/ 6390 w 12779"/>
                  <a:gd name="connsiteY0" fmla="*/ 111081 h 111081"/>
                  <a:gd name="connsiteX1" fmla="*/ 12780 w 12779"/>
                  <a:gd name="connsiteY1" fmla="*/ 104697 h 111081"/>
                  <a:gd name="connsiteX2" fmla="*/ 12780 w 12779"/>
                  <a:gd name="connsiteY2" fmla="*/ 6384 h 111081"/>
                  <a:gd name="connsiteX3" fmla="*/ 6390 w 12779"/>
                  <a:gd name="connsiteY3" fmla="*/ 0 h 111081"/>
                  <a:gd name="connsiteX4" fmla="*/ 0 w 12779"/>
                  <a:gd name="connsiteY4" fmla="*/ 6384 h 111081"/>
                  <a:gd name="connsiteX5" fmla="*/ 0 w 12779"/>
                  <a:gd name="connsiteY5" fmla="*/ 104697 h 111081"/>
                  <a:gd name="connsiteX6" fmla="*/ 6390 w 12779"/>
                  <a:gd name="connsiteY6" fmla="*/ 111081 h 11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11081">
                    <a:moveTo>
                      <a:pt x="6390" y="111081"/>
                    </a:moveTo>
                    <a:cubicBezTo>
                      <a:pt x="10224" y="111081"/>
                      <a:pt x="12780" y="108528"/>
                      <a:pt x="12780" y="104697"/>
                    </a:cubicBezTo>
                    <a:lnTo>
                      <a:pt x="12780" y="6384"/>
                    </a:lnTo>
                    <a:cubicBezTo>
                      <a:pt x="12780" y="2554"/>
                      <a:pt x="10224" y="0"/>
                      <a:pt x="6390" y="0"/>
                    </a:cubicBezTo>
                    <a:cubicBezTo>
                      <a:pt x="2556" y="0"/>
                      <a:pt x="0" y="2554"/>
                      <a:pt x="0" y="6384"/>
                    </a:cubicBezTo>
                    <a:lnTo>
                      <a:pt x="0" y="104697"/>
                    </a:lnTo>
                    <a:cubicBezTo>
                      <a:pt x="0" y="108528"/>
                      <a:pt x="3195" y="111081"/>
                      <a:pt x="6390" y="111081"/>
                    </a:cubicBezTo>
                    <a:close/>
                  </a:path>
                </a:pathLst>
              </a:custGeom>
              <a:grpFill/>
              <a:ln w="6390" cap="flat">
                <a:noFill/>
                <a:prstDash val="solid"/>
                <a:miter/>
              </a:ln>
            </p:spPr>
            <p:txBody>
              <a:bodyPr rtlCol="0" anchor="ctr"/>
              <a:lstStyle/>
              <a:p>
                <a:endParaRPr lang="en-US"/>
              </a:p>
            </p:txBody>
          </p:sp>
          <p:sp>
            <p:nvSpPr>
              <p:cNvPr id="1217" name="Graphic 4">
                <a:extLst>
                  <a:ext uri="{FF2B5EF4-FFF2-40B4-BE49-F238E27FC236}">
                    <a16:creationId xmlns:a16="http://schemas.microsoft.com/office/drawing/2014/main" id="{683842C2-BD7C-F9B5-2477-45646AC9CE23}"/>
                  </a:ext>
                </a:extLst>
              </p:cNvPr>
              <p:cNvSpPr/>
              <p:nvPr/>
            </p:nvSpPr>
            <p:spPr>
              <a:xfrm>
                <a:off x="3852493" y="2067296"/>
                <a:ext cx="12779" cy="54902"/>
              </a:xfrm>
              <a:custGeom>
                <a:avLst/>
                <a:gdLst>
                  <a:gd name="connsiteX0" fmla="*/ 6390 w 12779"/>
                  <a:gd name="connsiteY0" fmla="*/ 54902 h 54902"/>
                  <a:gd name="connsiteX1" fmla="*/ 12780 w 12779"/>
                  <a:gd name="connsiteY1" fmla="*/ 48518 h 54902"/>
                  <a:gd name="connsiteX2" fmla="*/ 12780 w 12779"/>
                  <a:gd name="connsiteY2" fmla="*/ 6384 h 54902"/>
                  <a:gd name="connsiteX3" fmla="*/ 6390 w 12779"/>
                  <a:gd name="connsiteY3" fmla="*/ 0 h 54902"/>
                  <a:gd name="connsiteX4" fmla="*/ 0 w 12779"/>
                  <a:gd name="connsiteY4" fmla="*/ 6384 h 54902"/>
                  <a:gd name="connsiteX5" fmla="*/ 0 w 12779"/>
                  <a:gd name="connsiteY5" fmla="*/ 48518 h 54902"/>
                  <a:gd name="connsiteX6" fmla="*/ 6390 w 12779"/>
                  <a:gd name="connsiteY6" fmla="*/ 54902 h 5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54902">
                    <a:moveTo>
                      <a:pt x="6390" y="54902"/>
                    </a:moveTo>
                    <a:cubicBezTo>
                      <a:pt x="10224" y="54902"/>
                      <a:pt x="12780" y="52349"/>
                      <a:pt x="12780" y="48518"/>
                    </a:cubicBezTo>
                    <a:lnTo>
                      <a:pt x="12780" y="6384"/>
                    </a:lnTo>
                    <a:cubicBezTo>
                      <a:pt x="12780" y="2554"/>
                      <a:pt x="10224" y="0"/>
                      <a:pt x="6390" y="0"/>
                    </a:cubicBezTo>
                    <a:cubicBezTo>
                      <a:pt x="2556" y="0"/>
                      <a:pt x="0" y="2554"/>
                      <a:pt x="0" y="6384"/>
                    </a:cubicBezTo>
                    <a:lnTo>
                      <a:pt x="0" y="48518"/>
                    </a:lnTo>
                    <a:cubicBezTo>
                      <a:pt x="0" y="52349"/>
                      <a:pt x="3195" y="54902"/>
                      <a:pt x="6390" y="54902"/>
                    </a:cubicBezTo>
                    <a:close/>
                  </a:path>
                </a:pathLst>
              </a:custGeom>
              <a:grpFill/>
              <a:ln w="6390" cap="flat">
                <a:noFill/>
                <a:prstDash val="solid"/>
                <a:miter/>
              </a:ln>
            </p:spPr>
            <p:txBody>
              <a:bodyPr rtlCol="0" anchor="ctr"/>
              <a:lstStyle/>
              <a:p>
                <a:endParaRPr lang="en-US"/>
              </a:p>
            </p:txBody>
          </p:sp>
        </p:grpSp>
        <p:grpSp>
          <p:nvGrpSpPr>
            <p:cNvPr id="1218" name="Graphic 4">
              <a:extLst>
                <a:ext uri="{FF2B5EF4-FFF2-40B4-BE49-F238E27FC236}">
                  <a16:creationId xmlns:a16="http://schemas.microsoft.com/office/drawing/2014/main" id="{9B1BB221-92DB-B4C6-479A-4F8D8D86DFB3}"/>
                </a:ext>
              </a:extLst>
            </p:cNvPr>
            <p:cNvGrpSpPr/>
            <p:nvPr/>
          </p:nvGrpSpPr>
          <p:grpSpPr>
            <a:xfrm>
              <a:off x="4632895" y="5982661"/>
              <a:ext cx="282677" cy="290456"/>
              <a:chOff x="7870485" y="2436928"/>
              <a:chExt cx="224287" cy="230461"/>
            </a:xfrm>
            <a:solidFill>
              <a:schemeClr val="bg1"/>
            </a:solidFill>
          </p:grpSpPr>
          <p:sp>
            <p:nvSpPr>
              <p:cNvPr id="1219" name="Graphic 4">
                <a:extLst>
                  <a:ext uri="{FF2B5EF4-FFF2-40B4-BE49-F238E27FC236}">
                    <a16:creationId xmlns:a16="http://schemas.microsoft.com/office/drawing/2014/main" id="{31E5312B-06FB-6D13-3547-91A6ACFFA371}"/>
                  </a:ext>
                </a:extLst>
              </p:cNvPr>
              <p:cNvSpPr/>
              <p:nvPr/>
            </p:nvSpPr>
            <p:spPr>
              <a:xfrm>
                <a:off x="7964417" y="2530134"/>
                <a:ext cx="38339" cy="37665"/>
              </a:xfrm>
              <a:custGeom>
                <a:avLst/>
                <a:gdLst>
                  <a:gd name="connsiteX0" fmla="*/ 20447 w 38339"/>
                  <a:gd name="connsiteY0" fmla="*/ 24259 h 37665"/>
                  <a:gd name="connsiteX1" fmla="*/ 16614 w 38339"/>
                  <a:gd name="connsiteY1" fmla="*/ 24259 h 37665"/>
                  <a:gd name="connsiteX2" fmla="*/ 12780 w 38339"/>
                  <a:gd name="connsiteY2" fmla="*/ 18514 h 37665"/>
                  <a:gd name="connsiteX3" fmla="*/ 18531 w 38339"/>
                  <a:gd name="connsiteY3" fmla="*/ 12768 h 37665"/>
                  <a:gd name="connsiteX4" fmla="*/ 24281 w 38339"/>
                  <a:gd name="connsiteY4" fmla="*/ 18514 h 37665"/>
                  <a:gd name="connsiteX5" fmla="*/ 20447 w 38339"/>
                  <a:gd name="connsiteY5" fmla="*/ 24259 h 37665"/>
                  <a:gd name="connsiteX6" fmla="*/ 18531 w 38339"/>
                  <a:gd name="connsiteY6" fmla="*/ 0 h 37665"/>
                  <a:gd name="connsiteX7" fmla="*/ 0 w 38339"/>
                  <a:gd name="connsiteY7" fmla="*/ 18514 h 37665"/>
                  <a:gd name="connsiteX8" fmla="*/ 12780 w 38339"/>
                  <a:gd name="connsiteY8" fmla="*/ 36389 h 37665"/>
                  <a:gd name="connsiteX9" fmla="*/ 19170 w 38339"/>
                  <a:gd name="connsiteY9" fmla="*/ 37665 h 37665"/>
                  <a:gd name="connsiteX10" fmla="*/ 25560 w 38339"/>
                  <a:gd name="connsiteY10" fmla="*/ 36389 h 37665"/>
                  <a:gd name="connsiteX11" fmla="*/ 38340 w 38339"/>
                  <a:gd name="connsiteY11" fmla="*/ 18514 h 37665"/>
                  <a:gd name="connsiteX12" fmla="*/ 18531 w 38339"/>
                  <a:gd name="connsiteY12" fmla="*/ 0 h 3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39" h="37665">
                    <a:moveTo>
                      <a:pt x="20447" y="24259"/>
                    </a:moveTo>
                    <a:cubicBezTo>
                      <a:pt x="19170" y="24897"/>
                      <a:pt x="17891" y="24897"/>
                      <a:pt x="16614" y="24259"/>
                    </a:cubicBezTo>
                    <a:cubicBezTo>
                      <a:pt x="14058" y="23621"/>
                      <a:pt x="12780" y="21067"/>
                      <a:pt x="12780" y="18514"/>
                    </a:cubicBezTo>
                    <a:cubicBezTo>
                      <a:pt x="12780" y="15322"/>
                      <a:pt x="15336" y="12768"/>
                      <a:pt x="18531" y="12768"/>
                    </a:cubicBezTo>
                    <a:cubicBezTo>
                      <a:pt x="21726" y="12768"/>
                      <a:pt x="24281" y="15322"/>
                      <a:pt x="24281" y="18514"/>
                    </a:cubicBezTo>
                    <a:cubicBezTo>
                      <a:pt x="24281" y="21067"/>
                      <a:pt x="22365" y="23621"/>
                      <a:pt x="20447" y="24259"/>
                    </a:cubicBezTo>
                    <a:moveTo>
                      <a:pt x="18531" y="0"/>
                    </a:moveTo>
                    <a:cubicBezTo>
                      <a:pt x="8306" y="0"/>
                      <a:pt x="0" y="8299"/>
                      <a:pt x="0" y="18514"/>
                    </a:cubicBezTo>
                    <a:cubicBezTo>
                      <a:pt x="0" y="26174"/>
                      <a:pt x="5111" y="33835"/>
                      <a:pt x="12780" y="36389"/>
                    </a:cubicBezTo>
                    <a:cubicBezTo>
                      <a:pt x="14696" y="37027"/>
                      <a:pt x="16614" y="37665"/>
                      <a:pt x="19170" y="37665"/>
                    </a:cubicBezTo>
                    <a:cubicBezTo>
                      <a:pt x="21726" y="37665"/>
                      <a:pt x="23642" y="37027"/>
                      <a:pt x="25560" y="36389"/>
                    </a:cubicBezTo>
                    <a:cubicBezTo>
                      <a:pt x="33227" y="33835"/>
                      <a:pt x="38340" y="26813"/>
                      <a:pt x="38340" y="18514"/>
                    </a:cubicBezTo>
                    <a:cubicBezTo>
                      <a:pt x="37061" y="8299"/>
                      <a:pt x="28755" y="0"/>
                      <a:pt x="18531" y="0"/>
                    </a:cubicBezTo>
                  </a:path>
                </a:pathLst>
              </a:custGeom>
              <a:grpFill/>
              <a:ln w="6390" cap="flat">
                <a:noFill/>
                <a:prstDash val="solid"/>
                <a:miter/>
              </a:ln>
            </p:spPr>
            <p:txBody>
              <a:bodyPr rtlCol="0" anchor="ctr"/>
              <a:lstStyle/>
              <a:p>
                <a:endParaRPr lang="en-US"/>
              </a:p>
            </p:txBody>
          </p:sp>
          <p:sp>
            <p:nvSpPr>
              <p:cNvPr id="1220" name="Graphic 4">
                <a:extLst>
                  <a:ext uri="{FF2B5EF4-FFF2-40B4-BE49-F238E27FC236}">
                    <a16:creationId xmlns:a16="http://schemas.microsoft.com/office/drawing/2014/main" id="{3ACE1958-C26F-94C0-8B3D-A35A2D030937}"/>
                  </a:ext>
                </a:extLst>
              </p:cNvPr>
              <p:cNvSpPr/>
              <p:nvPr/>
            </p:nvSpPr>
            <p:spPr>
              <a:xfrm>
                <a:off x="7904991" y="2481616"/>
                <a:ext cx="156553" cy="185773"/>
              </a:xfrm>
              <a:custGeom>
                <a:avLst/>
                <a:gdLst>
                  <a:gd name="connsiteX0" fmla="*/ 143135 w 156553"/>
                  <a:gd name="connsiteY0" fmla="*/ 172368 h 185773"/>
                  <a:gd name="connsiteX1" fmla="*/ 12141 w 156553"/>
                  <a:gd name="connsiteY1" fmla="*/ 172368 h 185773"/>
                  <a:gd name="connsiteX2" fmla="*/ 12141 w 156553"/>
                  <a:gd name="connsiteY2" fmla="*/ 143001 h 185773"/>
                  <a:gd name="connsiteX3" fmla="*/ 14058 w 156553"/>
                  <a:gd name="connsiteY3" fmla="*/ 143001 h 185773"/>
                  <a:gd name="connsiteX4" fmla="*/ 67094 w 156553"/>
                  <a:gd name="connsiteY4" fmla="*/ 143001 h 185773"/>
                  <a:gd name="connsiteX5" fmla="*/ 88181 w 156553"/>
                  <a:gd name="connsiteY5" fmla="*/ 143001 h 185773"/>
                  <a:gd name="connsiteX6" fmla="*/ 141217 w 156553"/>
                  <a:gd name="connsiteY6" fmla="*/ 143001 h 185773"/>
                  <a:gd name="connsiteX7" fmla="*/ 143135 w 156553"/>
                  <a:gd name="connsiteY7" fmla="*/ 143001 h 185773"/>
                  <a:gd name="connsiteX8" fmla="*/ 143135 w 156553"/>
                  <a:gd name="connsiteY8" fmla="*/ 172368 h 185773"/>
                  <a:gd name="connsiteX9" fmla="*/ 73484 w 156553"/>
                  <a:gd name="connsiteY9" fmla="*/ 105336 h 185773"/>
                  <a:gd name="connsiteX10" fmla="*/ 77318 w 156553"/>
                  <a:gd name="connsiteY10" fmla="*/ 105336 h 185773"/>
                  <a:gd name="connsiteX11" fmla="*/ 77318 w 156553"/>
                  <a:gd name="connsiteY11" fmla="*/ 105336 h 185773"/>
                  <a:gd name="connsiteX12" fmla="*/ 77318 w 156553"/>
                  <a:gd name="connsiteY12" fmla="*/ 105336 h 185773"/>
                  <a:gd name="connsiteX13" fmla="*/ 81153 w 156553"/>
                  <a:gd name="connsiteY13" fmla="*/ 105336 h 185773"/>
                  <a:gd name="connsiteX14" fmla="*/ 81153 w 156553"/>
                  <a:gd name="connsiteY14" fmla="*/ 130872 h 185773"/>
                  <a:gd name="connsiteX15" fmla="*/ 72845 w 156553"/>
                  <a:gd name="connsiteY15" fmla="*/ 130872 h 185773"/>
                  <a:gd name="connsiteX16" fmla="*/ 72845 w 156553"/>
                  <a:gd name="connsiteY16" fmla="*/ 105336 h 185773"/>
                  <a:gd name="connsiteX17" fmla="*/ 86264 w 156553"/>
                  <a:gd name="connsiteY17" fmla="*/ 91291 h 185773"/>
                  <a:gd name="connsiteX18" fmla="*/ 77958 w 156553"/>
                  <a:gd name="connsiteY18" fmla="*/ 92568 h 185773"/>
                  <a:gd name="connsiteX19" fmla="*/ 73484 w 156553"/>
                  <a:gd name="connsiteY19" fmla="*/ 91929 h 185773"/>
                  <a:gd name="connsiteX20" fmla="*/ 69012 w 156553"/>
                  <a:gd name="connsiteY20" fmla="*/ 90652 h 185773"/>
                  <a:gd name="connsiteX21" fmla="*/ 69012 w 156553"/>
                  <a:gd name="connsiteY21" fmla="*/ 90652 h 185773"/>
                  <a:gd name="connsiteX22" fmla="*/ 52398 w 156553"/>
                  <a:gd name="connsiteY22" fmla="*/ 67032 h 185773"/>
                  <a:gd name="connsiteX23" fmla="*/ 77958 w 156553"/>
                  <a:gd name="connsiteY23" fmla="*/ 41496 h 185773"/>
                  <a:gd name="connsiteX24" fmla="*/ 103517 w 156553"/>
                  <a:gd name="connsiteY24" fmla="*/ 67032 h 185773"/>
                  <a:gd name="connsiteX25" fmla="*/ 86264 w 156553"/>
                  <a:gd name="connsiteY25" fmla="*/ 91291 h 185773"/>
                  <a:gd name="connsiteX26" fmla="*/ 21087 w 156553"/>
                  <a:gd name="connsiteY26" fmla="*/ 69585 h 185773"/>
                  <a:gd name="connsiteX27" fmla="*/ 77958 w 156553"/>
                  <a:gd name="connsiteY27" fmla="*/ 12768 h 185773"/>
                  <a:gd name="connsiteX28" fmla="*/ 134828 w 156553"/>
                  <a:gd name="connsiteY28" fmla="*/ 69585 h 185773"/>
                  <a:gd name="connsiteX29" fmla="*/ 134828 w 156553"/>
                  <a:gd name="connsiteY29" fmla="*/ 130872 h 185773"/>
                  <a:gd name="connsiteX30" fmla="*/ 94571 w 156553"/>
                  <a:gd name="connsiteY30" fmla="*/ 130872 h 185773"/>
                  <a:gd name="connsiteX31" fmla="*/ 94571 w 156553"/>
                  <a:gd name="connsiteY31" fmla="*/ 101505 h 185773"/>
                  <a:gd name="connsiteX32" fmla="*/ 115658 w 156553"/>
                  <a:gd name="connsiteY32" fmla="*/ 67670 h 185773"/>
                  <a:gd name="connsiteX33" fmla="*/ 77318 w 156553"/>
                  <a:gd name="connsiteY33" fmla="*/ 29366 h 185773"/>
                  <a:gd name="connsiteX34" fmla="*/ 38978 w 156553"/>
                  <a:gd name="connsiteY34" fmla="*/ 67670 h 185773"/>
                  <a:gd name="connsiteX35" fmla="*/ 60066 w 156553"/>
                  <a:gd name="connsiteY35" fmla="*/ 101505 h 185773"/>
                  <a:gd name="connsiteX36" fmla="*/ 60066 w 156553"/>
                  <a:gd name="connsiteY36" fmla="*/ 130872 h 185773"/>
                  <a:gd name="connsiteX37" fmla="*/ 19809 w 156553"/>
                  <a:gd name="connsiteY37" fmla="*/ 130872 h 185773"/>
                  <a:gd name="connsiteX38" fmla="*/ 19809 w 156553"/>
                  <a:gd name="connsiteY38" fmla="*/ 69585 h 185773"/>
                  <a:gd name="connsiteX39" fmla="*/ 149525 w 156553"/>
                  <a:gd name="connsiteY39" fmla="*/ 130233 h 185773"/>
                  <a:gd name="connsiteX40" fmla="*/ 147607 w 156553"/>
                  <a:gd name="connsiteY40" fmla="*/ 130233 h 185773"/>
                  <a:gd name="connsiteX41" fmla="*/ 147607 w 156553"/>
                  <a:gd name="connsiteY41" fmla="*/ 69585 h 185773"/>
                  <a:gd name="connsiteX42" fmla="*/ 77958 w 156553"/>
                  <a:gd name="connsiteY42" fmla="*/ 0 h 185773"/>
                  <a:gd name="connsiteX43" fmla="*/ 8307 w 156553"/>
                  <a:gd name="connsiteY43" fmla="*/ 69585 h 185773"/>
                  <a:gd name="connsiteX44" fmla="*/ 8307 w 156553"/>
                  <a:gd name="connsiteY44" fmla="*/ 130872 h 185773"/>
                  <a:gd name="connsiteX45" fmla="*/ 6390 w 156553"/>
                  <a:gd name="connsiteY45" fmla="*/ 130872 h 185773"/>
                  <a:gd name="connsiteX46" fmla="*/ 0 w 156553"/>
                  <a:gd name="connsiteY46" fmla="*/ 137256 h 185773"/>
                  <a:gd name="connsiteX47" fmla="*/ 0 w 156553"/>
                  <a:gd name="connsiteY47" fmla="*/ 179390 h 185773"/>
                  <a:gd name="connsiteX48" fmla="*/ 6390 w 156553"/>
                  <a:gd name="connsiteY48" fmla="*/ 185774 h 185773"/>
                  <a:gd name="connsiteX49" fmla="*/ 150164 w 156553"/>
                  <a:gd name="connsiteY49" fmla="*/ 185774 h 185773"/>
                  <a:gd name="connsiteX50" fmla="*/ 156553 w 156553"/>
                  <a:gd name="connsiteY50" fmla="*/ 179390 h 185773"/>
                  <a:gd name="connsiteX51" fmla="*/ 156553 w 156553"/>
                  <a:gd name="connsiteY51" fmla="*/ 137256 h 185773"/>
                  <a:gd name="connsiteX52" fmla="*/ 149525 w 156553"/>
                  <a:gd name="connsiteY52" fmla="*/ 130233 h 185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6553" h="185773">
                    <a:moveTo>
                      <a:pt x="143135" y="172368"/>
                    </a:moveTo>
                    <a:lnTo>
                      <a:pt x="12141" y="172368"/>
                    </a:lnTo>
                    <a:lnTo>
                      <a:pt x="12141" y="143001"/>
                    </a:lnTo>
                    <a:lnTo>
                      <a:pt x="14058" y="143001"/>
                    </a:lnTo>
                    <a:lnTo>
                      <a:pt x="67094" y="143001"/>
                    </a:lnTo>
                    <a:lnTo>
                      <a:pt x="88181" y="143001"/>
                    </a:lnTo>
                    <a:lnTo>
                      <a:pt x="141217" y="143001"/>
                    </a:lnTo>
                    <a:lnTo>
                      <a:pt x="143135" y="143001"/>
                    </a:lnTo>
                    <a:lnTo>
                      <a:pt x="143135" y="172368"/>
                    </a:lnTo>
                    <a:close/>
                    <a:moveTo>
                      <a:pt x="73484" y="105336"/>
                    </a:moveTo>
                    <a:cubicBezTo>
                      <a:pt x="74763" y="105336"/>
                      <a:pt x="76040" y="105336"/>
                      <a:pt x="77318" y="105336"/>
                    </a:cubicBezTo>
                    <a:cubicBezTo>
                      <a:pt x="77318" y="105336"/>
                      <a:pt x="77318" y="105336"/>
                      <a:pt x="77318" y="105336"/>
                    </a:cubicBezTo>
                    <a:cubicBezTo>
                      <a:pt x="77318" y="105336"/>
                      <a:pt x="77318" y="105336"/>
                      <a:pt x="77318" y="105336"/>
                    </a:cubicBezTo>
                    <a:cubicBezTo>
                      <a:pt x="78597" y="105336"/>
                      <a:pt x="79874" y="105336"/>
                      <a:pt x="81153" y="105336"/>
                    </a:cubicBezTo>
                    <a:lnTo>
                      <a:pt x="81153" y="130872"/>
                    </a:lnTo>
                    <a:lnTo>
                      <a:pt x="72845" y="130872"/>
                    </a:lnTo>
                    <a:lnTo>
                      <a:pt x="72845" y="105336"/>
                    </a:lnTo>
                    <a:close/>
                    <a:moveTo>
                      <a:pt x="86264" y="91291"/>
                    </a:moveTo>
                    <a:cubicBezTo>
                      <a:pt x="83708" y="92568"/>
                      <a:pt x="80513" y="92568"/>
                      <a:pt x="77958" y="92568"/>
                    </a:cubicBezTo>
                    <a:cubicBezTo>
                      <a:pt x="76679" y="92568"/>
                      <a:pt x="75402" y="92568"/>
                      <a:pt x="73484" y="91929"/>
                    </a:cubicBezTo>
                    <a:cubicBezTo>
                      <a:pt x="72207" y="91929"/>
                      <a:pt x="70928" y="91291"/>
                      <a:pt x="69012" y="90652"/>
                    </a:cubicBezTo>
                    <a:cubicBezTo>
                      <a:pt x="69012" y="90652"/>
                      <a:pt x="69012" y="90652"/>
                      <a:pt x="69012" y="90652"/>
                    </a:cubicBezTo>
                    <a:cubicBezTo>
                      <a:pt x="58788" y="86822"/>
                      <a:pt x="52398" y="77246"/>
                      <a:pt x="52398" y="67032"/>
                    </a:cubicBezTo>
                    <a:cubicBezTo>
                      <a:pt x="52398" y="52987"/>
                      <a:pt x="63899" y="41496"/>
                      <a:pt x="77958" y="41496"/>
                    </a:cubicBezTo>
                    <a:cubicBezTo>
                      <a:pt x="92015" y="41496"/>
                      <a:pt x="103517" y="52987"/>
                      <a:pt x="103517" y="67032"/>
                    </a:cubicBezTo>
                    <a:cubicBezTo>
                      <a:pt x="102878" y="77884"/>
                      <a:pt x="96488" y="87460"/>
                      <a:pt x="86264" y="91291"/>
                    </a:cubicBezTo>
                    <a:moveTo>
                      <a:pt x="21087" y="69585"/>
                    </a:moveTo>
                    <a:cubicBezTo>
                      <a:pt x="21087" y="38304"/>
                      <a:pt x="46647" y="12768"/>
                      <a:pt x="77958" y="12768"/>
                    </a:cubicBezTo>
                    <a:cubicBezTo>
                      <a:pt x="109268" y="12768"/>
                      <a:pt x="134828" y="38304"/>
                      <a:pt x="134828" y="69585"/>
                    </a:cubicBezTo>
                    <a:lnTo>
                      <a:pt x="134828" y="130872"/>
                    </a:lnTo>
                    <a:lnTo>
                      <a:pt x="94571" y="130872"/>
                    </a:lnTo>
                    <a:lnTo>
                      <a:pt x="94571" y="101505"/>
                    </a:lnTo>
                    <a:cubicBezTo>
                      <a:pt x="107351" y="95121"/>
                      <a:pt x="115658" y="82353"/>
                      <a:pt x="115658" y="67670"/>
                    </a:cubicBezTo>
                    <a:cubicBezTo>
                      <a:pt x="115658" y="46603"/>
                      <a:pt x="98405" y="29366"/>
                      <a:pt x="77318" y="29366"/>
                    </a:cubicBezTo>
                    <a:cubicBezTo>
                      <a:pt x="56232" y="29366"/>
                      <a:pt x="38978" y="46603"/>
                      <a:pt x="38978" y="67670"/>
                    </a:cubicBezTo>
                    <a:cubicBezTo>
                      <a:pt x="38978" y="82353"/>
                      <a:pt x="47286" y="95121"/>
                      <a:pt x="60066" y="101505"/>
                    </a:cubicBezTo>
                    <a:lnTo>
                      <a:pt x="60066" y="130872"/>
                    </a:lnTo>
                    <a:lnTo>
                      <a:pt x="19809" y="130872"/>
                    </a:lnTo>
                    <a:lnTo>
                      <a:pt x="19809" y="69585"/>
                    </a:lnTo>
                    <a:close/>
                    <a:moveTo>
                      <a:pt x="149525" y="130233"/>
                    </a:moveTo>
                    <a:lnTo>
                      <a:pt x="147607" y="130233"/>
                    </a:lnTo>
                    <a:lnTo>
                      <a:pt x="147607" y="69585"/>
                    </a:lnTo>
                    <a:cubicBezTo>
                      <a:pt x="147607" y="31281"/>
                      <a:pt x="116297" y="0"/>
                      <a:pt x="77958" y="0"/>
                    </a:cubicBezTo>
                    <a:cubicBezTo>
                      <a:pt x="39618" y="0"/>
                      <a:pt x="8307" y="31281"/>
                      <a:pt x="8307" y="69585"/>
                    </a:cubicBezTo>
                    <a:lnTo>
                      <a:pt x="8307" y="130872"/>
                    </a:lnTo>
                    <a:lnTo>
                      <a:pt x="6390" y="130872"/>
                    </a:lnTo>
                    <a:cubicBezTo>
                      <a:pt x="2556" y="130872"/>
                      <a:pt x="0" y="133425"/>
                      <a:pt x="0" y="137256"/>
                    </a:cubicBezTo>
                    <a:lnTo>
                      <a:pt x="0" y="179390"/>
                    </a:lnTo>
                    <a:cubicBezTo>
                      <a:pt x="0" y="183220"/>
                      <a:pt x="2556" y="185774"/>
                      <a:pt x="6390" y="185774"/>
                    </a:cubicBezTo>
                    <a:lnTo>
                      <a:pt x="150164" y="185774"/>
                    </a:lnTo>
                    <a:cubicBezTo>
                      <a:pt x="153997" y="185774"/>
                      <a:pt x="156553" y="183220"/>
                      <a:pt x="156553" y="179390"/>
                    </a:cubicBezTo>
                    <a:lnTo>
                      <a:pt x="156553" y="137256"/>
                    </a:lnTo>
                    <a:cubicBezTo>
                      <a:pt x="155915" y="133425"/>
                      <a:pt x="152720" y="130233"/>
                      <a:pt x="149525" y="130233"/>
                    </a:cubicBezTo>
                  </a:path>
                </a:pathLst>
              </a:custGeom>
              <a:grpFill/>
              <a:ln w="6390" cap="flat">
                <a:noFill/>
                <a:prstDash val="solid"/>
                <a:miter/>
              </a:ln>
            </p:spPr>
            <p:txBody>
              <a:bodyPr rtlCol="0" anchor="ctr"/>
              <a:lstStyle/>
              <a:p>
                <a:endParaRPr lang="en-US"/>
              </a:p>
            </p:txBody>
          </p:sp>
          <p:sp>
            <p:nvSpPr>
              <p:cNvPr id="1221" name="Graphic 4">
                <a:extLst>
                  <a:ext uri="{FF2B5EF4-FFF2-40B4-BE49-F238E27FC236}">
                    <a16:creationId xmlns:a16="http://schemas.microsoft.com/office/drawing/2014/main" id="{60FBDA24-3B9F-E552-E5F2-ACE06D4955AC}"/>
                  </a:ext>
                </a:extLst>
              </p:cNvPr>
              <p:cNvSpPr/>
              <p:nvPr/>
            </p:nvSpPr>
            <p:spPr>
              <a:xfrm>
                <a:off x="7870485" y="2542264"/>
                <a:ext cx="38339" cy="12767"/>
              </a:xfrm>
              <a:custGeom>
                <a:avLst/>
                <a:gdLst>
                  <a:gd name="connsiteX0" fmla="*/ 38340 w 38339"/>
                  <a:gd name="connsiteY0" fmla="*/ 6384 h 12767"/>
                  <a:gd name="connsiteX1" fmla="*/ 31950 w 38339"/>
                  <a:gd name="connsiteY1" fmla="*/ 0 h 12767"/>
                  <a:gd name="connsiteX2" fmla="*/ 6390 w 38339"/>
                  <a:gd name="connsiteY2" fmla="*/ 0 h 12767"/>
                  <a:gd name="connsiteX3" fmla="*/ 0 w 38339"/>
                  <a:gd name="connsiteY3" fmla="*/ 6384 h 12767"/>
                  <a:gd name="connsiteX4" fmla="*/ 6390 w 38339"/>
                  <a:gd name="connsiteY4" fmla="*/ 12768 h 12767"/>
                  <a:gd name="connsiteX5" fmla="*/ 31950 w 38339"/>
                  <a:gd name="connsiteY5" fmla="*/ 12768 h 12767"/>
                  <a:gd name="connsiteX6" fmla="*/ 38340 w 38339"/>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39" h="12767">
                    <a:moveTo>
                      <a:pt x="38340" y="6384"/>
                    </a:moveTo>
                    <a:cubicBezTo>
                      <a:pt x="38340" y="2554"/>
                      <a:pt x="35784" y="0"/>
                      <a:pt x="31950" y="0"/>
                    </a:cubicBezTo>
                    <a:lnTo>
                      <a:pt x="6390" y="0"/>
                    </a:lnTo>
                    <a:cubicBezTo>
                      <a:pt x="2556" y="0"/>
                      <a:pt x="0" y="2554"/>
                      <a:pt x="0" y="6384"/>
                    </a:cubicBezTo>
                    <a:cubicBezTo>
                      <a:pt x="0" y="10214"/>
                      <a:pt x="2556" y="12768"/>
                      <a:pt x="6390" y="12768"/>
                    </a:cubicBezTo>
                    <a:lnTo>
                      <a:pt x="31950" y="12768"/>
                    </a:lnTo>
                    <a:cubicBezTo>
                      <a:pt x="35784" y="12768"/>
                      <a:pt x="38340" y="10214"/>
                      <a:pt x="38340" y="6384"/>
                    </a:cubicBezTo>
                  </a:path>
                </a:pathLst>
              </a:custGeom>
              <a:grpFill/>
              <a:ln w="6390" cap="flat">
                <a:noFill/>
                <a:prstDash val="solid"/>
                <a:miter/>
              </a:ln>
            </p:spPr>
            <p:txBody>
              <a:bodyPr rtlCol="0" anchor="ctr"/>
              <a:lstStyle/>
              <a:p>
                <a:endParaRPr lang="en-US"/>
              </a:p>
            </p:txBody>
          </p:sp>
          <p:sp>
            <p:nvSpPr>
              <p:cNvPr id="1222" name="Graphic 4">
                <a:extLst>
                  <a:ext uri="{FF2B5EF4-FFF2-40B4-BE49-F238E27FC236}">
                    <a16:creationId xmlns:a16="http://schemas.microsoft.com/office/drawing/2014/main" id="{968BAC64-C2CB-932D-8B58-C97C6DF6FD18}"/>
                  </a:ext>
                </a:extLst>
              </p:cNvPr>
              <p:cNvSpPr/>
              <p:nvPr/>
            </p:nvSpPr>
            <p:spPr>
              <a:xfrm>
                <a:off x="7878632" y="2502204"/>
                <a:ext cx="36422" cy="22184"/>
              </a:xfrm>
              <a:custGeom>
                <a:avLst/>
                <a:gdLst>
                  <a:gd name="connsiteX0" fmla="*/ 3994 w 36422"/>
                  <a:gd name="connsiteY0" fmla="*/ 11970 h 22184"/>
                  <a:gd name="connsiteX1" fmla="*/ 27637 w 36422"/>
                  <a:gd name="connsiteY1" fmla="*/ 21546 h 22184"/>
                  <a:gd name="connsiteX2" fmla="*/ 30192 w 36422"/>
                  <a:gd name="connsiteY2" fmla="*/ 22184 h 22184"/>
                  <a:gd name="connsiteX3" fmla="*/ 35943 w 36422"/>
                  <a:gd name="connsiteY3" fmla="*/ 18354 h 22184"/>
                  <a:gd name="connsiteX4" fmla="*/ 32109 w 36422"/>
                  <a:gd name="connsiteY4" fmla="*/ 10055 h 22184"/>
                  <a:gd name="connsiteX5" fmla="*/ 8467 w 36422"/>
                  <a:gd name="connsiteY5" fmla="*/ 479 h 22184"/>
                  <a:gd name="connsiteX6" fmla="*/ 160 w 36422"/>
                  <a:gd name="connsiteY6" fmla="*/ 4309 h 22184"/>
                  <a:gd name="connsiteX7" fmla="*/ 3994 w 36422"/>
                  <a:gd name="connsiteY7" fmla="*/ 11970 h 22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22" h="22184">
                    <a:moveTo>
                      <a:pt x="3994" y="11970"/>
                    </a:moveTo>
                    <a:lnTo>
                      <a:pt x="27637" y="21546"/>
                    </a:lnTo>
                    <a:cubicBezTo>
                      <a:pt x="28276" y="21546"/>
                      <a:pt x="28914" y="22184"/>
                      <a:pt x="30192" y="22184"/>
                    </a:cubicBezTo>
                    <a:cubicBezTo>
                      <a:pt x="32748" y="22184"/>
                      <a:pt x="35304" y="20908"/>
                      <a:pt x="35943" y="18354"/>
                    </a:cubicBezTo>
                    <a:cubicBezTo>
                      <a:pt x="37222" y="15162"/>
                      <a:pt x="35943" y="11332"/>
                      <a:pt x="32109" y="10055"/>
                    </a:cubicBezTo>
                    <a:lnTo>
                      <a:pt x="8467" y="479"/>
                    </a:lnTo>
                    <a:cubicBezTo>
                      <a:pt x="5272" y="-798"/>
                      <a:pt x="1437" y="479"/>
                      <a:pt x="160" y="4309"/>
                    </a:cubicBezTo>
                    <a:cubicBezTo>
                      <a:pt x="-479" y="7501"/>
                      <a:pt x="799" y="10693"/>
                      <a:pt x="3994" y="11970"/>
                    </a:cubicBezTo>
                  </a:path>
                </a:pathLst>
              </a:custGeom>
              <a:grpFill/>
              <a:ln w="6390" cap="flat">
                <a:noFill/>
                <a:prstDash val="solid"/>
                <a:miter/>
              </a:ln>
            </p:spPr>
            <p:txBody>
              <a:bodyPr rtlCol="0" anchor="ctr"/>
              <a:lstStyle/>
              <a:p>
                <a:endParaRPr lang="en-US"/>
              </a:p>
            </p:txBody>
          </p:sp>
          <p:sp>
            <p:nvSpPr>
              <p:cNvPr id="1223" name="Graphic 4">
                <a:extLst>
                  <a:ext uri="{FF2B5EF4-FFF2-40B4-BE49-F238E27FC236}">
                    <a16:creationId xmlns:a16="http://schemas.microsoft.com/office/drawing/2014/main" id="{170E0CA9-8378-3606-98DC-BEA6316B143F}"/>
                  </a:ext>
                </a:extLst>
              </p:cNvPr>
              <p:cNvSpPr/>
              <p:nvPr/>
            </p:nvSpPr>
            <p:spPr>
              <a:xfrm>
                <a:off x="7901796" y="2468210"/>
                <a:ext cx="30671" cy="30643"/>
              </a:xfrm>
              <a:custGeom>
                <a:avLst/>
                <a:gdLst>
                  <a:gd name="connsiteX0" fmla="*/ 19808 w 30671"/>
                  <a:gd name="connsiteY0" fmla="*/ 28728 h 30643"/>
                  <a:gd name="connsiteX1" fmla="*/ 24282 w 30671"/>
                  <a:gd name="connsiteY1" fmla="*/ 30643 h 30643"/>
                  <a:gd name="connsiteX2" fmla="*/ 28755 w 30671"/>
                  <a:gd name="connsiteY2" fmla="*/ 28728 h 30643"/>
                  <a:gd name="connsiteX3" fmla="*/ 28755 w 30671"/>
                  <a:gd name="connsiteY3" fmla="*/ 19790 h 30643"/>
                  <a:gd name="connsiteX4" fmla="*/ 10863 w 30671"/>
                  <a:gd name="connsiteY4" fmla="*/ 1915 h 30643"/>
                  <a:gd name="connsiteX5" fmla="*/ 1917 w 30671"/>
                  <a:gd name="connsiteY5" fmla="*/ 1915 h 30643"/>
                  <a:gd name="connsiteX6" fmla="*/ 1917 w 30671"/>
                  <a:gd name="connsiteY6" fmla="*/ 10853 h 30643"/>
                  <a:gd name="connsiteX7" fmla="*/ 19808 w 30671"/>
                  <a:gd name="connsiteY7" fmla="*/ 28728 h 30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71" h="30643">
                    <a:moveTo>
                      <a:pt x="19808" y="28728"/>
                    </a:moveTo>
                    <a:cubicBezTo>
                      <a:pt x="21087" y="30005"/>
                      <a:pt x="23003" y="30643"/>
                      <a:pt x="24282" y="30643"/>
                    </a:cubicBezTo>
                    <a:cubicBezTo>
                      <a:pt x="26198" y="30643"/>
                      <a:pt x="27477" y="30005"/>
                      <a:pt x="28755" y="28728"/>
                    </a:cubicBezTo>
                    <a:cubicBezTo>
                      <a:pt x="31311" y="26174"/>
                      <a:pt x="31311" y="22344"/>
                      <a:pt x="28755" y="19790"/>
                    </a:cubicBezTo>
                    <a:lnTo>
                      <a:pt x="10863" y="1915"/>
                    </a:lnTo>
                    <a:cubicBezTo>
                      <a:pt x="8307" y="-638"/>
                      <a:pt x="4473" y="-638"/>
                      <a:pt x="1917" y="1915"/>
                    </a:cubicBezTo>
                    <a:cubicBezTo>
                      <a:pt x="-639" y="4469"/>
                      <a:pt x="-639" y="8299"/>
                      <a:pt x="1917" y="10853"/>
                    </a:cubicBezTo>
                    <a:lnTo>
                      <a:pt x="19808" y="28728"/>
                    </a:lnTo>
                    <a:close/>
                  </a:path>
                </a:pathLst>
              </a:custGeom>
              <a:grpFill/>
              <a:ln w="6390" cap="flat">
                <a:noFill/>
                <a:prstDash val="solid"/>
                <a:miter/>
              </a:ln>
            </p:spPr>
            <p:txBody>
              <a:bodyPr rtlCol="0" anchor="ctr"/>
              <a:lstStyle/>
              <a:p>
                <a:endParaRPr lang="en-US"/>
              </a:p>
            </p:txBody>
          </p:sp>
          <p:sp>
            <p:nvSpPr>
              <p:cNvPr id="1224" name="Graphic 4">
                <a:extLst>
                  <a:ext uri="{FF2B5EF4-FFF2-40B4-BE49-F238E27FC236}">
                    <a16:creationId xmlns:a16="http://schemas.microsoft.com/office/drawing/2014/main" id="{14CE0083-7D27-BEAB-0D0D-0854B07B1AE1}"/>
                  </a:ext>
                </a:extLst>
              </p:cNvPr>
              <p:cNvSpPr/>
              <p:nvPr/>
            </p:nvSpPr>
            <p:spPr>
              <a:xfrm>
                <a:off x="7935536" y="2444463"/>
                <a:ext cx="22616" cy="36514"/>
              </a:xfrm>
              <a:custGeom>
                <a:avLst/>
                <a:gdLst>
                  <a:gd name="connsiteX0" fmla="*/ 10350 w 22616"/>
                  <a:gd name="connsiteY0" fmla="*/ 32684 h 36514"/>
                  <a:gd name="connsiteX1" fmla="*/ 16101 w 22616"/>
                  <a:gd name="connsiteY1" fmla="*/ 36514 h 36514"/>
                  <a:gd name="connsiteX2" fmla="*/ 18657 w 22616"/>
                  <a:gd name="connsiteY2" fmla="*/ 35876 h 36514"/>
                  <a:gd name="connsiteX3" fmla="*/ 21852 w 22616"/>
                  <a:gd name="connsiteY3" fmla="*/ 27577 h 36514"/>
                  <a:gd name="connsiteX4" fmla="*/ 12267 w 22616"/>
                  <a:gd name="connsiteY4" fmla="*/ 3956 h 36514"/>
                  <a:gd name="connsiteX5" fmla="*/ 3960 w 22616"/>
                  <a:gd name="connsiteY5" fmla="*/ 764 h 36514"/>
                  <a:gd name="connsiteX6" fmla="*/ 765 w 22616"/>
                  <a:gd name="connsiteY6" fmla="*/ 9063 h 36514"/>
                  <a:gd name="connsiteX7" fmla="*/ 10350 w 22616"/>
                  <a:gd name="connsiteY7" fmla="*/ 32684 h 3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6" h="36514">
                    <a:moveTo>
                      <a:pt x="10350" y="32684"/>
                    </a:moveTo>
                    <a:cubicBezTo>
                      <a:pt x="11628" y="35238"/>
                      <a:pt x="13545" y="36514"/>
                      <a:pt x="16101" y="36514"/>
                    </a:cubicBezTo>
                    <a:cubicBezTo>
                      <a:pt x="16740" y="36514"/>
                      <a:pt x="18017" y="36514"/>
                      <a:pt x="18657" y="35876"/>
                    </a:cubicBezTo>
                    <a:cubicBezTo>
                      <a:pt x="21852" y="34599"/>
                      <a:pt x="23769" y="30769"/>
                      <a:pt x="21852" y="27577"/>
                    </a:cubicBezTo>
                    <a:lnTo>
                      <a:pt x="12267" y="3956"/>
                    </a:lnTo>
                    <a:cubicBezTo>
                      <a:pt x="10989" y="764"/>
                      <a:pt x="7155" y="-1151"/>
                      <a:pt x="3960" y="764"/>
                    </a:cubicBezTo>
                    <a:cubicBezTo>
                      <a:pt x="765" y="2041"/>
                      <a:pt x="-1152" y="5871"/>
                      <a:pt x="765" y="9063"/>
                    </a:cubicBezTo>
                    <a:lnTo>
                      <a:pt x="10350" y="32684"/>
                    </a:lnTo>
                    <a:close/>
                  </a:path>
                </a:pathLst>
              </a:custGeom>
              <a:grpFill/>
              <a:ln w="6390" cap="flat">
                <a:noFill/>
                <a:prstDash val="solid"/>
                <a:miter/>
              </a:ln>
            </p:spPr>
            <p:txBody>
              <a:bodyPr rtlCol="0" anchor="ctr"/>
              <a:lstStyle/>
              <a:p>
                <a:endParaRPr lang="en-US"/>
              </a:p>
            </p:txBody>
          </p:sp>
          <p:sp>
            <p:nvSpPr>
              <p:cNvPr id="1225" name="Graphic 4">
                <a:extLst>
                  <a:ext uri="{FF2B5EF4-FFF2-40B4-BE49-F238E27FC236}">
                    <a16:creationId xmlns:a16="http://schemas.microsoft.com/office/drawing/2014/main" id="{78CA3FA9-8F69-2B24-354F-775AA0AD0B4E}"/>
                  </a:ext>
                </a:extLst>
              </p:cNvPr>
              <p:cNvSpPr/>
              <p:nvPr/>
            </p:nvSpPr>
            <p:spPr>
              <a:xfrm>
                <a:off x="7976558" y="2436928"/>
                <a:ext cx="12779" cy="38303"/>
              </a:xfrm>
              <a:custGeom>
                <a:avLst/>
                <a:gdLst>
                  <a:gd name="connsiteX0" fmla="*/ 6390 w 12779"/>
                  <a:gd name="connsiteY0" fmla="*/ 38304 h 38303"/>
                  <a:gd name="connsiteX1" fmla="*/ 6390 w 12779"/>
                  <a:gd name="connsiteY1" fmla="*/ 38304 h 38303"/>
                  <a:gd name="connsiteX2" fmla="*/ 12780 w 12779"/>
                  <a:gd name="connsiteY2" fmla="*/ 31920 h 38303"/>
                  <a:gd name="connsiteX3" fmla="*/ 12780 w 12779"/>
                  <a:gd name="connsiteY3" fmla="*/ 6384 h 38303"/>
                  <a:gd name="connsiteX4" fmla="*/ 10863 w 12779"/>
                  <a:gd name="connsiteY4" fmla="*/ 1915 h 38303"/>
                  <a:gd name="connsiteX5" fmla="*/ 6390 w 12779"/>
                  <a:gd name="connsiteY5" fmla="*/ 0 h 38303"/>
                  <a:gd name="connsiteX6" fmla="*/ 0 w 12779"/>
                  <a:gd name="connsiteY6" fmla="*/ 6384 h 38303"/>
                  <a:gd name="connsiteX7" fmla="*/ 0 w 12779"/>
                  <a:gd name="connsiteY7" fmla="*/ 6384 h 38303"/>
                  <a:gd name="connsiteX8" fmla="*/ 0 w 12779"/>
                  <a:gd name="connsiteY8" fmla="*/ 31281 h 38303"/>
                  <a:gd name="connsiteX9" fmla="*/ 6390 w 12779"/>
                  <a:gd name="connsiteY9" fmla="*/ 38304 h 3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38303">
                    <a:moveTo>
                      <a:pt x="6390" y="38304"/>
                    </a:moveTo>
                    <a:lnTo>
                      <a:pt x="6390" y="38304"/>
                    </a:lnTo>
                    <a:cubicBezTo>
                      <a:pt x="10224" y="38304"/>
                      <a:pt x="12780" y="35750"/>
                      <a:pt x="12780" y="31920"/>
                    </a:cubicBezTo>
                    <a:lnTo>
                      <a:pt x="12780" y="6384"/>
                    </a:lnTo>
                    <a:cubicBezTo>
                      <a:pt x="12780" y="4469"/>
                      <a:pt x="12140" y="3192"/>
                      <a:pt x="10863" y="1915"/>
                    </a:cubicBezTo>
                    <a:cubicBezTo>
                      <a:pt x="9585" y="638"/>
                      <a:pt x="8306" y="0"/>
                      <a:pt x="6390" y="0"/>
                    </a:cubicBezTo>
                    <a:cubicBezTo>
                      <a:pt x="2555" y="0"/>
                      <a:pt x="0" y="2554"/>
                      <a:pt x="0" y="6384"/>
                    </a:cubicBezTo>
                    <a:cubicBezTo>
                      <a:pt x="0" y="6384"/>
                      <a:pt x="0" y="6384"/>
                      <a:pt x="0" y="6384"/>
                    </a:cubicBezTo>
                    <a:lnTo>
                      <a:pt x="0" y="31281"/>
                    </a:lnTo>
                    <a:cubicBezTo>
                      <a:pt x="0" y="35112"/>
                      <a:pt x="2555" y="38304"/>
                      <a:pt x="6390" y="38304"/>
                    </a:cubicBezTo>
                  </a:path>
                </a:pathLst>
              </a:custGeom>
              <a:grpFill/>
              <a:ln w="6390" cap="flat">
                <a:noFill/>
                <a:prstDash val="solid"/>
                <a:miter/>
              </a:ln>
            </p:spPr>
            <p:txBody>
              <a:bodyPr rtlCol="0" anchor="ctr"/>
              <a:lstStyle/>
              <a:p>
                <a:endParaRPr lang="en-US"/>
              </a:p>
            </p:txBody>
          </p:sp>
          <p:sp>
            <p:nvSpPr>
              <p:cNvPr id="1226" name="Graphic 4">
                <a:extLst>
                  <a:ext uri="{FF2B5EF4-FFF2-40B4-BE49-F238E27FC236}">
                    <a16:creationId xmlns:a16="http://schemas.microsoft.com/office/drawing/2014/main" id="{9E2AC8F6-127F-2327-783C-0B56297073F5}"/>
                  </a:ext>
                </a:extLst>
              </p:cNvPr>
              <p:cNvSpPr/>
              <p:nvPr/>
            </p:nvSpPr>
            <p:spPr>
              <a:xfrm>
                <a:off x="8032789" y="2468210"/>
                <a:ext cx="30671" cy="30643"/>
              </a:xfrm>
              <a:custGeom>
                <a:avLst/>
                <a:gdLst>
                  <a:gd name="connsiteX0" fmla="*/ 6390 w 30671"/>
                  <a:gd name="connsiteY0" fmla="*/ 30643 h 30643"/>
                  <a:gd name="connsiteX1" fmla="*/ 10863 w 30671"/>
                  <a:gd name="connsiteY1" fmla="*/ 28728 h 30643"/>
                  <a:gd name="connsiteX2" fmla="*/ 28755 w 30671"/>
                  <a:gd name="connsiteY2" fmla="*/ 10853 h 30643"/>
                  <a:gd name="connsiteX3" fmla="*/ 28755 w 30671"/>
                  <a:gd name="connsiteY3" fmla="*/ 1915 h 30643"/>
                  <a:gd name="connsiteX4" fmla="*/ 19808 w 30671"/>
                  <a:gd name="connsiteY4" fmla="*/ 1915 h 30643"/>
                  <a:gd name="connsiteX5" fmla="*/ 1917 w 30671"/>
                  <a:gd name="connsiteY5" fmla="*/ 19790 h 30643"/>
                  <a:gd name="connsiteX6" fmla="*/ 1917 w 30671"/>
                  <a:gd name="connsiteY6" fmla="*/ 28728 h 30643"/>
                  <a:gd name="connsiteX7" fmla="*/ 6390 w 30671"/>
                  <a:gd name="connsiteY7" fmla="*/ 30643 h 30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71" h="30643">
                    <a:moveTo>
                      <a:pt x="6390" y="30643"/>
                    </a:moveTo>
                    <a:cubicBezTo>
                      <a:pt x="8307" y="30643"/>
                      <a:pt x="9585" y="30005"/>
                      <a:pt x="10863" y="28728"/>
                    </a:cubicBezTo>
                    <a:lnTo>
                      <a:pt x="28755" y="10853"/>
                    </a:lnTo>
                    <a:cubicBezTo>
                      <a:pt x="31311" y="8299"/>
                      <a:pt x="31311" y="4469"/>
                      <a:pt x="28755" y="1915"/>
                    </a:cubicBezTo>
                    <a:cubicBezTo>
                      <a:pt x="26198" y="-638"/>
                      <a:pt x="22365" y="-638"/>
                      <a:pt x="19808" y="1915"/>
                    </a:cubicBezTo>
                    <a:lnTo>
                      <a:pt x="1917" y="19790"/>
                    </a:lnTo>
                    <a:cubicBezTo>
                      <a:pt x="-639" y="22344"/>
                      <a:pt x="-639" y="26174"/>
                      <a:pt x="1917" y="28728"/>
                    </a:cubicBezTo>
                    <a:cubicBezTo>
                      <a:pt x="3195" y="30005"/>
                      <a:pt x="5112" y="30643"/>
                      <a:pt x="6390" y="30643"/>
                    </a:cubicBezTo>
                  </a:path>
                </a:pathLst>
              </a:custGeom>
              <a:grpFill/>
              <a:ln w="6390" cap="flat">
                <a:noFill/>
                <a:prstDash val="solid"/>
                <a:miter/>
              </a:ln>
            </p:spPr>
            <p:txBody>
              <a:bodyPr rtlCol="0" anchor="ctr"/>
              <a:lstStyle/>
              <a:p>
                <a:endParaRPr lang="en-US"/>
              </a:p>
            </p:txBody>
          </p:sp>
          <p:sp>
            <p:nvSpPr>
              <p:cNvPr id="1227" name="Graphic 4">
                <a:extLst>
                  <a:ext uri="{FF2B5EF4-FFF2-40B4-BE49-F238E27FC236}">
                    <a16:creationId xmlns:a16="http://schemas.microsoft.com/office/drawing/2014/main" id="{E852B7A7-D76E-27F1-C73C-46CE4A168A86}"/>
                  </a:ext>
                </a:extLst>
              </p:cNvPr>
              <p:cNvSpPr/>
              <p:nvPr/>
            </p:nvSpPr>
            <p:spPr>
              <a:xfrm>
                <a:off x="8007104" y="2445376"/>
                <a:ext cx="22341" cy="36239"/>
              </a:xfrm>
              <a:custGeom>
                <a:avLst/>
                <a:gdLst>
                  <a:gd name="connsiteX0" fmla="*/ 3960 w 22341"/>
                  <a:gd name="connsiteY0" fmla="*/ 35601 h 36239"/>
                  <a:gd name="connsiteX1" fmla="*/ 6516 w 22341"/>
                  <a:gd name="connsiteY1" fmla="*/ 36240 h 36239"/>
                  <a:gd name="connsiteX2" fmla="*/ 12267 w 22341"/>
                  <a:gd name="connsiteY2" fmla="*/ 32409 h 36239"/>
                  <a:gd name="connsiteX3" fmla="*/ 21852 w 22341"/>
                  <a:gd name="connsiteY3" fmla="*/ 8788 h 36239"/>
                  <a:gd name="connsiteX4" fmla="*/ 18657 w 22341"/>
                  <a:gd name="connsiteY4" fmla="*/ 489 h 36239"/>
                  <a:gd name="connsiteX5" fmla="*/ 10350 w 22341"/>
                  <a:gd name="connsiteY5" fmla="*/ 3681 h 36239"/>
                  <a:gd name="connsiteX6" fmla="*/ 765 w 22341"/>
                  <a:gd name="connsiteY6" fmla="*/ 27302 h 36239"/>
                  <a:gd name="connsiteX7" fmla="*/ 3960 w 22341"/>
                  <a:gd name="connsiteY7" fmla="*/ 35601 h 36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1" h="36239">
                    <a:moveTo>
                      <a:pt x="3960" y="35601"/>
                    </a:moveTo>
                    <a:cubicBezTo>
                      <a:pt x="4599" y="36240"/>
                      <a:pt x="5877" y="36240"/>
                      <a:pt x="6516" y="36240"/>
                    </a:cubicBezTo>
                    <a:cubicBezTo>
                      <a:pt x="9072" y="36240"/>
                      <a:pt x="11628" y="34963"/>
                      <a:pt x="12267" y="32409"/>
                    </a:cubicBezTo>
                    <a:lnTo>
                      <a:pt x="21852" y="8788"/>
                    </a:lnTo>
                    <a:cubicBezTo>
                      <a:pt x="23129" y="5596"/>
                      <a:pt x="21852" y="1766"/>
                      <a:pt x="18657" y="489"/>
                    </a:cubicBezTo>
                    <a:cubicBezTo>
                      <a:pt x="15462" y="-788"/>
                      <a:pt x="11628" y="489"/>
                      <a:pt x="10350" y="3681"/>
                    </a:cubicBezTo>
                    <a:lnTo>
                      <a:pt x="765" y="27302"/>
                    </a:lnTo>
                    <a:cubicBezTo>
                      <a:pt x="-1152" y="30494"/>
                      <a:pt x="765" y="34324"/>
                      <a:pt x="3960" y="35601"/>
                    </a:cubicBezTo>
                  </a:path>
                </a:pathLst>
              </a:custGeom>
              <a:grpFill/>
              <a:ln w="6390" cap="flat">
                <a:noFill/>
                <a:prstDash val="solid"/>
                <a:miter/>
              </a:ln>
            </p:spPr>
            <p:txBody>
              <a:bodyPr rtlCol="0" anchor="ctr"/>
              <a:lstStyle/>
              <a:p>
                <a:endParaRPr lang="en-US"/>
              </a:p>
            </p:txBody>
          </p:sp>
          <p:sp>
            <p:nvSpPr>
              <p:cNvPr id="1228" name="Graphic 4">
                <a:extLst>
                  <a:ext uri="{FF2B5EF4-FFF2-40B4-BE49-F238E27FC236}">
                    <a16:creationId xmlns:a16="http://schemas.microsoft.com/office/drawing/2014/main" id="{BE7BE7B4-854C-0207-7105-88D179E836A8}"/>
                  </a:ext>
                </a:extLst>
              </p:cNvPr>
              <p:cNvSpPr/>
              <p:nvPr/>
            </p:nvSpPr>
            <p:spPr>
              <a:xfrm>
                <a:off x="8050274" y="2501919"/>
                <a:ext cx="36316" cy="22469"/>
              </a:xfrm>
              <a:custGeom>
                <a:avLst/>
                <a:gdLst>
                  <a:gd name="connsiteX0" fmla="*/ 407 w 36316"/>
                  <a:gd name="connsiteY0" fmla="*/ 18639 h 22469"/>
                  <a:gd name="connsiteX1" fmla="*/ 6158 w 36316"/>
                  <a:gd name="connsiteY1" fmla="*/ 22470 h 22469"/>
                  <a:gd name="connsiteX2" fmla="*/ 8713 w 36316"/>
                  <a:gd name="connsiteY2" fmla="*/ 21831 h 22469"/>
                  <a:gd name="connsiteX3" fmla="*/ 32357 w 36316"/>
                  <a:gd name="connsiteY3" fmla="*/ 12255 h 22469"/>
                  <a:gd name="connsiteX4" fmla="*/ 35552 w 36316"/>
                  <a:gd name="connsiteY4" fmla="*/ 3956 h 22469"/>
                  <a:gd name="connsiteX5" fmla="*/ 27244 w 36316"/>
                  <a:gd name="connsiteY5" fmla="*/ 764 h 22469"/>
                  <a:gd name="connsiteX6" fmla="*/ 3602 w 36316"/>
                  <a:gd name="connsiteY6" fmla="*/ 10340 h 22469"/>
                  <a:gd name="connsiteX7" fmla="*/ 407 w 36316"/>
                  <a:gd name="connsiteY7" fmla="*/ 18639 h 2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16" h="22469">
                    <a:moveTo>
                      <a:pt x="407" y="18639"/>
                    </a:moveTo>
                    <a:cubicBezTo>
                      <a:pt x="1685" y="21193"/>
                      <a:pt x="3602" y="22470"/>
                      <a:pt x="6158" y="22470"/>
                    </a:cubicBezTo>
                    <a:cubicBezTo>
                      <a:pt x="6797" y="22470"/>
                      <a:pt x="8075" y="22470"/>
                      <a:pt x="8713" y="21831"/>
                    </a:cubicBezTo>
                    <a:lnTo>
                      <a:pt x="32357" y="12255"/>
                    </a:lnTo>
                    <a:cubicBezTo>
                      <a:pt x="35552" y="10979"/>
                      <a:pt x="37468" y="7148"/>
                      <a:pt x="35552" y="3956"/>
                    </a:cubicBezTo>
                    <a:cubicBezTo>
                      <a:pt x="34273" y="764"/>
                      <a:pt x="30439" y="-1151"/>
                      <a:pt x="27244" y="764"/>
                    </a:cubicBezTo>
                    <a:lnTo>
                      <a:pt x="3602" y="10340"/>
                    </a:lnTo>
                    <a:cubicBezTo>
                      <a:pt x="1046" y="11617"/>
                      <a:pt x="-871" y="15447"/>
                      <a:pt x="407" y="18639"/>
                    </a:cubicBezTo>
                  </a:path>
                </a:pathLst>
              </a:custGeom>
              <a:grpFill/>
              <a:ln w="6390" cap="flat">
                <a:noFill/>
                <a:prstDash val="solid"/>
                <a:miter/>
              </a:ln>
            </p:spPr>
            <p:txBody>
              <a:bodyPr rtlCol="0" anchor="ctr"/>
              <a:lstStyle/>
              <a:p>
                <a:endParaRPr lang="en-US"/>
              </a:p>
            </p:txBody>
          </p:sp>
          <p:sp>
            <p:nvSpPr>
              <p:cNvPr id="1229" name="Graphic 4">
                <a:extLst>
                  <a:ext uri="{FF2B5EF4-FFF2-40B4-BE49-F238E27FC236}">
                    <a16:creationId xmlns:a16="http://schemas.microsoft.com/office/drawing/2014/main" id="{84874499-75C1-6ECA-A30C-1DAF2CBD037D}"/>
                  </a:ext>
                </a:extLst>
              </p:cNvPr>
              <p:cNvSpPr/>
              <p:nvPr/>
            </p:nvSpPr>
            <p:spPr>
              <a:xfrm>
                <a:off x="8056433" y="2542264"/>
                <a:ext cx="38339" cy="12767"/>
              </a:xfrm>
              <a:custGeom>
                <a:avLst/>
                <a:gdLst>
                  <a:gd name="connsiteX0" fmla="*/ 31950 w 38339"/>
                  <a:gd name="connsiteY0" fmla="*/ 0 h 12767"/>
                  <a:gd name="connsiteX1" fmla="*/ 6390 w 38339"/>
                  <a:gd name="connsiteY1" fmla="*/ 0 h 12767"/>
                  <a:gd name="connsiteX2" fmla="*/ 0 w 38339"/>
                  <a:gd name="connsiteY2" fmla="*/ 6384 h 12767"/>
                  <a:gd name="connsiteX3" fmla="*/ 6390 w 38339"/>
                  <a:gd name="connsiteY3" fmla="*/ 12768 h 12767"/>
                  <a:gd name="connsiteX4" fmla="*/ 31950 w 38339"/>
                  <a:gd name="connsiteY4" fmla="*/ 12768 h 12767"/>
                  <a:gd name="connsiteX5" fmla="*/ 38340 w 38339"/>
                  <a:gd name="connsiteY5" fmla="*/ 6384 h 12767"/>
                  <a:gd name="connsiteX6" fmla="*/ 31950 w 38339"/>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39" h="12767">
                    <a:moveTo>
                      <a:pt x="31950" y="0"/>
                    </a:moveTo>
                    <a:lnTo>
                      <a:pt x="6390" y="0"/>
                    </a:lnTo>
                    <a:cubicBezTo>
                      <a:pt x="2555" y="0"/>
                      <a:pt x="0" y="2554"/>
                      <a:pt x="0" y="6384"/>
                    </a:cubicBezTo>
                    <a:cubicBezTo>
                      <a:pt x="0" y="10214"/>
                      <a:pt x="2555" y="12768"/>
                      <a:pt x="6390" y="12768"/>
                    </a:cubicBezTo>
                    <a:lnTo>
                      <a:pt x="31950" y="12768"/>
                    </a:lnTo>
                    <a:cubicBezTo>
                      <a:pt x="35783" y="12768"/>
                      <a:pt x="38340" y="10214"/>
                      <a:pt x="38340" y="6384"/>
                    </a:cubicBezTo>
                    <a:cubicBezTo>
                      <a:pt x="38340" y="3192"/>
                      <a:pt x="35145" y="0"/>
                      <a:pt x="31950" y="0"/>
                    </a:cubicBezTo>
                  </a:path>
                </a:pathLst>
              </a:custGeom>
              <a:grpFill/>
              <a:ln w="6390" cap="flat">
                <a:noFill/>
                <a:prstDash val="solid"/>
                <a:miter/>
              </a:ln>
            </p:spPr>
            <p:txBody>
              <a:bodyPr rtlCol="0" anchor="ctr"/>
              <a:lstStyle/>
              <a:p>
                <a:endParaRPr lang="en-US"/>
              </a:p>
            </p:txBody>
          </p:sp>
          <p:sp>
            <p:nvSpPr>
              <p:cNvPr id="1230" name="Graphic 4">
                <a:extLst>
                  <a:ext uri="{FF2B5EF4-FFF2-40B4-BE49-F238E27FC236}">
                    <a16:creationId xmlns:a16="http://schemas.microsoft.com/office/drawing/2014/main" id="{A3D4A5C1-0C0E-A69D-93C6-602AF0CCBE21}"/>
                  </a:ext>
                </a:extLst>
              </p:cNvPr>
              <p:cNvSpPr/>
              <p:nvPr/>
            </p:nvSpPr>
            <p:spPr>
              <a:xfrm>
                <a:off x="8056581" y="2575610"/>
                <a:ext cx="30009" cy="19641"/>
              </a:xfrm>
              <a:custGeom>
                <a:avLst/>
                <a:gdLst>
                  <a:gd name="connsiteX0" fmla="*/ 26050 w 30009"/>
                  <a:gd name="connsiteY0" fmla="*/ 7512 h 19641"/>
                  <a:gd name="connsiteX1" fmla="*/ 8796 w 30009"/>
                  <a:gd name="connsiteY1" fmla="*/ 489 h 19641"/>
                  <a:gd name="connsiteX2" fmla="*/ 490 w 30009"/>
                  <a:gd name="connsiteY2" fmla="*/ 3681 h 19641"/>
                  <a:gd name="connsiteX3" fmla="*/ 3685 w 30009"/>
                  <a:gd name="connsiteY3" fmla="*/ 11981 h 19641"/>
                  <a:gd name="connsiteX4" fmla="*/ 20937 w 30009"/>
                  <a:gd name="connsiteY4" fmla="*/ 19003 h 19641"/>
                  <a:gd name="connsiteX5" fmla="*/ 23494 w 30009"/>
                  <a:gd name="connsiteY5" fmla="*/ 19641 h 19641"/>
                  <a:gd name="connsiteX6" fmla="*/ 29245 w 30009"/>
                  <a:gd name="connsiteY6" fmla="*/ 15811 h 19641"/>
                  <a:gd name="connsiteX7" fmla="*/ 26050 w 30009"/>
                  <a:gd name="connsiteY7" fmla="*/ 7512 h 1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09" h="19641">
                    <a:moveTo>
                      <a:pt x="26050" y="7512"/>
                    </a:moveTo>
                    <a:lnTo>
                      <a:pt x="8796" y="489"/>
                    </a:lnTo>
                    <a:cubicBezTo>
                      <a:pt x="5601" y="-787"/>
                      <a:pt x="1768" y="489"/>
                      <a:pt x="490" y="3681"/>
                    </a:cubicBezTo>
                    <a:cubicBezTo>
                      <a:pt x="-789" y="6873"/>
                      <a:pt x="490" y="10704"/>
                      <a:pt x="3685" y="11981"/>
                    </a:cubicBezTo>
                    <a:lnTo>
                      <a:pt x="20937" y="19003"/>
                    </a:lnTo>
                    <a:cubicBezTo>
                      <a:pt x="21576" y="19641"/>
                      <a:pt x="22855" y="19641"/>
                      <a:pt x="23494" y="19641"/>
                    </a:cubicBezTo>
                    <a:cubicBezTo>
                      <a:pt x="26050" y="19641"/>
                      <a:pt x="28606" y="18364"/>
                      <a:pt x="29245" y="15811"/>
                    </a:cubicBezTo>
                    <a:cubicBezTo>
                      <a:pt x="31161" y="12619"/>
                      <a:pt x="29245" y="8789"/>
                      <a:pt x="26050" y="7512"/>
                    </a:cubicBezTo>
                  </a:path>
                </a:pathLst>
              </a:custGeom>
              <a:grpFill/>
              <a:ln w="6390" cap="flat">
                <a:noFill/>
                <a:prstDash val="solid"/>
                <a:miter/>
              </a:ln>
            </p:spPr>
            <p:txBody>
              <a:bodyPr rtlCol="0" anchor="ctr"/>
              <a:lstStyle/>
              <a:p>
                <a:endParaRPr lang="en-US"/>
              </a:p>
            </p:txBody>
          </p:sp>
          <p:sp>
            <p:nvSpPr>
              <p:cNvPr id="1231" name="Graphic 4">
                <a:extLst>
                  <a:ext uri="{FF2B5EF4-FFF2-40B4-BE49-F238E27FC236}">
                    <a16:creationId xmlns:a16="http://schemas.microsoft.com/office/drawing/2014/main" id="{5096F130-E6BA-479D-0A31-471811D5138E}"/>
                  </a:ext>
                </a:extLst>
              </p:cNvPr>
              <p:cNvSpPr/>
              <p:nvPr/>
            </p:nvSpPr>
            <p:spPr>
              <a:xfrm>
                <a:off x="7878666" y="2575973"/>
                <a:ext cx="30284" cy="19916"/>
              </a:xfrm>
              <a:custGeom>
                <a:avLst/>
                <a:gdLst>
                  <a:gd name="connsiteX0" fmla="*/ 29519 w 30284"/>
                  <a:gd name="connsiteY0" fmla="*/ 3956 h 19916"/>
                  <a:gd name="connsiteX1" fmla="*/ 21213 w 30284"/>
                  <a:gd name="connsiteY1" fmla="*/ 764 h 19916"/>
                  <a:gd name="connsiteX2" fmla="*/ 3960 w 30284"/>
                  <a:gd name="connsiteY2" fmla="*/ 7787 h 19916"/>
                  <a:gd name="connsiteX3" fmla="*/ 765 w 30284"/>
                  <a:gd name="connsiteY3" fmla="*/ 16086 h 19916"/>
                  <a:gd name="connsiteX4" fmla="*/ 6516 w 30284"/>
                  <a:gd name="connsiteY4" fmla="*/ 19916 h 19916"/>
                  <a:gd name="connsiteX5" fmla="*/ 9072 w 30284"/>
                  <a:gd name="connsiteY5" fmla="*/ 19278 h 19916"/>
                  <a:gd name="connsiteX6" fmla="*/ 26324 w 30284"/>
                  <a:gd name="connsiteY6" fmla="*/ 12255 h 19916"/>
                  <a:gd name="connsiteX7" fmla="*/ 29519 w 30284"/>
                  <a:gd name="connsiteY7" fmla="*/ 3956 h 19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84" h="19916">
                    <a:moveTo>
                      <a:pt x="29519" y="3956"/>
                    </a:moveTo>
                    <a:cubicBezTo>
                      <a:pt x="28242" y="764"/>
                      <a:pt x="24408" y="-1151"/>
                      <a:pt x="21213" y="764"/>
                    </a:cubicBezTo>
                    <a:lnTo>
                      <a:pt x="3960" y="7787"/>
                    </a:lnTo>
                    <a:cubicBezTo>
                      <a:pt x="765" y="9063"/>
                      <a:pt x="-1152" y="12894"/>
                      <a:pt x="765" y="16086"/>
                    </a:cubicBezTo>
                    <a:cubicBezTo>
                      <a:pt x="2043" y="18639"/>
                      <a:pt x="3960" y="19916"/>
                      <a:pt x="6516" y="19916"/>
                    </a:cubicBezTo>
                    <a:cubicBezTo>
                      <a:pt x="7155" y="19916"/>
                      <a:pt x="8433" y="19916"/>
                      <a:pt x="9072" y="19278"/>
                    </a:cubicBezTo>
                    <a:lnTo>
                      <a:pt x="26324" y="12255"/>
                    </a:lnTo>
                    <a:cubicBezTo>
                      <a:pt x="29519" y="10340"/>
                      <a:pt x="31437" y="7148"/>
                      <a:pt x="29519" y="3956"/>
                    </a:cubicBezTo>
                  </a:path>
                </a:pathLst>
              </a:custGeom>
              <a:grpFill/>
              <a:ln w="6390" cap="flat">
                <a:noFill/>
                <a:prstDash val="solid"/>
                <a:miter/>
              </a:ln>
            </p:spPr>
            <p:txBody>
              <a:bodyPr rtlCol="0" anchor="ctr"/>
              <a:lstStyle/>
              <a:p>
                <a:endParaRPr lang="en-US"/>
              </a:p>
            </p:txBody>
          </p:sp>
        </p:grpSp>
        <p:grpSp>
          <p:nvGrpSpPr>
            <p:cNvPr id="1232" name="Graphic 4">
              <a:extLst>
                <a:ext uri="{FF2B5EF4-FFF2-40B4-BE49-F238E27FC236}">
                  <a16:creationId xmlns:a16="http://schemas.microsoft.com/office/drawing/2014/main" id="{044C5487-6084-9646-F798-D034721B50ED}"/>
                </a:ext>
              </a:extLst>
            </p:cNvPr>
            <p:cNvGrpSpPr>
              <a:grpSpLocks noChangeAspect="1"/>
            </p:cNvGrpSpPr>
            <p:nvPr/>
          </p:nvGrpSpPr>
          <p:grpSpPr>
            <a:xfrm>
              <a:off x="5921179" y="6007270"/>
              <a:ext cx="224562" cy="241198"/>
              <a:chOff x="2647350" y="2451611"/>
              <a:chExt cx="187225" cy="201096"/>
            </a:xfrm>
            <a:solidFill>
              <a:schemeClr val="bg1"/>
            </a:solidFill>
          </p:grpSpPr>
          <p:sp>
            <p:nvSpPr>
              <p:cNvPr id="1233" name="Graphic 4">
                <a:extLst>
                  <a:ext uri="{FF2B5EF4-FFF2-40B4-BE49-F238E27FC236}">
                    <a16:creationId xmlns:a16="http://schemas.microsoft.com/office/drawing/2014/main" id="{65CCD419-F75F-67E3-CC0C-AF0BA2C4CE8E}"/>
                  </a:ext>
                </a:extLst>
              </p:cNvPr>
              <p:cNvSpPr/>
              <p:nvPr/>
            </p:nvSpPr>
            <p:spPr>
              <a:xfrm>
                <a:off x="2709972" y="2639939"/>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p>
            </p:txBody>
          </p:sp>
          <p:sp>
            <p:nvSpPr>
              <p:cNvPr id="1234" name="Graphic 4">
                <a:extLst>
                  <a:ext uri="{FF2B5EF4-FFF2-40B4-BE49-F238E27FC236}">
                    <a16:creationId xmlns:a16="http://schemas.microsoft.com/office/drawing/2014/main" id="{4B2D88B4-86A5-47D5-7BBE-43D86E77E2BD}"/>
                  </a:ext>
                </a:extLst>
              </p:cNvPr>
              <p:cNvSpPr/>
              <p:nvPr/>
            </p:nvSpPr>
            <p:spPr>
              <a:xfrm>
                <a:off x="2709972" y="2570992"/>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p>
            </p:txBody>
          </p:sp>
          <p:sp>
            <p:nvSpPr>
              <p:cNvPr id="1235" name="Graphic 4">
                <a:extLst>
                  <a:ext uri="{FF2B5EF4-FFF2-40B4-BE49-F238E27FC236}">
                    <a16:creationId xmlns:a16="http://schemas.microsoft.com/office/drawing/2014/main" id="{970D2060-D8CB-3D2D-3BF6-C88CBC909B0A}"/>
                  </a:ext>
                </a:extLst>
              </p:cNvPr>
              <p:cNvSpPr/>
              <p:nvPr/>
            </p:nvSpPr>
            <p:spPr>
              <a:xfrm>
                <a:off x="2709972" y="2502683"/>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p>
            </p:txBody>
          </p:sp>
          <p:sp>
            <p:nvSpPr>
              <p:cNvPr id="1236" name="Graphic 4">
                <a:extLst>
                  <a:ext uri="{FF2B5EF4-FFF2-40B4-BE49-F238E27FC236}">
                    <a16:creationId xmlns:a16="http://schemas.microsoft.com/office/drawing/2014/main" id="{BDD3F8D4-D17B-B973-53E0-EBBD27473279}"/>
                  </a:ext>
                </a:extLst>
              </p:cNvPr>
              <p:cNvSpPr/>
              <p:nvPr/>
            </p:nvSpPr>
            <p:spPr>
              <a:xfrm>
                <a:off x="2647350" y="2451611"/>
                <a:ext cx="78045" cy="63839"/>
              </a:xfrm>
              <a:custGeom>
                <a:avLst/>
                <a:gdLst>
                  <a:gd name="connsiteX0" fmla="*/ 15975 w 78045"/>
                  <a:gd name="connsiteY0" fmla="*/ 63840 h 63839"/>
                  <a:gd name="connsiteX1" fmla="*/ 39618 w 78045"/>
                  <a:gd name="connsiteY1" fmla="*/ 63840 h 63839"/>
                  <a:gd name="connsiteX2" fmla="*/ 55593 w 78045"/>
                  <a:gd name="connsiteY2" fmla="*/ 47880 h 63839"/>
                  <a:gd name="connsiteX3" fmla="*/ 55593 w 78045"/>
                  <a:gd name="connsiteY3" fmla="*/ 30005 h 63839"/>
                  <a:gd name="connsiteX4" fmla="*/ 76040 w 78045"/>
                  <a:gd name="connsiteY4" fmla="*/ 10853 h 63839"/>
                  <a:gd name="connsiteX5" fmla="*/ 76679 w 78045"/>
                  <a:gd name="connsiteY5" fmla="*/ 1915 h 63839"/>
                  <a:gd name="connsiteX6" fmla="*/ 76679 w 78045"/>
                  <a:gd name="connsiteY6" fmla="*/ 1915 h 63839"/>
                  <a:gd name="connsiteX7" fmla="*/ 67733 w 78045"/>
                  <a:gd name="connsiteY7" fmla="*/ 1915 h 63839"/>
                  <a:gd name="connsiteX8" fmla="*/ 51759 w 78045"/>
                  <a:gd name="connsiteY8" fmla="*/ 16598 h 63839"/>
                  <a:gd name="connsiteX9" fmla="*/ 39618 w 78045"/>
                  <a:gd name="connsiteY9" fmla="*/ 10853 h 63839"/>
                  <a:gd name="connsiteX10" fmla="*/ 15975 w 78045"/>
                  <a:gd name="connsiteY10" fmla="*/ 10853 h 63839"/>
                  <a:gd name="connsiteX11" fmla="*/ 0 w 78045"/>
                  <a:gd name="connsiteY11" fmla="*/ 26813 h 63839"/>
                  <a:gd name="connsiteX12" fmla="*/ 0 w 78045"/>
                  <a:gd name="connsiteY12" fmla="*/ 48518 h 63839"/>
                  <a:gd name="connsiteX13" fmla="*/ 15975 w 78045"/>
                  <a:gd name="connsiteY13" fmla="*/ 63840 h 63839"/>
                  <a:gd name="connsiteX14" fmla="*/ 15975 w 78045"/>
                  <a:gd name="connsiteY14" fmla="*/ 63840 h 63839"/>
                  <a:gd name="connsiteX15" fmla="*/ 42813 w 78045"/>
                  <a:gd name="connsiteY15" fmla="*/ 47880 h 63839"/>
                  <a:gd name="connsiteX16" fmla="*/ 39618 w 78045"/>
                  <a:gd name="connsiteY16" fmla="*/ 51072 h 63839"/>
                  <a:gd name="connsiteX17" fmla="*/ 15975 w 78045"/>
                  <a:gd name="connsiteY17" fmla="*/ 51072 h 63839"/>
                  <a:gd name="connsiteX18" fmla="*/ 12780 w 78045"/>
                  <a:gd name="connsiteY18" fmla="*/ 47880 h 63839"/>
                  <a:gd name="connsiteX19" fmla="*/ 12780 w 78045"/>
                  <a:gd name="connsiteY19" fmla="*/ 37027 h 63839"/>
                  <a:gd name="connsiteX20" fmla="*/ 25560 w 78045"/>
                  <a:gd name="connsiteY20" fmla="*/ 49157 h 63839"/>
                  <a:gd name="connsiteX21" fmla="*/ 30033 w 78045"/>
                  <a:gd name="connsiteY21" fmla="*/ 51072 h 63839"/>
                  <a:gd name="connsiteX22" fmla="*/ 34506 w 78045"/>
                  <a:gd name="connsiteY22" fmla="*/ 49157 h 63839"/>
                  <a:gd name="connsiteX23" fmla="*/ 42174 w 78045"/>
                  <a:gd name="connsiteY23" fmla="*/ 42134 h 63839"/>
                  <a:gd name="connsiteX24" fmla="*/ 42174 w 78045"/>
                  <a:gd name="connsiteY24" fmla="*/ 47880 h 63839"/>
                  <a:gd name="connsiteX25" fmla="*/ 15975 w 78045"/>
                  <a:gd name="connsiteY25" fmla="*/ 23621 h 63839"/>
                  <a:gd name="connsiteX26" fmla="*/ 39618 w 78045"/>
                  <a:gd name="connsiteY26" fmla="*/ 23621 h 63839"/>
                  <a:gd name="connsiteX27" fmla="*/ 42174 w 78045"/>
                  <a:gd name="connsiteY27" fmla="*/ 24897 h 63839"/>
                  <a:gd name="connsiteX28" fmla="*/ 30672 w 78045"/>
                  <a:gd name="connsiteY28" fmla="*/ 35750 h 63839"/>
                  <a:gd name="connsiteX29" fmla="*/ 21087 w 78045"/>
                  <a:gd name="connsiteY29" fmla="*/ 26813 h 63839"/>
                  <a:gd name="connsiteX30" fmla="*/ 13419 w 78045"/>
                  <a:gd name="connsiteY30" fmla="*/ 26174 h 63839"/>
                  <a:gd name="connsiteX31" fmla="*/ 13419 w 78045"/>
                  <a:gd name="connsiteY31" fmla="*/ 26174 h 63839"/>
                  <a:gd name="connsiteX32" fmla="*/ 15975 w 78045"/>
                  <a:gd name="connsiteY32" fmla="*/ 23621 h 63839"/>
                  <a:gd name="connsiteX33" fmla="*/ 15975 w 78045"/>
                  <a:gd name="connsiteY33" fmla="*/ 23621 h 63839"/>
                  <a:gd name="connsiteX34" fmla="*/ 15975 w 78045"/>
                  <a:gd name="connsiteY34" fmla="*/ 23621 h 6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045" h="63839">
                    <a:moveTo>
                      <a:pt x="15975" y="63840"/>
                    </a:moveTo>
                    <a:lnTo>
                      <a:pt x="39618" y="63840"/>
                    </a:lnTo>
                    <a:cubicBezTo>
                      <a:pt x="48564" y="63840"/>
                      <a:pt x="55593" y="56817"/>
                      <a:pt x="55593" y="47880"/>
                    </a:cubicBezTo>
                    <a:lnTo>
                      <a:pt x="55593" y="30005"/>
                    </a:lnTo>
                    <a:lnTo>
                      <a:pt x="76040" y="10853"/>
                    </a:lnTo>
                    <a:cubicBezTo>
                      <a:pt x="78596" y="8299"/>
                      <a:pt x="78596" y="4469"/>
                      <a:pt x="76679" y="1915"/>
                    </a:cubicBezTo>
                    <a:cubicBezTo>
                      <a:pt x="76679" y="1915"/>
                      <a:pt x="76679" y="1915"/>
                      <a:pt x="76679" y="1915"/>
                    </a:cubicBezTo>
                    <a:cubicBezTo>
                      <a:pt x="74123" y="-638"/>
                      <a:pt x="70289" y="-638"/>
                      <a:pt x="67733" y="1915"/>
                    </a:cubicBezTo>
                    <a:lnTo>
                      <a:pt x="51759" y="16598"/>
                    </a:lnTo>
                    <a:cubicBezTo>
                      <a:pt x="48564" y="12768"/>
                      <a:pt x="44730" y="10853"/>
                      <a:pt x="39618" y="10853"/>
                    </a:cubicBezTo>
                    <a:lnTo>
                      <a:pt x="15975" y="10853"/>
                    </a:lnTo>
                    <a:cubicBezTo>
                      <a:pt x="7029" y="10853"/>
                      <a:pt x="0" y="17875"/>
                      <a:pt x="0" y="26813"/>
                    </a:cubicBezTo>
                    <a:lnTo>
                      <a:pt x="0" y="48518"/>
                    </a:lnTo>
                    <a:cubicBezTo>
                      <a:pt x="639" y="56817"/>
                      <a:pt x="7668" y="63840"/>
                      <a:pt x="15975" y="63840"/>
                    </a:cubicBezTo>
                    <a:lnTo>
                      <a:pt x="15975" y="63840"/>
                    </a:lnTo>
                    <a:close/>
                    <a:moveTo>
                      <a:pt x="42813" y="47880"/>
                    </a:moveTo>
                    <a:cubicBezTo>
                      <a:pt x="42813" y="49795"/>
                      <a:pt x="41535" y="51072"/>
                      <a:pt x="39618" y="51072"/>
                    </a:cubicBezTo>
                    <a:lnTo>
                      <a:pt x="15975" y="51072"/>
                    </a:lnTo>
                    <a:cubicBezTo>
                      <a:pt x="14058" y="51072"/>
                      <a:pt x="12780" y="49795"/>
                      <a:pt x="12780" y="47880"/>
                    </a:cubicBezTo>
                    <a:lnTo>
                      <a:pt x="12780" y="37027"/>
                    </a:lnTo>
                    <a:lnTo>
                      <a:pt x="25560" y="49157"/>
                    </a:lnTo>
                    <a:cubicBezTo>
                      <a:pt x="26838" y="50433"/>
                      <a:pt x="28116" y="51072"/>
                      <a:pt x="30033" y="51072"/>
                    </a:cubicBezTo>
                    <a:cubicBezTo>
                      <a:pt x="31950" y="51072"/>
                      <a:pt x="33228" y="50433"/>
                      <a:pt x="34506" y="49157"/>
                    </a:cubicBezTo>
                    <a:lnTo>
                      <a:pt x="42174" y="42134"/>
                    </a:lnTo>
                    <a:lnTo>
                      <a:pt x="42174" y="47880"/>
                    </a:lnTo>
                    <a:close/>
                    <a:moveTo>
                      <a:pt x="15975" y="23621"/>
                    </a:moveTo>
                    <a:lnTo>
                      <a:pt x="39618" y="23621"/>
                    </a:lnTo>
                    <a:cubicBezTo>
                      <a:pt x="40896" y="23621"/>
                      <a:pt x="41535" y="24259"/>
                      <a:pt x="42174" y="24897"/>
                    </a:cubicBezTo>
                    <a:lnTo>
                      <a:pt x="30672" y="35750"/>
                    </a:lnTo>
                    <a:lnTo>
                      <a:pt x="21087" y="26813"/>
                    </a:lnTo>
                    <a:cubicBezTo>
                      <a:pt x="19170" y="24897"/>
                      <a:pt x="15336" y="24897"/>
                      <a:pt x="13419" y="26174"/>
                    </a:cubicBezTo>
                    <a:lnTo>
                      <a:pt x="13419" y="26174"/>
                    </a:lnTo>
                    <a:cubicBezTo>
                      <a:pt x="13419" y="24897"/>
                      <a:pt x="14697" y="23621"/>
                      <a:pt x="15975" y="23621"/>
                    </a:cubicBezTo>
                    <a:cubicBezTo>
                      <a:pt x="15975" y="23621"/>
                      <a:pt x="15975" y="23621"/>
                      <a:pt x="15975" y="23621"/>
                    </a:cubicBezTo>
                    <a:lnTo>
                      <a:pt x="15975" y="23621"/>
                    </a:lnTo>
                    <a:close/>
                  </a:path>
                </a:pathLst>
              </a:custGeom>
              <a:grpFill/>
              <a:ln w="6390" cap="flat">
                <a:noFill/>
                <a:prstDash val="solid"/>
                <a:miter/>
              </a:ln>
            </p:spPr>
            <p:txBody>
              <a:bodyPr rtlCol="0" anchor="ctr"/>
              <a:lstStyle/>
              <a:p>
                <a:endParaRPr lang="en-US"/>
              </a:p>
            </p:txBody>
          </p:sp>
          <p:sp>
            <p:nvSpPr>
              <p:cNvPr id="1237" name="Graphic 4">
                <a:extLst>
                  <a:ext uri="{FF2B5EF4-FFF2-40B4-BE49-F238E27FC236}">
                    <a16:creationId xmlns:a16="http://schemas.microsoft.com/office/drawing/2014/main" id="{1799AA19-BD50-434A-57E1-0F17FDA4EF6B}"/>
                  </a:ext>
                </a:extLst>
              </p:cNvPr>
              <p:cNvSpPr/>
              <p:nvPr/>
            </p:nvSpPr>
            <p:spPr>
              <a:xfrm>
                <a:off x="2647350" y="2519832"/>
                <a:ext cx="78045" cy="63928"/>
              </a:xfrm>
              <a:custGeom>
                <a:avLst/>
                <a:gdLst>
                  <a:gd name="connsiteX0" fmla="*/ 15975 w 78045"/>
                  <a:gd name="connsiteY0" fmla="*/ 63928 h 63928"/>
                  <a:gd name="connsiteX1" fmla="*/ 39618 w 78045"/>
                  <a:gd name="connsiteY1" fmla="*/ 63928 h 63928"/>
                  <a:gd name="connsiteX2" fmla="*/ 55593 w 78045"/>
                  <a:gd name="connsiteY2" fmla="*/ 47968 h 63928"/>
                  <a:gd name="connsiteX3" fmla="*/ 55593 w 78045"/>
                  <a:gd name="connsiteY3" fmla="*/ 30093 h 63928"/>
                  <a:gd name="connsiteX4" fmla="*/ 76040 w 78045"/>
                  <a:gd name="connsiteY4" fmla="*/ 10941 h 63928"/>
                  <a:gd name="connsiteX5" fmla="*/ 76679 w 78045"/>
                  <a:gd name="connsiteY5" fmla="*/ 2004 h 63928"/>
                  <a:gd name="connsiteX6" fmla="*/ 67733 w 78045"/>
                  <a:gd name="connsiteY6" fmla="*/ 1365 h 63928"/>
                  <a:gd name="connsiteX7" fmla="*/ 67733 w 78045"/>
                  <a:gd name="connsiteY7" fmla="*/ 1365 h 63928"/>
                  <a:gd name="connsiteX8" fmla="*/ 51759 w 78045"/>
                  <a:gd name="connsiteY8" fmla="*/ 16048 h 63928"/>
                  <a:gd name="connsiteX9" fmla="*/ 39618 w 78045"/>
                  <a:gd name="connsiteY9" fmla="*/ 10303 h 63928"/>
                  <a:gd name="connsiteX10" fmla="*/ 15975 w 78045"/>
                  <a:gd name="connsiteY10" fmla="*/ 10303 h 63928"/>
                  <a:gd name="connsiteX11" fmla="*/ 0 w 78045"/>
                  <a:gd name="connsiteY11" fmla="*/ 26263 h 63928"/>
                  <a:gd name="connsiteX12" fmla="*/ 0 w 78045"/>
                  <a:gd name="connsiteY12" fmla="*/ 47968 h 63928"/>
                  <a:gd name="connsiteX13" fmla="*/ 15975 w 78045"/>
                  <a:gd name="connsiteY13" fmla="*/ 63928 h 63928"/>
                  <a:gd name="connsiteX14" fmla="*/ 42813 w 78045"/>
                  <a:gd name="connsiteY14" fmla="*/ 48607 h 63928"/>
                  <a:gd name="connsiteX15" fmla="*/ 39618 w 78045"/>
                  <a:gd name="connsiteY15" fmla="*/ 51799 h 63928"/>
                  <a:gd name="connsiteX16" fmla="*/ 15975 w 78045"/>
                  <a:gd name="connsiteY16" fmla="*/ 51799 h 63928"/>
                  <a:gd name="connsiteX17" fmla="*/ 12780 w 78045"/>
                  <a:gd name="connsiteY17" fmla="*/ 48607 h 63928"/>
                  <a:gd name="connsiteX18" fmla="*/ 12780 w 78045"/>
                  <a:gd name="connsiteY18" fmla="*/ 37754 h 63928"/>
                  <a:gd name="connsiteX19" fmla="*/ 25560 w 78045"/>
                  <a:gd name="connsiteY19" fmla="*/ 49883 h 63928"/>
                  <a:gd name="connsiteX20" fmla="*/ 34506 w 78045"/>
                  <a:gd name="connsiteY20" fmla="*/ 49883 h 63928"/>
                  <a:gd name="connsiteX21" fmla="*/ 42174 w 78045"/>
                  <a:gd name="connsiteY21" fmla="*/ 42861 h 63928"/>
                  <a:gd name="connsiteX22" fmla="*/ 42813 w 78045"/>
                  <a:gd name="connsiteY22" fmla="*/ 48607 h 63928"/>
                  <a:gd name="connsiteX23" fmla="*/ 15975 w 78045"/>
                  <a:gd name="connsiteY23" fmla="*/ 23709 h 63928"/>
                  <a:gd name="connsiteX24" fmla="*/ 39618 w 78045"/>
                  <a:gd name="connsiteY24" fmla="*/ 23709 h 63928"/>
                  <a:gd name="connsiteX25" fmla="*/ 42174 w 78045"/>
                  <a:gd name="connsiteY25" fmla="*/ 24986 h 63928"/>
                  <a:gd name="connsiteX26" fmla="*/ 30033 w 78045"/>
                  <a:gd name="connsiteY26" fmla="*/ 35839 h 63928"/>
                  <a:gd name="connsiteX27" fmla="*/ 20448 w 78045"/>
                  <a:gd name="connsiteY27" fmla="*/ 26901 h 63928"/>
                  <a:gd name="connsiteX28" fmla="*/ 12780 w 78045"/>
                  <a:gd name="connsiteY28" fmla="*/ 26263 h 63928"/>
                  <a:gd name="connsiteX29" fmla="*/ 12780 w 78045"/>
                  <a:gd name="connsiteY29" fmla="*/ 26263 h 63928"/>
                  <a:gd name="connsiteX30" fmla="*/ 15975 w 78045"/>
                  <a:gd name="connsiteY30" fmla="*/ 23709 h 63928"/>
                  <a:gd name="connsiteX31" fmla="*/ 15975 w 78045"/>
                  <a:gd name="connsiteY31" fmla="*/ 23709 h 63928"/>
                  <a:gd name="connsiteX32" fmla="*/ 15975 w 78045"/>
                  <a:gd name="connsiteY32" fmla="*/ 23709 h 6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045" h="63928">
                    <a:moveTo>
                      <a:pt x="15975" y="63928"/>
                    </a:moveTo>
                    <a:lnTo>
                      <a:pt x="39618" y="63928"/>
                    </a:lnTo>
                    <a:cubicBezTo>
                      <a:pt x="48564" y="63928"/>
                      <a:pt x="55593" y="56906"/>
                      <a:pt x="55593" y="47968"/>
                    </a:cubicBezTo>
                    <a:lnTo>
                      <a:pt x="55593" y="30093"/>
                    </a:lnTo>
                    <a:lnTo>
                      <a:pt x="76040" y="10941"/>
                    </a:lnTo>
                    <a:cubicBezTo>
                      <a:pt x="78596" y="8388"/>
                      <a:pt x="78596" y="4557"/>
                      <a:pt x="76679" y="2004"/>
                    </a:cubicBezTo>
                    <a:cubicBezTo>
                      <a:pt x="74123" y="-550"/>
                      <a:pt x="70289" y="-550"/>
                      <a:pt x="67733" y="1365"/>
                    </a:cubicBezTo>
                    <a:lnTo>
                      <a:pt x="67733" y="1365"/>
                    </a:lnTo>
                    <a:lnTo>
                      <a:pt x="51759" y="16048"/>
                    </a:lnTo>
                    <a:cubicBezTo>
                      <a:pt x="48564" y="12218"/>
                      <a:pt x="44730" y="10303"/>
                      <a:pt x="39618" y="10303"/>
                    </a:cubicBezTo>
                    <a:lnTo>
                      <a:pt x="15975" y="10303"/>
                    </a:lnTo>
                    <a:cubicBezTo>
                      <a:pt x="7029" y="10303"/>
                      <a:pt x="0" y="17325"/>
                      <a:pt x="0" y="26263"/>
                    </a:cubicBezTo>
                    <a:lnTo>
                      <a:pt x="0" y="47968"/>
                    </a:lnTo>
                    <a:cubicBezTo>
                      <a:pt x="639" y="56906"/>
                      <a:pt x="7668" y="63928"/>
                      <a:pt x="15975" y="63928"/>
                    </a:cubicBezTo>
                    <a:close/>
                    <a:moveTo>
                      <a:pt x="42813" y="48607"/>
                    </a:moveTo>
                    <a:cubicBezTo>
                      <a:pt x="42813" y="50522"/>
                      <a:pt x="41535" y="51799"/>
                      <a:pt x="39618" y="51799"/>
                    </a:cubicBezTo>
                    <a:lnTo>
                      <a:pt x="15975" y="51799"/>
                    </a:lnTo>
                    <a:cubicBezTo>
                      <a:pt x="14058" y="51799"/>
                      <a:pt x="12780" y="50522"/>
                      <a:pt x="12780" y="48607"/>
                    </a:cubicBezTo>
                    <a:lnTo>
                      <a:pt x="12780" y="37754"/>
                    </a:lnTo>
                    <a:lnTo>
                      <a:pt x="25560" y="49883"/>
                    </a:lnTo>
                    <a:cubicBezTo>
                      <a:pt x="28116" y="51799"/>
                      <a:pt x="31950" y="51799"/>
                      <a:pt x="34506" y="49883"/>
                    </a:cubicBezTo>
                    <a:lnTo>
                      <a:pt x="42174" y="42861"/>
                    </a:lnTo>
                    <a:lnTo>
                      <a:pt x="42813" y="48607"/>
                    </a:lnTo>
                    <a:close/>
                    <a:moveTo>
                      <a:pt x="15975" y="23709"/>
                    </a:moveTo>
                    <a:lnTo>
                      <a:pt x="39618" y="23709"/>
                    </a:lnTo>
                    <a:cubicBezTo>
                      <a:pt x="40896" y="23709"/>
                      <a:pt x="41535" y="24347"/>
                      <a:pt x="42174" y="24986"/>
                    </a:cubicBezTo>
                    <a:lnTo>
                      <a:pt x="30033" y="35839"/>
                    </a:lnTo>
                    <a:lnTo>
                      <a:pt x="20448" y="26901"/>
                    </a:lnTo>
                    <a:cubicBezTo>
                      <a:pt x="18531" y="24986"/>
                      <a:pt x="14697" y="24986"/>
                      <a:pt x="12780" y="26263"/>
                    </a:cubicBezTo>
                    <a:lnTo>
                      <a:pt x="12780" y="26263"/>
                    </a:lnTo>
                    <a:cubicBezTo>
                      <a:pt x="12780" y="25624"/>
                      <a:pt x="14058" y="23709"/>
                      <a:pt x="15975" y="23709"/>
                    </a:cubicBezTo>
                    <a:cubicBezTo>
                      <a:pt x="15975" y="23709"/>
                      <a:pt x="15975" y="23709"/>
                      <a:pt x="15975" y="23709"/>
                    </a:cubicBezTo>
                    <a:lnTo>
                      <a:pt x="15975" y="23709"/>
                    </a:lnTo>
                    <a:close/>
                  </a:path>
                </a:pathLst>
              </a:custGeom>
              <a:grpFill/>
              <a:ln w="6390" cap="flat">
                <a:noFill/>
                <a:prstDash val="solid"/>
                <a:miter/>
              </a:ln>
            </p:spPr>
            <p:txBody>
              <a:bodyPr rtlCol="0" anchor="ctr"/>
              <a:lstStyle/>
              <a:p>
                <a:endParaRPr lang="en-US"/>
              </a:p>
            </p:txBody>
          </p:sp>
          <p:sp>
            <p:nvSpPr>
              <p:cNvPr id="1238" name="Graphic 4">
                <a:extLst>
                  <a:ext uri="{FF2B5EF4-FFF2-40B4-BE49-F238E27FC236}">
                    <a16:creationId xmlns:a16="http://schemas.microsoft.com/office/drawing/2014/main" id="{16A5CA93-F01C-2AC9-3399-B96285151658}"/>
                  </a:ext>
                </a:extLst>
              </p:cNvPr>
              <p:cNvSpPr/>
              <p:nvPr/>
            </p:nvSpPr>
            <p:spPr>
              <a:xfrm>
                <a:off x="2647350" y="2588779"/>
                <a:ext cx="78045" cy="63928"/>
              </a:xfrm>
              <a:custGeom>
                <a:avLst/>
                <a:gdLst>
                  <a:gd name="connsiteX0" fmla="*/ 76040 w 78045"/>
                  <a:gd name="connsiteY0" fmla="*/ 10941 h 63928"/>
                  <a:gd name="connsiteX1" fmla="*/ 76679 w 78045"/>
                  <a:gd name="connsiteY1" fmla="*/ 2004 h 63928"/>
                  <a:gd name="connsiteX2" fmla="*/ 67733 w 78045"/>
                  <a:gd name="connsiteY2" fmla="*/ 1365 h 63928"/>
                  <a:gd name="connsiteX3" fmla="*/ 67733 w 78045"/>
                  <a:gd name="connsiteY3" fmla="*/ 1365 h 63928"/>
                  <a:gd name="connsiteX4" fmla="*/ 51759 w 78045"/>
                  <a:gd name="connsiteY4" fmla="*/ 16048 h 63928"/>
                  <a:gd name="connsiteX5" fmla="*/ 39618 w 78045"/>
                  <a:gd name="connsiteY5" fmla="*/ 10303 h 63928"/>
                  <a:gd name="connsiteX6" fmla="*/ 15975 w 78045"/>
                  <a:gd name="connsiteY6" fmla="*/ 10303 h 63928"/>
                  <a:gd name="connsiteX7" fmla="*/ 0 w 78045"/>
                  <a:gd name="connsiteY7" fmla="*/ 26263 h 63928"/>
                  <a:gd name="connsiteX8" fmla="*/ 0 w 78045"/>
                  <a:gd name="connsiteY8" fmla="*/ 47968 h 63928"/>
                  <a:gd name="connsiteX9" fmla="*/ 15975 w 78045"/>
                  <a:gd name="connsiteY9" fmla="*/ 63928 h 63928"/>
                  <a:gd name="connsiteX10" fmla="*/ 39618 w 78045"/>
                  <a:gd name="connsiteY10" fmla="*/ 63928 h 63928"/>
                  <a:gd name="connsiteX11" fmla="*/ 55593 w 78045"/>
                  <a:gd name="connsiteY11" fmla="*/ 47968 h 63928"/>
                  <a:gd name="connsiteX12" fmla="*/ 55593 w 78045"/>
                  <a:gd name="connsiteY12" fmla="*/ 30093 h 63928"/>
                  <a:gd name="connsiteX13" fmla="*/ 76040 w 78045"/>
                  <a:gd name="connsiteY13" fmla="*/ 10941 h 63928"/>
                  <a:gd name="connsiteX14" fmla="*/ 15975 w 78045"/>
                  <a:gd name="connsiteY14" fmla="*/ 23071 h 63928"/>
                  <a:gd name="connsiteX15" fmla="*/ 39618 w 78045"/>
                  <a:gd name="connsiteY15" fmla="*/ 23071 h 63928"/>
                  <a:gd name="connsiteX16" fmla="*/ 42174 w 78045"/>
                  <a:gd name="connsiteY16" fmla="*/ 24348 h 63928"/>
                  <a:gd name="connsiteX17" fmla="*/ 30033 w 78045"/>
                  <a:gd name="connsiteY17" fmla="*/ 35200 h 63928"/>
                  <a:gd name="connsiteX18" fmla="*/ 20448 w 78045"/>
                  <a:gd name="connsiteY18" fmla="*/ 26263 h 63928"/>
                  <a:gd name="connsiteX19" fmla="*/ 12780 w 78045"/>
                  <a:gd name="connsiteY19" fmla="*/ 25624 h 63928"/>
                  <a:gd name="connsiteX20" fmla="*/ 12780 w 78045"/>
                  <a:gd name="connsiteY20" fmla="*/ 25624 h 63928"/>
                  <a:gd name="connsiteX21" fmla="*/ 15975 w 78045"/>
                  <a:gd name="connsiteY21" fmla="*/ 23071 h 63928"/>
                  <a:gd name="connsiteX22" fmla="*/ 15975 w 78045"/>
                  <a:gd name="connsiteY22" fmla="*/ 23071 h 63928"/>
                  <a:gd name="connsiteX23" fmla="*/ 42813 w 78045"/>
                  <a:gd name="connsiteY23" fmla="*/ 47968 h 63928"/>
                  <a:gd name="connsiteX24" fmla="*/ 39618 w 78045"/>
                  <a:gd name="connsiteY24" fmla="*/ 51160 h 63928"/>
                  <a:gd name="connsiteX25" fmla="*/ 15975 w 78045"/>
                  <a:gd name="connsiteY25" fmla="*/ 51160 h 63928"/>
                  <a:gd name="connsiteX26" fmla="*/ 12780 w 78045"/>
                  <a:gd name="connsiteY26" fmla="*/ 47968 h 63928"/>
                  <a:gd name="connsiteX27" fmla="*/ 12780 w 78045"/>
                  <a:gd name="connsiteY27" fmla="*/ 37116 h 63928"/>
                  <a:gd name="connsiteX28" fmla="*/ 25560 w 78045"/>
                  <a:gd name="connsiteY28" fmla="*/ 49245 h 63928"/>
                  <a:gd name="connsiteX29" fmla="*/ 34506 w 78045"/>
                  <a:gd name="connsiteY29" fmla="*/ 49245 h 63928"/>
                  <a:gd name="connsiteX30" fmla="*/ 42174 w 78045"/>
                  <a:gd name="connsiteY30" fmla="*/ 42223 h 63928"/>
                  <a:gd name="connsiteX31" fmla="*/ 42813 w 78045"/>
                  <a:gd name="connsiteY31" fmla="*/ 47968 h 6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8045" h="63928">
                    <a:moveTo>
                      <a:pt x="76040" y="10941"/>
                    </a:moveTo>
                    <a:cubicBezTo>
                      <a:pt x="78596" y="8388"/>
                      <a:pt x="78596" y="4557"/>
                      <a:pt x="76679" y="2004"/>
                    </a:cubicBezTo>
                    <a:cubicBezTo>
                      <a:pt x="74123" y="-550"/>
                      <a:pt x="70289" y="-550"/>
                      <a:pt x="67733" y="1365"/>
                    </a:cubicBezTo>
                    <a:lnTo>
                      <a:pt x="67733" y="1365"/>
                    </a:lnTo>
                    <a:lnTo>
                      <a:pt x="51759" y="16048"/>
                    </a:lnTo>
                    <a:cubicBezTo>
                      <a:pt x="48564" y="12218"/>
                      <a:pt x="44730" y="10303"/>
                      <a:pt x="39618" y="10303"/>
                    </a:cubicBezTo>
                    <a:lnTo>
                      <a:pt x="15975" y="10303"/>
                    </a:lnTo>
                    <a:cubicBezTo>
                      <a:pt x="7029" y="10303"/>
                      <a:pt x="0" y="17325"/>
                      <a:pt x="0" y="26263"/>
                    </a:cubicBezTo>
                    <a:lnTo>
                      <a:pt x="0" y="47968"/>
                    </a:lnTo>
                    <a:cubicBezTo>
                      <a:pt x="0" y="56906"/>
                      <a:pt x="7029" y="63928"/>
                      <a:pt x="15975" y="63928"/>
                    </a:cubicBezTo>
                    <a:lnTo>
                      <a:pt x="39618" y="63928"/>
                    </a:lnTo>
                    <a:cubicBezTo>
                      <a:pt x="48564" y="63928"/>
                      <a:pt x="55593" y="56906"/>
                      <a:pt x="55593" y="47968"/>
                    </a:cubicBezTo>
                    <a:lnTo>
                      <a:pt x="55593" y="30093"/>
                    </a:lnTo>
                    <a:lnTo>
                      <a:pt x="76040" y="10941"/>
                    </a:lnTo>
                    <a:close/>
                    <a:moveTo>
                      <a:pt x="15975" y="23071"/>
                    </a:moveTo>
                    <a:lnTo>
                      <a:pt x="39618" y="23071"/>
                    </a:lnTo>
                    <a:cubicBezTo>
                      <a:pt x="40896" y="23071"/>
                      <a:pt x="41535" y="23709"/>
                      <a:pt x="42174" y="24348"/>
                    </a:cubicBezTo>
                    <a:lnTo>
                      <a:pt x="30033" y="35200"/>
                    </a:lnTo>
                    <a:lnTo>
                      <a:pt x="20448" y="26263"/>
                    </a:lnTo>
                    <a:cubicBezTo>
                      <a:pt x="18531" y="24348"/>
                      <a:pt x="14697" y="24348"/>
                      <a:pt x="12780" y="25624"/>
                    </a:cubicBezTo>
                    <a:lnTo>
                      <a:pt x="12780" y="25624"/>
                    </a:lnTo>
                    <a:cubicBezTo>
                      <a:pt x="12780" y="24986"/>
                      <a:pt x="14058" y="23709"/>
                      <a:pt x="15975" y="23071"/>
                    </a:cubicBezTo>
                    <a:cubicBezTo>
                      <a:pt x="15975" y="23709"/>
                      <a:pt x="15975" y="23709"/>
                      <a:pt x="15975" y="23071"/>
                    </a:cubicBezTo>
                    <a:close/>
                    <a:moveTo>
                      <a:pt x="42813" y="47968"/>
                    </a:moveTo>
                    <a:cubicBezTo>
                      <a:pt x="42813" y="49884"/>
                      <a:pt x="41535" y="51160"/>
                      <a:pt x="39618" y="51160"/>
                    </a:cubicBezTo>
                    <a:lnTo>
                      <a:pt x="15975" y="51160"/>
                    </a:lnTo>
                    <a:cubicBezTo>
                      <a:pt x="14058" y="51160"/>
                      <a:pt x="12780" y="49884"/>
                      <a:pt x="12780" y="47968"/>
                    </a:cubicBezTo>
                    <a:lnTo>
                      <a:pt x="12780" y="37116"/>
                    </a:lnTo>
                    <a:lnTo>
                      <a:pt x="25560" y="49245"/>
                    </a:lnTo>
                    <a:cubicBezTo>
                      <a:pt x="28116" y="51160"/>
                      <a:pt x="31950" y="51160"/>
                      <a:pt x="34506" y="49245"/>
                    </a:cubicBezTo>
                    <a:lnTo>
                      <a:pt x="42174" y="42223"/>
                    </a:lnTo>
                    <a:lnTo>
                      <a:pt x="42813" y="47968"/>
                    </a:lnTo>
                    <a:close/>
                  </a:path>
                </a:pathLst>
              </a:custGeom>
              <a:grpFill/>
              <a:ln w="6390" cap="flat">
                <a:noFill/>
                <a:prstDash val="solid"/>
                <a:miter/>
              </a:ln>
            </p:spPr>
            <p:txBody>
              <a:bodyPr rtlCol="0" anchor="ctr"/>
              <a:lstStyle/>
              <a:p>
                <a:endParaRPr lang="en-US"/>
              </a:p>
            </p:txBody>
          </p:sp>
        </p:grpSp>
      </p:grpSp>
      <p:pic>
        <p:nvPicPr>
          <p:cNvPr id="1240" name="Picture 1239">
            <a:extLst>
              <a:ext uri="{FF2B5EF4-FFF2-40B4-BE49-F238E27FC236}">
                <a16:creationId xmlns:a16="http://schemas.microsoft.com/office/drawing/2014/main" id="{1ACCA8E2-C51E-9B62-5267-4E4641D3BE53}"/>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029716" y="1540098"/>
            <a:ext cx="1218342" cy="1218342"/>
          </a:xfrm>
          <a:prstGeom prst="rect">
            <a:avLst/>
          </a:prstGeom>
        </p:spPr>
      </p:pic>
      <p:sp>
        <p:nvSpPr>
          <p:cNvPr id="1245" name="Rectangle 1244">
            <a:extLst>
              <a:ext uri="{FF2B5EF4-FFF2-40B4-BE49-F238E27FC236}">
                <a16:creationId xmlns:a16="http://schemas.microsoft.com/office/drawing/2014/main" id="{994C7065-F627-2114-96A7-B8C6A60803BA}"/>
              </a:ext>
            </a:extLst>
          </p:cNvPr>
          <p:cNvSpPr/>
          <p:nvPr/>
        </p:nvSpPr>
        <p:spPr>
          <a:xfrm>
            <a:off x="2736117" y="1763542"/>
            <a:ext cx="7000763" cy="6848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accent1"/>
                </a:solidFill>
              </a:rPr>
              <a:t>Business Agents Platform Launchpad</a:t>
            </a:r>
          </a:p>
        </p:txBody>
      </p:sp>
      <p:sp>
        <p:nvSpPr>
          <p:cNvPr id="5" name="Rectangle 4">
            <a:extLst>
              <a:ext uri="{FF2B5EF4-FFF2-40B4-BE49-F238E27FC236}">
                <a16:creationId xmlns:a16="http://schemas.microsoft.com/office/drawing/2014/main" id="{0E554DF6-5418-FA34-2869-D9032A8FE8F0}"/>
              </a:ext>
            </a:extLst>
          </p:cNvPr>
          <p:cNvSpPr/>
          <p:nvPr/>
        </p:nvSpPr>
        <p:spPr>
          <a:xfrm>
            <a:off x="413411" y="4135337"/>
            <a:ext cx="2113903"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200" b="1">
                <a:solidFill>
                  <a:schemeClr val="accent1"/>
                </a:solidFill>
                <a:latin typeface="+mj-lt"/>
                <a:ea typeface="Sans Serif Collection" panose="020B0502040504020204" pitchFamily="34" charset="0"/>
                <a:cs typeface="Sans Serif Collection" panose="020B0502040504020204" pitchFamily="34" charset="0"/>
              </a:rPr>
              <a:t>My Favorites</a:t>
            </a:r>
          </a:p>
        </p:txBody>
      </p:sp>
      <p:sp>
        <p:nvSpPr>
          <p:cNvPr id="6" name="Rectangle: Rounded Corners 5">
            <a:extLst>
              <a:ext uri="{FF2B5EF4-FFF2-40B4-BE49-F238E27FC236}">
                <a16:creationId xmlns:a16="http://schemas.microsoft.com/office/drawing/2014/main" id="{F8B61CD5-11B4-A0CD-9B85-0BA462B57247}"/>
              </a:ext>
            </a:extLst>
          </p:cNvPr>
          <p:cNvSpPr/>
          <p:nvPr/>
        </p:nvSpPr>
        <p:spPr>
          <a:xfrm>
            <a:off x="418768" y="4426469"/>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698415C-6235-B10F-5B8F-C727877BDFEF}"/>
              </a:ext>
            </a:extLst>
          </p:cNvPr>
          <p:cNvSpPr/>
          <p:nvPr/>
        </p:nvSpPr>
        <p:spPr>
          <a:xfrm>
            <a:off x="502180" y="4534120"/>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900" b="1">
                <a:solidFill>
                  <a:schemeClr val="bg1"/>
                </a:solidFill>
                <a:latin typeface="+mj-lt"/>
                <a:ea typeface="Sans Serif Collection" panose="020B0502040504020204" pitchFamily="34" charset="0"/>
                <a:cs typeface="Sans Serif Collection" panose="020B0502040504020204" pitchFamily="34" charset="0"/>
              </a:rPr>
              <a:t>Automated Accounting Advisor</a:t>
            </a:r>
          </a:p>
        </p:txBody>
      </p:sp>
      <p:sp>
        <p:nvSpPr>
          <p:cNvPr id="8" name="Rectangle: Rounded Corners 7">
            <a:extLst>
              <a:ext uri="{FF2B5EF4-FFF2-40B4-BE49-F238E27FC236}">
                <a16:creationId xmlns:a16="http://schemas.microsoft.com/office/drawing/2014/main" id="{43BD1A26-0E71-B4F0-FA75-9B57F4E94454}"/>
              </a:ext>
            </a:extLst>
          </p:cNvPr>
          <p:cNvSpPr/>
          <p:nvPr/>
        </p:nvSpPr>
        <p:spPr>
          <a:xfrm>
            <a:off x="1705362" y="4426469"/>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9D6F1BC-F31D-428A-E780-EA94EA57F258}"/>
              </a:ext>
            </a:extLst>
          </p:cNvPr>
          <p:cNvSpPr/>
          <p:nvPr/>
        </p:nvSpPr>
        <p:spPr>
          <a:xfrm>
            <a:off x="1788774" y="4534120"/>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br>
              <a:rPr lang="en-US" sz="900" b="1">
                <a:solidFill>
                  <a:schemeClr val="bg1"/>
                </a:solidFill>
                <a:latin typeface="+mj-lt"/>
                <a:ea typeface="Sans Serif Collection" panose="020B0502040504020204" pitchFamily="34" charset="0"/>
                <a:cs typeface="Sans Serif Collection" panose="020B0502040504020204" pitchFamily="34" charset="0"/>
              </a:rPr>
            </a:br>
            <a:r>
              <a:rPr lang="en-US" sz="900" b="1">
                <a:solidFill>
                  <a:schemeClr val="bg1"/>
                </a:solidFill>
                <a:latin typeface="+mj-lt"/>
                <a:ea typeface="Sans Serif Collection" panose="020B0502040504020204" pitchFamily="34" charset="0"/>
                <a:cs typeface="Sans Serif Collection" panose="020B0502040504020204" pitchFamily="34" charset="0"/>
              </a:rPr>
              <a:t>Controlling and Reporting Agent</a:t>
            </a:r>
          </a:p>
        </p:txBody>
      </p:sp>
      <p:grpSp>
        <p:nvGrpSpPr>
          <p:cNvPr id="10" name="Graphic 4">
            <a:extLst>
              <a:ext uri="{FF2B5EF4-FFF2-40B4-BE49-F238E27FC236}">
                <a16:creationId xmlns:a16="http://schemas.microsoft.com/office/drawing/2014/main" id="{CC0E3707-823F-36B9-A668-B1A73099F5B1}"/>
              </a:ext>
            </a:extLst>
          </p:cNvPr>
          <p:cNvGrpSpPr/>
          <p:nvPr/>
        </p:nvGrpSpPr>
        <p:grpSpPr>
          <a:xfrm>
            <a:off x="1788774" y="5204319"/>
            <a:ext cx="338245" cy="274136"/>
            <a:chOff x="4726636" y="2942507"/>
            <a:chExt cx="233232" cy="189026"/>
          </a:xfrm>
          <a:gradFill>
            <a:gsLst>
              <a:gs pos="0">
                <a:srgbClr val="AF3592"/>
              </a:gs>
              <a:gs pos="38000">
                <a:srgbClr val="23A8DA"/>
              </a:gs>
              <a:gs pos="64000">
                <a:srgbClr val="096324"/>
              </a:gs>
              <a:gs pos="100000">
                <a:srgbClr val="E5A119"/>
              </a:gs>
            </a:gsLst>
            <a:lin ang="5400000" scaled="1"/>
          </a:gradFill>
        </p:grpSpPr>
        <p:sp>
          <p:nvSpPr>
            <p:cNvPr id="12" name="Graphic 4">
              <a:extLst>
                <a:ext uri="{FF2B5EF4-FFF2-40B4-BE49-F238E27FC236}">
                  <a16:creationId xmlns:a16="http://schemas.microsoft.com/office/drawing/2014/main" id="{8FF8F18F-49E0-FD3A-3517-743B5C475CC5}"/>
                </a:ext>
              </a:extLst>
            </p:cNvPr>
            <p:cNvSpPr/>
            <p:nvPr/>
          </p:nvSpPr>
          <p:spPr>
            <a:xfrm>
              <a:off x="4726636" y="2942507"/>
              <a:ext cx="233232" cy="189026"/>
            </a:xfrm>
            <a:custGeom>
              <a:avLst/>
              <a:gdLst>
                <a:gd name="connsiteX0" fmla="*/ 210868 w 233232"/>
                <a:gd name="connsiteY0" fmla="*/ 32 h 189026"/>
                <a:gd name="connsiteX1" fmla="*/ 139301 w 233232"/>
                <a:gd name="connsiteY1" fmla="*/ 32 h 189026"/>
                <a:gd name="connsiteX2" fmla="*/ 117575 w 233232"/>
                <a:gd name="connsiteY2" fmla="*/ 19823 h 189026"/>
                <a:gd name="connsiteX3" fmla="*/ 117575 w 233232"/>
                <a:gd name="connsiteY3" fmla="*/ 22376 h 189026"/>
                <a:gd name="connsiteX4" fmla="*/ 34505 w 233232"/>
                <a:gd name="connsiteY4" fmla="*/ 22376 h 189026"/>
                <a:gd name="connsiteX5" fmla="*/ 15975 w 233232"/>
                <a:gd name="connsiteY5" fmla="*/ 39613 h 189026"/>
                <a:gd name="connsiteX6" fmla="*/ 15975 w 233232"/>
                <a:gd name="connsiteY6" fmla="*/ 143034 h 189026"/>
                <a:gd name="connsiteX7" fmla="*/ 11502 w 233232"/>
                <a:gd name="connsiteY7" fmla="*/ 143034 h 189026"/>
                <a:gd name="connsiteX8" fmla="*/ 0 w 233232"/>
                <a:gd name="connsiteY8" fmla="*/ 154525 h 189026"/>
                <a:gd name="connsiteX9" fmla="*/ 0 w 233232"/>
                <a:gd name="connsiteY9" fmla="*/ 166654 h 189026"/>
                <a:gd name="connsiteX10" fmla="*/ 24921 w 233232"/>
                <a:gd name="connsiteY10" fmla="*/ 188998 h 189026"/>
                <a:gd name="connsiteX11" fmla="*/ 205756 w 233232"/>
                <a:gd name="connsiteY11" fmla="*/ 188998 h 189026"/>
                <a:gd name="connsiteX12" fmla="*/ 230677 w 233232"/>
                <a:gd name="connsiteY12" fmla="*/ 166654 h 189026"/>
                <a:gd name="connsiteX13" fmla="*/ 230677 w 233232"/>
                <a:gd name="connsiteY13" fmla="*/ 154525 h 189026"/>
                <a:gd name="connsiteX14" fmla="*/ 219175 w 233232"/>
                <a:gd name="connsiteY14" fmla="*/ 143034 h 189026"/>
                <a:gd name="connsiteX15" fmla="*/ 214702 w 233232"/>
                <a:gd name="connsiteY15" fmla="*/ 143034 h 189026"/>
                <a:gd name="connsiteX16" fmla="*/ 214702 w 233232"/>
                <a:gd name="connsiteY16" fmla="*/ 87493 h 189026"/>
                <a:gd name="connsiteX17" fmla="*/ 233233 w 233232"/>
                <a:gd name="connsiteY17" fmla="*/ 67702 h 189026"/>
                <a:gd name="connsiteX18" fmla="*/ 233233 w 233232"/>
                <a:gd name="connsiteY18" fmla="*/ 20461 h 189026"/>
                <a:gd name="connsiteX19" fmla="*/ 210868 w 233232"/>
                <a:gd name="connsiteY19" fmla="*/ 32 h 189026"/>
                <a:gd name="connsiteX20" fmla="*/ 217258 w 233232"/>
                <a:gd name="connsiteY20" fmla="*/ 165377 h 189026"/>
                <a:gd name="connsiteX21" fmla="*/ 205117 w 233232"/>
                <a:gd name="connsiteY21" fmla="*/ 174953 h 189026"/>
                <a:gd name="connsiteX22" fmla="*/ 24282 w 233232"/>
                <a:gd name="connsiteY22" fmla="*/ 174953 h 189026"/>
                <a:gd name="connsiteX23" fmla="*/ 12141 w 233232"/>
                <a:gd name="connsiteY23" fmla="*/ 165377 h 189026"/>
                <a:gd name="connsiteX24" fmla="*/ 12141 w 233232"/>
                <a:gd name="connsiteY24" fmla="*/ 154525 h 189026"/>
                <a:gd name="connsiteX25" fmla="*/ 83069 w 233232"/>
                <a:gd name="connsiteY25" fmla="*/ 154525 h 189026"/>
                <a:gd name="connsiteX26" fmla="*/ 97127 w 233232"/>
                <a:gd name="connsiteY26" fmla="*/ 166016 h 189026"/>
                <a:gd name="connsiteX27" fmla="*/ 132272 w 233232"/>
                <a:gd name="connsiteY27" fmla="*/ 166016 h 189026"/>
                <a:gd name="connsiteX28" fmla="*/ 146329 w 233232"/>
                <a:gd name="connsiteY28" fmla="*/ 154525 h 189026"/>
                <a:gd name="connsiteX29" fmla="*/ 217258 w 233232"/>
                <a:gd name="connsiteY29" fmla="*/ 154525 h 189026"/>
                <a:gd name="connsiteX30" fmla="*/ 217258 w 233232"/>
                <a:gd name="connsiteY30" fmla="*/ 165377 h 189026"/>
                <a:gd name="connsiteX31" fmla="*/ 133549 w 233232"/>
                <a:gd name="connsiteY31" fmla="*/ 142395 h 189026"/>
                <a:gd name="connsiteX32" fmla="*/ 133549 w 233232"/>
                <a:gd name="connsiteY32" fmla="*/ 153248 h 189026"/>
                <a:gd name="connsiteX33" fmla="*/ 132272 w 233232"/>
                <a:gd name="connsiteY33" fmla="*/ 153886 h 189026"/>
                <a:gd name="connsiteX34" fmla="*/ 97127 w 233232"/>
                <a:gd name="connsiteY34" fmla="*/ 153886 h 189026"/>
                <a:gd name="connsiteX35" fmla="*/ 95849 w 233232"/>
                <a:gd name="connsiteY35" fmla="*/ 153886 h 189026"/>
                <a:gd name="connsiteX36" fmla="*/ 95849 w 233232"/>
                <a:gd name="connsiteY36" fmla="*/ 142395 h 189026"/>
                <a:gd name="connsiteX37" fmla="*/ 28755 w 233232"/>
                <a:gd name="connsiteY37" fmla="*/ 142395 h 189026"/>
                <a:gd name="connsiteX38" fmla="*/ 28755 w 233232"/>
                <a:gd name="connsiteY38" fmla="*/ 38975 h 189026"/>
                <a:gd name="connsiteX39" fmla="*/ 34505 w 233232"/>
                <a:gd name="connsiteY39" fmla="*/ 34506 h 189026"/>
                <a:gd name="connsiteX40" fmla="*/ 117575 w 233232"/>
                <a:gd name="connsiteY40" fmla="*/ 34506 h 189026"/>
                <a:gd name="connsiteX41" fmla="*/ 117575 w 233232"/>
                <a:gd name="connsiteY41" fmla="*/ 67064 h 189026"/>
                <a:gd name="connsiteX42" fmla="*/ 139301 w 233232"/>
                <a:gd name="connsiteY42" fmla="*/ 86854 h 189026"/>
                <a:gd name="connsiteX43" fmla="*/ 141217 w 233232"/>
                <a:gd name="connsiteY43" fmla="*/ 86854 h 189026"/>
                <a:gd name="connsiteX44" fmla="*/ 141217 w 233232"/>
                <a:gd name="connsiteY44" fmla="*/ 106006 h 189026"/>
                <a:gd name="connsiteX45" fmla="*/ 145052 w 233232"/>
                <a:gd name="connsiteY45" fmla="*/ 111752 h 189026"/>
                <a:gd name="connsiteX46" fmla="*/ 147607 w 233232"/>
                <a:gd name="connsiteY46" fmla="*/ 112390 h 189026"/>
                <a:gd name="connsiteX47" fmla="*/ 152080 w 233232"/>
                <a:gd name="connsiteY47" fmla="*/ 111114 h 189026"/>
                <a:gd name="connsiteX48" fmla="*/ 178918 w 233232"/>
                <a:gd name="connsiteY48" fmla="*/ 87493 h 189026"/>
                <a:gd name="connsiteX49" fmla="*/ 201283 w 233232"/>
                <a:gd name="connsiteY49" fmla="*/ 87493 h 189026"/>
                <a:gd name="connsiteX50" fmla="*/ 201283 w 233232"/>
                <a:gd name="connsiteY50" fmla="*/ 143034 h 189026"/>
                <a:gd name="connsiteX51" fmla="*/ 133549 w 233232"/>
                <a:gd name="connsiteY51" fmla="*/ 142395 h 189026"/>
                <a:gd name="connsiteX52" fmla="*/ 219175 w 233232"/>
                <a:gd name="connsiteY52" fmla="*/ 67064 h 189026"/>
                <a:gd name="connsiteX53" fmla="*/ 210229 w 233232"/>
                <a:gd name="connsiteY53" fmla="*/ 74086 h 189026"/>
                <a:gd name="connsiteX54" fmla="*/ 175723 w 233232"/>
                <a:gd name="connsiteY54" fmla="*/ 74086 h 189026"/>
                <a:gd name="connsiteX55" fmla="*/ 171250 w 233232"/>
                <a:gd name="connsiteY55" fmla="*/ 75363 h 189026"/>
                <a:gd name="connsiteX56" fmla="*/ 153358 w 233232"/>
                <a:gd name="connsiteY56" fmla="*/ 91323 h 189026"/>
                <a:gd name="connsiteX57" fmla="*/ 153358 w 233232"/>
                <a:gd name="connsiteY57" fmla="*/ 79832 h 189026"/>
                <a:gd name="connsiteX58" fmla="*/ 146969 w 233232"/>
                <a:gd name="connsiteY58" fmla="*/ 73448 h 189026"/>
                <a:gd name="connsiteX59" fmla="*/ 138662 w 233232"/>
                <a:gd name="connsiteY59" fmla="*/ 73448 h 189026"/>
                <a:gd name="connsiteX60" fmla="*/ 129716 w 233232"/>
                <a:gd name="connsiteY60" fmla="*/ 66426 h 189026"/>
                <a:gd name="connsiteX61" fmla="*/ 129716 w 233232"/>
                <a:gd name="connsiteY61" fmla="*/ 19184 h 189026"/>
                <a:gd name="connsiteX62" fmla="*/ 138662 w 233232"/>
                <a:gd name="connsiteY62" fmla="*/ 12162 h 189026"/>
                <a:gd name="connsiteX63" fmla="*/ 210229 w 233232"/>
                <a:gd name="connsiteY63" fmla="*/ 12162 h 189026"/>
                <a:gd name="connsiteX64" fmla="*/ 219175 w 233232"/>
                <a:gd name="connsiteY64" fmla="*/ 19184 h 189026"/>
                <a:gd name="connsiteX65" fmla="*/ 219175 w 233232"/>
                <a:gd name="connsiteY65" fmla="*/ 67064 h 18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33232" h="189026">
                  <a:moveTo>
                    <a:pt x="210868" y="32"/>
                  </a:moveTo>
                  <a:lnTo>
                    <a:pt x="139301" y="32"/>
                  </a:lnTo>
                  <a:cubicBezTo>
                    <a:pt x="127799" y="-606"/>
                    <a:pt x="118214" y="8331"/>
                    <a:pt x="117575" y="19823"/>
                  </a:cubicBezTo>
                  <a:lnTo>
                    <a:pt x="117575" y="22376"/>
                  </a:lnTo>
                  <a:lnTo>
                    <a:pt x="34505" y="22376"/>
                  </a:lnTo>
                  <a:cubicBezTo>
                    <a:pt x="24921" y="21738"/>
                    <a:pt x="16614" y="29399"/>
                    <a:pt x="15975" y="39613"/>
                  </a:cubicBezTo>
                  <a:lnTo>
                    <a:pt x="15975" y="143034"/>
                  </a:lnTo>
                  <a:lnTo>
                    <a:pt x="11502" y="143034"/>
                  </a:lnTo>
                  <a:cubicBezTo>
                    <a:pt x="5112" y="143034"/>
                    <a:pt x="0" y="148141"/>
                    <a:pt x="0" y="154525"/>
                  </a:cubicBezTo>
                  <a:lnTo>
                    <a:pt x="0" y="166654"/>
                  </a:lnTo>
                  <a:cubicBezTo>
                    <a:pt x="639" y="179422"/>
                    <a:pt x="11502" y="189637"/>
                    <a:pt x="24921" y="188998"/>
                  </a:cubicBezTo>
                  <a:lnTo>
                    <a:pt x="205756" y="188998"/>
                  </a:lnTo>
                  <a:cubicBezTo>
                    <a:pt x="218536" y="189637"/>
                    <a:pt x="230038" y="179422"/>
                    <a:pt x="230677" y="166654"/>
                  </a:cubicBezTo>
                  <a:lnTo>
                    <a:pt x="230677" y="154525"/>
                  </a:lnTo>
                  <a:cubicBezTo>
                    <a:pt x="230677" y="148141"/>
                    <a:pt x="224926" y="143034"/>
                    <a:pt x="219175" y="143034"/>
                  </a:cubicBezTo>
                  <a:lnTo>
                    <a:pt x="214702" y="143034"/>
                  </a:lnTo>
                  <a:lnTo>
                    <a:pt x="214702" y="87493"/>
                  </a:lnTo>
                  <a:cubicBezTo>
                    <a:pt x="224926" y="86854"/>
                    <a:pt x="233233" y="78555"/>
                    <a:pt x="233233" y="67702"/>
                  </a:cubicBezTo>
                  <a:lnTo>
                    <a:pt x="233233" y="20461"/>
                  </a:lnTo>
                  <a:cubicBezTo>
                    <a:pt x="231316" y="8331"/>
                    <a:pt x="221731" y="-606"/>
                    <a:pt x="210868" y="32"/>
                  </a:cubicBezTo>
                  <a:close/>
                  <a:moveTo>
                    <a:pt x="217258" y="165377"/>
                  </a:moveTo>
                  <a:cubicBezTo>
                    <a:pt x="216619" y="171123"/>
                    <a:pt x="210868" y="175592"/>
                    <a:pt x="205117" y="174953"/>
                  </a:cubicBezTo>
                  <a:lnTo>
                    <a:pt x="24282" y="174953"/>
                  </a:lnTo>
                  <a:cubicBezTo>
                    <a:pt x="18531" y="175592"/>
                    <a:pt x="12780" y="171123"/>
                    <a:pt x="12141" y="165377"/>
                  </a:cubicBezTo>
                  <a:lnTo>
                    <a:pt x="12141" y="154525"/>
                  </a:lnTo>
                  <a:lnTo>
                    <a:pt x="83069" y="154525"/>
                  </a:lnTo>
                  <a:cubicBezTo>
                    <a:pt x="84347" y="161547"/>
                    <a:pt x="90098" y="166016"/>
                    <a:pt x="97127" y="166016"/>
                  </a:cubicBezTo>
                  <a:lnTo>
                    <a:pt x="132272" y="166016"/>
                  </a:lnTo>
                  <a:cubicBezTo>
                    <a:pt x="139301" y="166016"/>
                    <a:pt x="145052" y="161547"/>
                    <a:pt x="146329" y="154525"/>
                  </a:cubicBezTo>
                  <a:lnTo>
                    <a:pt x="217258" y="154525"/>
                  </a:lnTo>
                  <a:lnTo>
                    <a:pt x="217258" y="165377"/>
                  </a:lnTo>
                  <a:close/>
                  <a:moveTo>
                    <a:pt x="133549" y="142395"/>
                  </a:moveTo>
                  <a:lnTo>
                    <a:pt x="133549" y="153248"/>
                  </a:lnTo>
                  <a:cubicBezTo>
                    <a:pt x="132911" y="153886"/>
                    <a:pt x="132911" y="153886"/>
                    <a:pt x="132272" y="153886"/>
                  </a:cubicBezTo>
                  <a:lnTo>
                    <a:pt x="97127" y="153886"/>
                  </a:lnTo>
                  <a:cubicBezTo>
                    <a:pt x="96488" y="153886"/>
                    <a:pt x="95849" y="153248"/>
                    <a:pt x="95849" y="153886"/>
                  </a:cubicBezTo>
                  <a:lnTo>
                    <a:pt x="95849" y="142395"/>
                  </a:lnTo>
                  <a:lnTo>
                    <a:pt x="28755" y="142395"/>
                  </a:lnTo>
                  <a:lnTo>
                    <a:pt x="28755" y="38975"/>
                  </a:lnTo>
                  <a:cubicBezTo>
                    <a:pt x="28755" y="36421"/>
                    <a:pt x="31310" y="34506"/>
                    <a:pt x="34505" y="34506"/>
                  </a:cubicBezTo>
                  <a:lnTo>
                    <a:pt x="117575" y="34506"/>
                  </a:lnTo>
                  <a:lnTo>
                    <a:pt x="117575" y="67064"/>
                  </a:lnTo>
                  <a:cubicBezTo>
                    <a:pt x="118214" y="78555"/>
                    <a:pt x="127799" y="87493"/>
                    <a:pt x="139301" y="86854"/>
                  </a:cubicBezTo>
                  <a:lnTo>
                    <a:pt x="141217" y="86854"/>
                  </a:lnTo>
                  <a:lnTo>
                    <a:pt x="141217" y="106006"/>
                  </a:lnTo>
                  <a:cubicBezTo>
                    <a:pt x="141217" y="108560"/>
                    <a:pt x="142496" y="110475"/>
                    <a:pt x="145052" y="111752"/>
                  </a:cubicBezTo>
                  <a:cubicBezTo>
                    <a:pt x="145690" y="112390"/>
                    <a:pt x="146969" y="112390"/>
                    <a:pt x="147607" y="112390"/>
                  </a:cubicBezTo>
                  <a:cubicBezTo>
                    <a:pt x="148885" y="112390"/>
                    <a:pt x="150802" y="111752"/>
                    <a:pt x="152080" y="111114"/>
                  </a:cubicBezTo>
                  <a:lnTo>
                    <a:pt x="178918" y="87493"/>
                  </a:lnTo>
                  <a:lnTo>
                    <a:pt x="201283" y="87493"/>
                  </a:lnTo>
                  <a:lnTo>
                    <a:pt x="201283" y="143034"/>
                  </a:lnTo>
                  <a:lnTo>
                    <a:pt x="133549" y="142395"/>
                  </a:lnTo>
                  <a:close/>
                  <a:moveTo>
                    <a:pt x="219175" y="67064"/>
                  </a:moveTo>
                  <a:cubicBezTo>
                    <a:pt x="218536" y="71533"/>
                    <a:pt x="214702" y="74725"/>
                    <a:pt x="210229" y="74086"/>
                  </a:cubicBezTo>
                  <a:lnTo>
                    <a:pt x="175723" y="74086"/>
                  </a:lnTo>
                  <a:cubicBezTo>
                    <a:pt x="174445" y="74086"/>
                    <a:pt x="172528" y="74725"/>
                    <a:pt x="171250" y="75363"/>
                  </a:cubicBezTo>
                  <a:lnTo>
                    <a:pt x="153358" y="91323"/>
                  </a:lnTo>
                  <a:lnTo>
                    <a:pt x="153358" y="79832"/>
                  </a:lnTo>
                  <a:cubicBezTo>
                    <a:pt x="153358" y="76002"/>
                    <a:pt x="150802" y="73448"/>
                    <a:pt x="146969" y="73448"/>
                  </a:cubicBezTo>
                  <a:lnTo>
                    <a:pt x="138662" y="73448"/>
                  </a:lnTo>
                  <a:cubicBezTo>
                    <a:pt x="134189" y="74086"/>
                    <a:pt x="130354" y="70894"/>
                    <a:pt x="129716" y="66426"/>
                  </a:cubicBezTo>
                  <a:lnTo>
                    <a:pt x="129716" y="19184"/>
                  </a:lnTo>
                  <a:cubicBezTo>
                    <a:pt x="130354" y="14715"/>
                    <a:pt x="134189" y="11523"/>
                    <a:pt x="138662" y="12162"/>
                  </a:cubicBezTo>
                  <a:lnTo>
                    <a:pt x="210229" y="12162"/>
                  </a:lnTo>
                  <a:cubicBezTo>
                    <a:pt x="214702" y="11523"/>
                    <a:pt x="218536" y="14715"/>
                    <a:pt x="219175" y="19184"/>
                  </a:cubicBezTo>
                  <a:lnTo>
                    <a:pt x="219175" y="67064"/>
                  </a:lnTo>
                  <a:close/>
                </a:path>
              </a:pathLst>
            </a:custGeom>
            <a:grpFill/>
            <a:ln w="6390"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810982F0-711C-7B8B-4EF1-F7C6578D8931}"/>
                </a:ext>
              </a:extLst>
            </p:cNvPr>
            <p:cNvSpPr/>
            <p:nvPr/>
          </p:nvSpPr>
          <p:spPr>
            <a:xfrm>
              <a:off x="4916417" y="2978290"/>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5975" y="3830"/>
                    <a:pt x="12780" y="0"/>
                    <a:pt x="8307" y="0"/>
                  </a:cubicBezTo>
                  <a:lnTo>
                    <a:pt x="8307" y="0"/>
                  </a:lnTo>
                  <a:close/>
                </a:path>
              </a:pathLst>
            </a:custGeom>
            <a:grpFill/>
            <a:ln w="6390"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F7480966-478B-4BDF-E309-F29C97346E86}"/>
                </a:ext>
              </a:extLst>
            </p:cNvPr>
            <p:cNvSpPr/>
            <p:nvPr/>
          </p:nvSpPr>
          <p:spPr>
            <a:xfrm>
              <a:off x="4892774" y="2978290"/>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830"/>
                    <a:pt x="12780" y="0"/>
                    <a:pt x="8307" y="0"/>
                  </a:cubicBezTo>
                  <a:lnTo>
                    <a:pt x="8307" y="0"/>
                  </a:lnTo>
                  <a:close/>
                </a:path>
              </a:pathLst>
            </a:custGeom>
            <a:grpFill/>
            <a:ln w="6390"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D69AB725-18D7-F0AD-E97E-5730BBC2B294}"/>
                </a:ext>
              </a:extLst>
            </p:cNvPr>
            <p:cNvSpPr/>
            <p:nvPr/>
          </p:nvSpPr>
          <p:spPr>
            <a:xfrm>
              <a:off x="4869770" y="2978290"/>
              <a:ext cx="16614" cy="16598"/>
            </a:xfrm>
            <a:custGeom>
              <a:avLst/>
              <a:gdLst>
                <a:gd name="connsiteX0" fmla="*/ 8307 w 16614"/>
                <a:gd name="connsiteY0" fmla="*/ 0 h 16598"/>
                <a:gd name="connsiteX1" fmla="*/ 0 w 16614"/>
                <a:gd name="connsiteY1" fmla="*/ 8299 h 16598"/>
                <a:gd name="connsiteX2" fmla="*/ 8307 w 16614"/>
                <a:gd name="connsiteY2" fmla="*/ 16598 h 16598"/>
                <a:gd name="connsiteX3" fmla="*/ 16614 w 16614"/>
                <a:gd name="connsiteY3" fmla="*/ 8299 h 16598"/>
                <a:gd name="connsiteX4" fmla="*/ 8307 w 16614"/>
                <a:gd name="connsiteY4" fmla="*/ 0 h 16598"/>
                <a:gd name="connsiteX5" fmla="*/ 8307 w 16614"/>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4" h="16598">
                  <a:moveTo>
                    <a:pt x="8307" y="0"/>
                  </a:moveTo>
                  <a:cubicBezTo>
                    <a:pt x="3834" y="0"/>
                    <a:pt x="0" y="3830"/>
                    <a:pt x="0" y="8299"/>
                  </a:cubicBezTo>
                  <a:cubicBezTo>
                    <a:pt x="0" y="12768"/>
                    <a:pt x="3834" y="16598"/>
                    <a:pt x="8307" y="16598"/>
                  </a:cubicBezTo>
                  <a:cubicBezTo>
                    <a:pt x="12780" y="16598"/>
                    <a:pt x="16614" y="12768"/>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AB5883C3-BB20-C01B-BD4E-2EA72CFCBB0E}"/>
                </a:ext>
              </a:extLst>
            </p:cNvPr>
            <p:cNvSpPr/>
            <p:nvPr/>
          </p:nvSpPr>
          <p:spPr>
            <a:xfrm>
              <a:off x="4782229" y="2986589"/>
              <a:ext cx="52397" cy="52348"/>
            </a:xfrm>
            <a:custGeom>
              <a:avLst/>
              <a:gdLst>
                <a:gd name="connsiteX0" fmla="*/ 26199 w 52397"/>
                <a:gd name="connsiteY0" fmla="*/ 52349 h 52348"/>
                <a:gd name="connsiteX1" fmla="*/ 52397 w 52397"/>
                <a:gd name="connsiteY1" fmla="*/ 26174 h 52348"/>
                <a:gd name="connsiteX2" fmla="*/ 26199 w 52397"/>
                <a:gd name="connsiteY2" fmla="*/ 0 h 52348"/>
                <a:gd name="connsiteX3" fmla="*/ 0 w 52397"/>
                <a:gd name="connsiteY3" fmla="*/ 26174 h 52348"/>
                <a:gd name="connsiteX4" fmla="*/ 0 w 52397"/>
                <a:gd name="connsiteY4" fmla="*/ 26174 h 52348"/>
                <a:gd name="connsiteX5" fmla="*/ 26199 w 52397"/>
                <a:gd name="connsiteY5" fmla="*/ 52349 h 52348"/>
                <a:gd name="connsiteX6" fmla="*/ 26199 w 52397"/>
                <a:gd name="connsiteY6" fmla="*/ 12130 h 52348"/>
                <a:gd name="connsiteX7" fmla="*/ 39617 w 52397"/>
                <a:gd name="connsiteY7" fmla="*/ 25536 h 52348"/>
                <a:gd name="connsiteX8" fmla="*/ 26199 w 52397"/>
                <a:gd name="connsiteY8" fmla="*/ 38942 h 52348"/>
                <a:gd name="connsiteX9" fmla="*/ 12780 w 52397"/>
                <a:gd name="connsiteY9" fmla="*/ 25536 h 52348"/>
                <a:gd name="connsiteX10" fmla="*/ 12780 w 52397"/>
                <a:gd name="connsiteY10" fmla="*/ 25536 h 52348"/>
                <a:gd name="connsiteX11" fmla="*/ 26199 w 52397"/>
                <a:gd name="connsiteY11" fmla="*/ 12130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97" h="52348">
                  <a:moveTo>
                    <a:pt x="26199" y="52349"/>
                  </a:moveTo>
                  <a:cubicBezTo>
                    <a:pt x="40895" y="52349"/>
                    <a:pt x="52397" y="40857"/>
                    <a:pt x="52397" y="26174"/>
                  </a:cubicBezTo>
                  <a:cubicBezTo>
                    <a:pt x="52397" y="11491"/>
                    <a:pt x="40895" y="0"/>
                    <a:pt x="26199" y="0"/>
                  </a:cubicBezTo>
                  <a:cubicBezTo>
                    <a:pt x="11502" y="0"/>
                    <a:pt x="0" y="11491"/>
                    <a:pt x="0" y="26174"/>
                  </a:cubicBezTo>
                  <a:lnTo>
                    <a:pt x="0" y="26174"/>
                  </a:lnTo>
                  <a:cubicBezTo>
                    <a:pt x="0" y="40219"/>
                    <a:pt x="11502" y="52349"/>
                    <a:pt x="26199" y="52349"/>
                  </a:cubicBezTo>
                  <a:close/>
                  <a:moveTo>
                    <a:pt x="26199" y="12130"/>
                  </a:moveTo>
                  <a:cubicBezTo>
                    <a:pt x="33867" y="12130"/>
                    <a:pt x="39617" y="17875"/>
                    <a:pt x="39617" y="25536"/>
                  </a:cubicBezTo>
                  <a:cubicBezTo>
                    <a:pt x="39617" y="33197"/>
                    <a:pt x="33867" y="38942"/>
                    <a:pt x="26199" y="38942"/>
                  </a:cubicBezTo>
                  <a:cubicBezTo>
                    <a:pt x="18531" y="38942"/>
                    <a:pt x="12780" y="33197"/>
                    <a:pt x="12780" y="25536"/>
                  </a:cubicBezTo>
                  <a:lnTo>
                    <a:pt x="12780" y="25536"/>
                  </a:lnTo>
                  <a:cubicBezTo>
                    <a:pt x="12780" y="18514"/>
                    <a:pt x="18531" y="12130"/>
                    <a:pt x="26199" y="12130"/>
                  </a:cubicBezTo>
                  <a:close/>
                </a:path>
              </a:pathLst>
            </a:custGeom>
            <a:grpFill/>
            <a:ln w="6390"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6EB70DB5-732B-154F-35C2-EECF1732D1C8}"/>
                </a:ext>
              </a:extLst>
            </p:cNvPr>
            <p:cNvSpPr/>
            <p:nvPr/>
          </p:nvSpPr>
          <p:spPr>
            <a:xfrm>
              <a:off x="4767531" y="3044045"/>
              <a:ext cx="81791" cy="31281"/>
            </a:xfrm>
            <a:custGeom>
              <a:avLst/>
              <a:gdLst>
                <a:gd name="connsiteX0" fmla="*/ 58788 w 81791"/>
                <a:gd name="connsiteY0" fmla="*/ 0 h 31281"/>
                <a:gd name="connsiteX1" fmla="*/ 23004 w 81791"/>
                <a:gd name="connsiteY1" fmla="*/ 0 h 31281"/>
                <a:gd name="connsiteX2" fmla="*/ 0 w 81791"/>
                <a:gd name="connsiteY2" fmla="*/ 22982 h 31281"/>
                <a:gd name="connsiteX3" fmla="*/ 0 w 81791"/>
                <a:gd name="connsiteY3" fmla="*/ 31281 h 31281"/>
                <a:gd name="connsiteX4" fmla="*/ 12780 w 81791"/>
                <a:gd name="connsiteY4" fmla="*/ 31281 h 31281"/>
                <a:gd name="connsiteX5" fmla="*/ 12780 w 81791"/>
                <a:gd name="connsiteY5" fmla="*/ 22982 h 31281"/>
                <a:gd name="connsiteX6" fmla="*/ 23004 w 81791"/>
                <a:gd name="connsiteY6" fmla="*/ 12768 h 31281"/>
                <a:gd name="connsiteX7" fmla="*/ 58788 w 81791"/>
                <a:gd name="connsiteY7" fmla="*/ 12768 h 31281"/>
                <a:gd name="connsiteX8" fmla="*/ 69012 w 81791"/>
                <a:gd name="connsiteY8" fmla="*/ 22982 h 31281"/>
                <a:gd name="connsiteX9" fmla="*/ 69012 w 81791"/>
                <a:gd name="connsiteY9" fmla="*/ 31281 h 31281"/>
                <a:gd name="connsiteX10" fmla="*/ 81792 w 81791"/>
                <a:gd name="connsiteY10" fmla="*/ 31281 h 31281"/>
                <a:gd name="connsiteX11" fmla="*/ 81792 w 81791"/>
                <a:gd name="connsiteY11" fmla="*/ 22982 h 31281"/>
                <a:gd name="connsiteX12" fmla="*/ 58788 w 81791"/>
                <a:gd name="connsiteY12" fmla="*/ 0 h 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791" h="31281">
                  <a:moveTo>
                    <a:pt x="58788" y="0"/>
                  </a:moveTo>
                  <a:lnTo>
                    <a:pt x="23004" y="0"/>
                  </a:lnTo>
                  <a:cubicBezTo>
                    <a:pt x="10224" y="0"/>
                    <a:pt x="0" y="10214"/>
                    <a:pt x="0" y="22982"/>
                  </a:cubicBezTo>
                  <a:lnTo>
                    <a:pt x="0" y="31281"/>
                  </a:lnTo>
                  <a:lnTo>
                    <a:pt x="12780" y="31281"/>
                  </a:lnTo>
                  <a:lnTo>
                    <a:pt x="12780" y="22982"/>
                  </a:lnTo>
                  <a:cubicBezTo>
                    <a:pt x="12780" y="17237"/>
                    <a:pt x="17253" y="12768"/>
                    <a:pt x="23004" y="12768"/>
                  </a:cubicBezTo>
                  <a:lnTo>
                    <a:pt x="58788" y="12768"/>
                  </a:lnTo>
                  <a:cubicBezTo>
                    <a:pt x="64539" y="12768"/>
                    <a:pt x="69012" y="17237"/>
                    <a:pt x="69012" y="22982"/>
                  </a:cubicBezTo>
                  <a:lnTo>
                    <a:pt x="69012" y="31281"/>
                  </a:lnTo>
                  <a:lnTo>
                    <a:pt x="81792" y="31281"/>
                  </a:lnTo>
                  <a:lnTo>
                    <a:pt x="81792" y="22982"/>
                  </a:lnTo>
                  <a:cubicBezTo>
                    <a:pt x="81792" y="10214"/>
                    <a:pt x="71567" y="0"/>
                    <a:pt x="58788" y="0"/>
                  </a:cubicBezTo>
                  <a:close/>
                </a:path>
              </a:pathLst>
            </a:custGeom>
            <a:grpFill/>
            <a:ln w="6390" cap="flat">
              <a:noFill/>
              <a:prstDash val="solid"/>
              <a:miter/>
            </a:ln>
          </p:spPr>
          <p:txBody>
            <a:bodyPr rtlCol="0" anchor="ctr"/>
            <a:lstStyle/>
            <a:p>
              <a:endParaRPr lang="en-US"/>
            </a:p>
          </p:txBody>
        </p:sp>
      </p:grpSp>
      <p:grpSp>
        <p:nvGrpSpPr>
          <p:cNvPr id="18" name="Graphic 4">
            <a:extLst>
              <a:ext uri="{FF2B5EF4-FFF2-40B4-BE49-F238E27FC236}">
                <a16:creationId xmlns:a16="http://schemas.microsoft.com/office/drawing/2014/main" id="{83F94410-460E-1D3D-8F6D-91A92909FB6E}"/>
              </a:ext>
            </a:extLst>
          </p:cNvPr>
          <p:cNvGrpSpPr/>
          <p:nvPr/>
        </p:nvGrpSpPr>
        <p:grpSpPr>
          <a:xfrm>
            <a:off x="502148" y="5222692"/>
            <a:ext cx="301202" cy="237346"/>
            <a:chOff x="3675491" y="3915459"/>
            <a:chExt cx="226842" cy="178750"/>
          </a:xfrm>
          <a:gradFill>
            <a:gsLst>
              <a:gs pos="0">
                <a:srgbClr val="AF3592"/>
              </a:gs>
              <a:gs pos="38000">
                <a:srgbClr val="23A8DA"/>
              </a:gs>
              <a:gs pos="64000">
                <a:srgbClr val="096324"/>
              </a:gs>
              <a:gs pos="100000">
                <a:srgbClr val="E5A119"/>
              </a:gs>
            </a:gsLst>
            <a:lin ang="5400000" scaled="1"/>
          </a:gradFill>
        </p:grpSpPr>
        <p:sp>
          <p:nvSpPr>
            <p:cNvPr id="19" name="Graphic 4">
              <a:extLst>
                <a:ext uri="{FF2B5EF4-FFF2-40B4-BE49-F238E27FC236}">
                  <a16:creationId xmlns:a16="http://schemas.microsoft.com/office/drawing/2014/main" id="{BA871027-4AB0-B5AF-FBBC-4D274D17720C}"/>
                </a:ext>
              </a:extLst>
            </p:cNvPr>
            <p:cNvSpPr/>
            <p:nvPr/>
          </p:nvSpPr>
          <p:spPr>
            <a:xfrm>
              <a:off x="3709358" y="4015687"/>
              <a:ext cx="12779" cy="33196"/>
            </a:xfrm>
            <a:custGeom>
              <a:avLst/>
              <a:gdLst>
                <a:gd name="connsiteX0" fmla="*/ 6390 w 12779"/>
                <a:gd name="connsiteY0" fmla="*/ 33196 h 33196"/>
                <a:gd name="connsiteX1" fmla="*/ 0 w 12779"/>
                <a:gd name="connsiteY1" fmla="*/ 26812 h 33196"/>
                <a:gd name="connsiteX2" fmla="*/ 0 w 12779"/>
                <a:gd name="connsiteY2" fmla="*/ 6384 h 33196"/>
                <a:gd name="connsiteX3" fmla="*/ 6390 w 12779"/>
                <a:gd name="connsiteY3" fmla="*/ 0 h 33196"/>
                <a:gd name="connsiteX4" fmla="*/ 12780 w 12779"/>
                <a:gd name="connsiteY4" fmla="*/ 6384 h 33196"/>
                <a:gd name="connsiteX5" fmla="*/ 12780 w 12779"/>
                <a:gd name="connsiteY5" fmla="*/ 26812 h 33196"/>
                <a:gd name="connsiteX6" fmla="*/ 6390 w 12779"/>
                <a:gd name="connsiteY6" fmla="*/ 33196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3196">
                  <a:moveTo>
                    <a:pt x="6390" y="33196"/>
                  </a:moveTo>
                  <a:cubicBezTo>
                    <a:pt x="2556" y="33196"/>
                    <a:pt x="0" y="30643"/>
                    <a:pt x="0" y="26812"/>
                  </a:cubicBezTo>
                  <a:lnTo>
                    <a:pt x="0" y="6384"/>
                  </a:lnTo>
                  <a:cubicBezTo>
                    <a:pt x="0" y="2553"/>
                    <a:pt x="2556" y="0"/>
                    <a:pt x="6390" y="0"/>
                  </a:cubicBezTo>
                  <a:cubicBezTo>
                    <a:pt x="10224" y="0"/>
                    <a:pt x="12780" y="2553"/>
                    <a:pt x="12780" y="6384"/>
                  </a:cubicBezTo>
                  <a:lnTo>
                    <a:pt x="12780" y="26812"/>
                  </a:lnTo>
                  <a:cubicBezTo>
                    <a:pt x="12780" y="30004"/>
                    <a:pt x="10224" y="33196"/>
                    <a:pt x="6390" y="33196"/>
                  </a:cubicBezTo>
                </a:path>
              </a:pathLst>
            </a:custGeom>
            <a:grpFill/>
            <a:ln w="6390"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115C3B46-24A7-651E-E8D2-D5C386483D55}"/>
                </a:ext>
              </a:extLst>
            </p:cNvPr>
            <p:cNvSpPr/>
            <p:nvPr/>
          </p:nvSpPr>
          <p:spPr>
            <a:xfrm>
              <a:off x="3675491" y="3915459"/>
              <a:ext cx="226842" cy="157045"/>
            </a:xfrm>
            <a:custGeom>
              <a:avLst/>
              <a:gdLst>
                <a:gd name="connsiteX0" fmla="*/ 28755 w 226842"/>
                <a:gd name="connsiteY0" fmla="*/ 13406 h 157045"/>
                <a:gd name="connsiteX1" fmla="*/ 12780 w 226842"/>
                <a:gd name="connsiteY1" fmla="*/ 29366 h 157045"/>
                <a:gd name="connsiteX2" fmla="*/ 12780 w 226842"/>
                <a:gd name="connsiteY2" fmla="*/ 128957 h 157045"/>
                <a:gd name="connsiteX3" fmla="*/ 28755 w 226842"/>
                <a:gd name="connsiteY3" fmla="*/ 144916 h 157045"/>
                <a:gd name="connsiteX4" fmla="*/ 198088 w 226842"/>
                <a:gd name="connsiteY4" fmla="*/ 144916 h 157045"/>
                <a:gd name="connsiteX5" fmla="*/ 214063 w 226842"/>
                <a:gd name="connsiteY5" fmla="*/ 128957 h 157045"/>
                <a:gd name="connsiteX6" fmla="*/ 214063 w 226842"/>
                <a:gd name="connsiteY6" fmla="*/ 29366 h 157045"/>
                <a:gd name="connsiteX7" fmla="*/ 198088 w 226842"/>
                <a:gd name="connsiteY7" fmla="*/ 13406 h 157045"/>
                <a:gd name="connsiteX8" fmla="*/ 28755 w 226842"/>
                <a:gd name="connsiteY8" fmla="*/ 13406 h 157045"/>
                <a:gd name="connsiteX9" fmla="*/ 198088 w 226842"/>
                <a:gd name="connsiteY9" fmla="*/ 157046 h 157045"/>
                <a:gd name="connsiteX10" fmla="*/ 28755 w 226842"/>
                <a:gd name="connsiteY10" fmla="*/ 157046 h 157045"/>
                <a:gd name="connsiteX11" fmla="*/ 0 w 226842"/>
                <a:gd name="connsiteY11" fmla="*/ 128318 h 157045"/>
                <a:gd name="connsiteX12" fmla="*/ 0 w 226842"/>
                <a:gd name="connsiteY12" fmla="*/ 28728 h 157045"/>
                <a:gd name="connsiteX13" fmla="*/ 28755 w 226842"/>
                <a:gd name="connsiteY13" fmla="*/ 0 h 157045"/>
                <a:gd name="connsiteX14" fmla="*/ 198088 w 226842"/>
                <a:gd name="connsiteY14" fmla="*/ 0 h 157045"/>
                <a:gd name="connsiteX15" fmla="*/ 226843 w 226842"/>
                <a:gd name="connsiteY15" fmla="*/ 28728 h 157045"/>
                <a:gd name="connsiteX16" fmla="*/ 226843 w 226842"/>
                <a:gd name="connsiteY16" fmla="*/ 128318 h 157045"/>
                <a:gd name="connsiteX17" fmla="*/ 198088 w 226842"/>
                <a:gd name="connsiteY17" fmla="*/ 157046 h 15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42" h="157045">
                  <a:moveTo>
                    <a:pt x="28755" y="13406"/>
                  </a:moveTo>
                  <a:cubicBezTo>
                    <a:pt x="19809" y="13406"/>
                    <a:pt x="12780" y="20429"/>
                    <a:pt x="12780" y="29366"/>
                  </a:cubicBezTo>
                  <a:lnTo>
                    <a:pt x="12780" y="128957"/>
                  </a:lnTo>
                  <a:cubicBezTo>
                    <a:pt x="12780" y="137256"/>
                    <a:pt x="19809" y="144916"/>
                    <a:pt x="28755" y="144916"/>
                  </a:cubicBezTo>
                  <a:lnTo>
                    <a:pt x="198088" y="144916"/>
                  </a:lnTo>
                  <a:cubicBezTo>
                    <a:pt x="207034" y="144916"/>
                    <a:pt x="214063" y="137894"/>
                    <a:pt x="214063" y="128957"/>
                  </a:cubicBezTo>
                  <a:lnTo>
                    <a:pt x="214063" y="29366"/>
                  </a:lnTo>
                  <a:cubicBezTo>
                    <a:pt x="214063" y="20429"/>
                    <a:pt x="207034" y="13406"/>
                    <a:pt x="198088" y="13406"/>
                  </a:cubicBezTo>
                  <a:lnTo>
                    <a:pt x="28755" y="13406"/>
                  </a:lnTo>
                  <a:close/>
                  <a:moveTo>
                    <a:pt x="198088" y="157046"/>
                  </a:moveTo>
                  <a:lnTo>
                    <a:pt x="28755" y="157046"/>
                  </a:lnTo>
                  <a:cubicBezTo>
                    <a:pt x="12780" y="157046"/>
                    <a:pt x="0" y="144278"/>
                    <a:pt x="0" y="128318"/>
                  </a:cubicBezTo>
                  <a:lnTo>
                    <a:pt x="0" y="28728"/>
                  </a:lnTo>
                  <a:cubicBezTo>
                    <a:pt x="0" y="12768"/>
                    <a:pt x="12780" y="0"/>
                    <a:pt x="28755" y="0"/>
                  </a:cubicBezTo>
                  <a:lnTo>
                    <a:pt x="198088" y="0"/>
                  </a:lnTo>
                  <a:cubicBezTo>
                    <a:pt x="214063" y="0"/>
                    <a:pt x="226843" y="12768"/>
                    <a:pt x="226843" y="28728"/>
                  </a:cubicBezTo>
                  <a:lnTo>
                    <a:pt x="226843" y="128318"/>
                  </a:lnTo>
                  <a:cubicBezTo>
                    <a:pt x="226843" y="144278"/>
                    <a:pt x="214063" y="157046"/>
                    <a:pt x="198088" y="157046"/>
                  </a:cubicBezTo>
                </a:path>
              </a:pathLst>
            </a:custGeom>
            <a:grpFill/>
            <a:ln w="6390"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912C2ACE-2F86-3A7A-9DEB-2D7D99717003}"/>
                </a:ext>
              </a:extLst>
            </p:cNvPr>
            <p:cNvSpPr/>
            <p:nvPr/>
          </p:nvSpPr>
          <p:spPr>
            <a:xfrm>
              <a:off x="3824377" y="3988874"/>
              <a:ext cx="12779" cy="61924"/>
            </a:xfrm>
            <a:custGeom>
              <a:avLst/>
              <a:gdLst>
                <a:gd name="connsiteX0" fmla="*/ 6390 w 12779"/>
                <a:gd name="connsiteY0" fmla="*/ 61925 h 61924"/>
                <a:gd name="connsiteX1" fmla="*/ 0 w 12779"/>
                <a:gd name="connsiteY1" fmla="*/ 55541 h 61924"/>
                <a:gd name="connsiteX2" fmla="*/ 0 w 12779"/>
                <a:gd name="connsiteY2" fmla="*/ 6384 h 61924"/>
                <a:gd name="connsiteX3" fmla="*/ 6390 w 12779"/>
                <a:gd name="connsiteY3" fmla="*/ 0 h 61924"/>
                <a:gd name="connsiteX4" fmla="*/ 12780 w 12779"/>
                <a:gd name="connsiteY4" fmla="*/ 6384 h 61924"/>
                <a:gd name="connsiteX5" fmla="*/ 12780 w 12779"/>
                <a:gd name="connsiteY5" fmla="*/ 55541 h 61924"/>
                <a:gd name="connsiteX6" fmla="*/ 6390 w 12779"/>
                <a:gd name="connsiteY6" fmla="*/ 61925 h 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1924">
                  <a:moveTo>
                    <a:pt x="6390" y="61925"/>
                  </a:moveTo>
                  <a:cubicBezTo>
                    <a:pt x="2556" y="61925"/>
                    <a:pt x="0" y="59371"/>
                    <a:pt x="0" y="55541"/>
                  </a:cubicBezTo>
                  <a:lnTo>
                    <a:pt x="0" y="6384"/>
                  </a:lnTo>
                  <a:cubicBezTo>
                    <a:pt x="0" y="2553"/>
                    <a:pt x="2556" y="0"/>
                    <a:pt x="6390" y="0"/>
                  </a:cubicBezTo>
                  <a:cubicBezTo>
                    <a:pt x="10224" y="0"/>
                    <a:pt x="12780" y="2553"/>
                    <a:pt x="12780" y="6384"/>
                  </a:cubicBezTo>
                  <a:lnTo>
                    <a:pt x="12780" y="55541"/>
                  </a:lnTo>
                  <a:cubicBezTo>
                    <a:pt x="12780" y="59371"/>
                    <a:pt x="9585" y="61925"/>
                    <a:pt x="6390" y="61925"/>
                  </a:cubicBezTo>
                </a:path>
              </a:pathLst>
            </a:custGeom>
            <a:grpFill/>
            <a:ln w="6390"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E0421ABA-DB0C-2E21-46BA-161331816D97}"/>
                </a:ext>
              </a:extLst>
            </p:cNvPr>
            <p:cNvSpPr/>
            <p:nvPr/>
          </p:nvSpPr>
          <p:spPr>
            <a:xfrm>
              <a:off x="3853132" y="3974829"/>
              <a:ext cx="12779" cy="75969"/>
            </a:xfrm>
            <a:custGeom>
              <a:avLst/>
              <a:gdLst>
                <a:gd name="connsiteX0" fmla="*/ 6390 w 12779"/>
                <a:gd name="connsiteY0" fmla="*/ 75970 h 75969"/>
                <a:gd name="connsiteX1" fmla="*/ 0 w 12779"/>
                <a:gd name="connsiteY1" fmla="*/ 69586 h 75969"/>
                <a:gd name="connsiteX2" fmla="*/ 0 w 12779"/>
                <a:gd name="connsiteY2" fmla="*/ 6384 h 75969"/>
                <a:gd name="connsiteX3" fmla="*/ 6390 w 12779"/>
                <a:gd name="connsiteY3" fmla="*/ 0 h 75969"/>
                <a:gd name="connsiteX4" fmla="*/ 12780 w 12779"/>
                <a:gd name="connsiteY4" fmla="*/ 6384 h 75969"/>
                <a:gd name="connsiteX5" fmla="*/ 12780 w 12779"/>
                <a:gd name="connsiteY5" fmla="*/ 69586 h 75969"/>
                <a:gd name="connsiteX6" fmla="*/ 6390 w 12779"/>
                <a:gd name="connsiteY6" fmla="*/ 75970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5969">
                  <a:moveTo>
                    <a:pt x="6390" y="75970"/>
                  </a:moveTo>
                  <a:cubicBezTo>
                    <a:pt x="2556" y="75970"/>
                    <a:pt x="0" y="73416"/>
                    <a:pt x="0" y="69586"/>
                  </a:cubicBezTo>
                  <a:lnTo>
                    <a:pt x="0" y="6384"/>
                  </a:lnTo>
                  <a:cubicBezTo>
                    <a:pt x="0" y="2554"/>
                    <a:pt x="2556" y="0"/>
                    <a:pt x="6390" y="0"/>
                  </a:cubicBezTo>
                  <a:cubicBezTo>
                    <a:pt x="10224" y="0"/>
                    <a:pt x="12780" y="2554"/>
                    <a:pt x="12780" y="6384"/>
                  </a:cubicBezTo>
                  <a:lnTo>
                    <a:pt x="12780" y="69586"/>
                  </a:lnTo>
                  <a:cubicBezTo>
                    <a:pt x="12780" y="73416"/>
                    <a:pt x="9585" y="75970"/>
                    <a:pt x="6390" y="75970"/>
                  </a:cubicBezTo>
                </a:path>
              </a:pathLst>
            </a:custGeom>
            <a:grpFill/>
            <a:ln w="6390"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99A3ECC7-A297-48D9-0465-FB9E6DD6704E}"/>
                </a:ext>
              </a:extLst>
            </p:cNvPr>
            <p:cNvSpPr/>
            <p:nvPr/>
          </p:nvSpPr>
          <p:spPr>
            <a:xfrm>
              <a:off x="3795622" y="4002919"/>
              <a:ext cx="12779" cy="47879"/>
            </a:xfrm>
            <a:custGeom>
              <a:avLst/>
              <a:gdLst>
                <a:gd name="connsiteX0" fmla="*/ 6390 w 12779"/>
                <a:gd name="connsiteY0" fmla="*/ 47880 h 47879"/>
                <a:gd name="connsiteX1" fmla="*/ 0 w 12779"/>
                <a:gd name="connsiteY1" fmla="*/ 41496 h 47879"/>
                <a:gd name="connsiteX2" fmla="*/ 0 w 12779"/>
                <a:gd name="connsiteY2" fmla="*/ 6384 h 47879"/>
                <a:gd name="connsiteX3" fmla="*/ 6390 w 12779"/>
                <a:gd name="connsiteY3" fmla="*/ 0 h 47879"/>
                <a:gd name="connsiteX4" fmla="*/ 12780 w 12779"/>
                <a:gd name="connsiteY4" fmla="*/ 6384 h 47879"/>
                <a:gd name="connsiteX5" fmla="*/ 12780 w 12779"/>
                <a:gd name="connsiteY5" fmla="*/ 41496 h 47879"/>
                <a:gd name="connsiteX6" fmla="*/ 6390 w 12779"/>
                <a:gd name="connsiteY6" fmla="*/ 47880 h 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7879">
                  <a:moveTo>
                    <a:pt x="6390" y="47880"/>
                  </a:moveTo>
                  <a:cubicBezTo>
                    <a:pt x="2556" y="47880"/>
                    <a:pt x="0" y="45326"/>
                    <a:pt x="0" y="41496"/>
                  </a:cubicBezTo>
                  <a:lnTo>
                    <a:pt x="0" y="6384"/>
                  </a:lnTo>
                  <a:cubicBezTo>
                    <a:pt x="0" y="2553"/>
                    <a:pt x="2556" y="0"/>
                    <a:pt x="6390" y="0"/>
                  </a:cubicBezTo>
                  <a:cubicBezTo>
                    <a:pt x="10224" y="0"/>
                    <a:pt x="12780" y="2553"/>
                    <a:pt x="12780" y="6384"/>
                  </a:cubicBezTo>
                  <a:lnTo>
                    <a:pt x="12780" y="41496"/>
                  </a:lnTo>
                  <a:cubicBezTo>
                    <a:pt x="12780" y="45326"/>
                    <a:pt x="10224" y="47880"/>
                    <a:pt x="6390" y="47880"/>
                  </a:cubicBezTo>
                </a:path>
              </a:pathLst>
            </a:custGeom>
            <a:grpFill/>
            <a:ln w="6390"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BEBFD21E-FA24-C8B2-75CC-929A3F2152BC}"/>
                </a:ext>
              </a:extLst>
            </p:cNvPr>
            <p:cNvSpPr/>
            <p:nvPr/>
          </p:nvSpPr>
          <p:spPr>
            <a:xfrm>
              <a:off x="3766867" y="3990151"/>
              <a:ext cx="12779" cy="60647"/>
            </a:xfrm>
            <a:custGeom>
              <a:avLst/>
              <a:gdLst>
                <a:gd name="connsiteX0" fmla="*/ 6390 w 12779"/>
                <a:gd name="connsiteY0" fmla="*/ 60648 h 60647"/>
                <a:gd name="connsiteX1" fmla="*/ 0 w 12779"/>
                <a:gd name="connsiteY1" fmla="*/ 54264 h 60647"/>
                <a:gd name="connsiteX2" fmla="*/ 0 w 12779"/>
                <a:gd name="connsiteY2" fmla="*/ 6384 h 60647"/>
                <a:gd name="connsiteX3" fmla="*/ 6390 w 12779"/>
                <a:gd name="connsiteY3" fmla="*/ 0 h 60647"/>
                <a:gd name="connsiteX4" fmla="*/ 12780 w 12779"/>
                <a:gd name="connsiteY4" fmla="*/ 6384 h 60647"/>
                <a:gd name="connsiteX5" fmla="*/ 12780 w 12779"/>
                <a:gd name="connsiteY5" fmla="*/ 54264 h 60647"/>
                <a:gd name="connsiteX6" fmla="*/ 6390 w 12779"/>
                <a:gd name="connsiteY6" fmla="*/ 60648 h 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0647">
                  <a:moveTo>
                    <a:pt x="6390" y="60648"/>
                  </a:moveTo>
                  <a:cubicBezTo>
                    <a:pt x="2556" y="60648"/>
                    <a:pt x="0" y="58094"/>
                    <a:pt x="0" y="54264"/>
                  </a:cubicBezTo>
                  <a:lnTo>
                    <a:pt x="0" y="6384"/>
                  </a:lnTo>
                  <a:cubicBezTo>
                    <a:pt x="0" y="2553"/>
                    <a:pt x="2556" y="0"/>
                    <a:pt x="6390" y="0"/>
                  </a:cubicBezTo>
                  <a:cubicBezTo>
                    <a:pt x="10224" y="0"/>
                    <a:pt x="12780" y="2553"/>
                    <a:pt x="12780" y="6384"/>
                  </a:cubicBezTo>
                  <a:lnTo>
                    <a:pt x="12780" y="54264"/>
                  </a:lnTo>
                  <a:cubicBezTo>
                    <a:pt x="12780" y="58094"/>
                    <a:pt x="10224" y="60648"/>
                    <a:pt x="6390" y="60648"/>
                  </a:cubicBezTo>
                </a:path>
              </a:pathLst>
            </a:custGeom>
            <a:grpFill/>
            <a:ln w="6390"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8FF40501-8B3B-5C24-8077-8B8383FAFA1F}"/>
                </a:ext>
              </a:extLst>
            </p:cNvPr>
            <p:cNvSpPr/>
            <p:nvPr/>
          </p:nvSpPr>
          <p:spPr>
            <a:xfrm>
              <a:off x="3738113" y="4007388"/>
              <a:ext cx="12779" cy="43411"/>
            </a:xfrm>
            <a:custGeom>
              <a:avLst/>
              <a:gdLst>
                <a:gd name="connsiteX0" fmla="*/ 6390 w 12779"/>
                <a:gd name="connsiteY0" fmla="*/ 43411 h 43411"/>
                <a:gd name="connsiteX1" fmla="*/ 0 w 12779"/>
                <a:gd name="connsiteY1" fmla="*/ 37027 h 43411"/>
                <a:gd name="connsiteX2" fmla="*/ 0 w 12779"/>
                <a:gd name="connsiteY2" fmla="*/ 6384 h 43411"/>
                <a:gd name="connsiteX3" fmla="*/ 6390 w 12779"/>
                <a:gd name="connsiteY3" fmla="*/ 0 h 43411"/>
                <a:gd name="connsiteX4" fmla="*/ 12780 w 12779"/>
                <a:gd name="connsiteY4" fmla="*/ 6384 h 43411"/>
                <a:gd name="connsiteX5" fmla="*/ 12780 w 12779"/>
                <a:gd name="connsiteY5" fmla="*/ 37027 h 43411"/>
                <a:gd name="connsiteX6" fmla="*/ 6390 w 12779"/>
                <a:gd name="connsiteY6" fmla="*/ 43411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3411">
                  <a:moveTo>
                    <a:pt x="6390" y="43411"/>
                  </a:moveTo>
                  <a:cubicBezTo>
                    <a:pt x="2556" y="43411"/>
                    <a:pt x="0" y="40858"/>
                    <a:pt x="0" y="37027"/>
                  </a:cubicBezTo>
                  <a:lnTo>
                    <a:pt x="0" y="6384"/>
                  </a:lnTo>
                  <a:cubicBezTo>
                    <a:pt x="0" y="2554"/>
                    <a:pt x="2556" y="0"/>
                    <a:pt x="6390" y="0"/>
                  </a:cubicBezTo>
                  <a:cubicBezTo>
                    <a:pt x="10224" y="0"/>
                    <a:pt x="12780" y="2554"/>
                    <a:pt x="12780" y="6384"/>
                  </a:cubicBezTo>
                  <a:lnTo>
                    <a:pt x="12780" y="37027"/>
                  </a:lnTo>
                  <a:cubicBezTo>
                    <a:pt x="12780" y="40858"/>
                    <a:pt x="10224" y="43411"/>
                    <a:pt x="6390" y="43411"/>
                  </a:cubicBezTo>
                </a:path>
              </a:pathLst>
            </a:custGeom>
            <a:grpFill/>
            <a:ln w="6390"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A52E373D-5AAB-444F-281F-B4AC14802495}"/>
                </a:ext>
              </a:extLst>
            </p:cNvPr>
            <p:cNvSpPr/>
            <p:nvPr/>
          </p:nvSpPr>
          <p:spPr>
            <a:xfrm>
              <a:off x="3696716" y="3936526"/>
              <a:ext cx="179684" cy="74692"/>
            </a:xfrm>
            <a:custGeom>
              <a:avLst/>
              <a:gdLst>
                <a:gd name="connsiteX0" fmla="*/ 6252 w 179684"/>
                <a:gd name="connsiteY0" fmla="*/ 74693 h 74692"/>
                <a:gd name="connsiteX1" fmla="*/ 501 w 179684"/>
                <a:gd name="connsiteY1" fmla="*/ 70862 h 74692"/>
                <a:gd name="connsiteX2" fmla="*/ 3057 w 179684"/>
                <a:gd name="connsiteY2" fmla="*/ 62563 h 74692"/>
                <a:gd name="connsiteX3" fmla="*/ 79098 w 179684"/>
                <a:gd name="connsiteY3" fmla="*/ 24259 h 74692"/>
                <a:gd name="connsiteX4" fmla="*/ 86127 w 179684"/>
                <a:gd name="connsiteY4" fmla="*/ 24898 h 74692"/>
                <a:gd name="connsiteX5" fmla="*/ 106574 w 179684"/>
                <a:gd name="connsiteY5" fmla="*/ 40858 h 74692"/>
                <a:gd name="connsiteX6" fmla="*/ 154499 w 179684"/>
                <a:gd name="connsiteY6" fmla="*/ 11491 h 74692"/>
                <a:gd name="connsiteX7" fmla="*/ 151943 w 179684"/>
                <a:gd name="connsiteY7" fmla="*/ 5746 h 74692"/>
                <a:gd name="connsiteX8" fmla="*/ 158972 w 179684"/>
                <a:gd name="connsiteY8" fmla="*/ 0 h 74692"/>
                <a:gd name="connsiteX9" fmla="*/ 173669 w 179684"/>
                <a:gd name="connsiteY9" fmla="*/ 1277 h 74692"/>
                <a:gd name="connsiteX10" fmla="*/ 174308 w 179684"/>
                <a:gd name="connsiteY10" fmla="*/ 1277 h 74692"/>
                <a:gd name="connsiteX11" fmla="*/ 174308 w 179684"/>
                <a:gd name="connsiteY11" fmla="*/ 1277 h 74692"/>
                <a:gd name="connsiteX12" fmla="*/ 174308 w 179684"/>
                <a:gd name="connsiteY12" fmla="*/ 1277 h 74692"/>
                <a:gd name="connsiteX13" fmla="*/ 174947 w 179684"/>
                <a:gd name="connsiteY13" fmla="*/ 1277 h 74692"/>
                <a:gd name="connsiteX14" fmla="*/ 174947 w 179684"/>
                <a:gd name="connsiteY14" fmla="*/ 1277 h 74692"/>
                <a:gd name="connsiteX15" fmla="*/ 178781 w 179684"/>
                <a:gd name="connsiteY15" fmla="*/ 3830 h 74692"/>
                <a:gd name="connsiteX16" fmla="*/ 178781 w 179684"/>
                <a:gd name="connsiteY16" fmla="*/ 3830 h 74692"/>
                <a:gd name="connsiteX17" fmla="*/ 178781 w 179684"/>
                <a:gd name="connsiteY17" fmla="*/ 3830 h 74692"/>
                <a:gd name="connsiteX18" fmla="*/ 178781 w 179684"/>
                <a:gd name="connsiteY18" fmla="*/ 3830 h 74692"/>
                <a:gd name="connsiteX19" fmla="*/ 178781 w 179684"/>
                <a:gd name="connsiteY19" fmla="*/ 3830 h 74692"/>
                <a:gd name="connsiteX20" fmla="*/ 178781 w 179684"/>
                <a:gd name="connsiteY20" fmla="*/ 3830 h 74692"/>
                <a:gd name="connsiteX21" fmla="*/ 178781 w 179684"/>
                <a:gd name="connsiteY21" fmla="*/ 3830 h 74692"/>
                <a:gd name="connsiteX22" fmla="*/ 179419 w 179684"/>
                <a:gd name="connsiteY22" fmla="*/ 8299 h 74692"/>
                <a:gd name="connsiteX23" fmla="*/ 179419 w 179684"/>
                <a:gd name="connsiteY23" fmla="*/ 8938 h 74692"/>
                <a:gd name="connsiteX24" fmla="*/ 179419 w 179684"/>
                <a:gd name="connsiteY24" fmla="*/ 8938 h 74692"/>
                <a:gd name="connsiteX25" fmla="*/ 179419 w 179684"/>
                <a:gd name="connsiteY25" fmla="*/ 9576 h 74692"/>
                <a:gd name="connsiteX26" fmla="*/ 174947 w 179684"/>
                <a:gd name="connsiteY26" fmla="*/ 22982 h 74692"/>
                <a:gd name="connsiteX27" fmla="*/ 166640 w 179684"/>
                <a:gd name="connsiteY27" fmla="*/ 26813 h 74692"/>
                <a:gd name="connsiteX28" fmla="*/ 162806 w 179684"/>
                <a:gd name="connsiteY28" fmla="*/ 21706 h 74692"/>
                <a:gd name="connsiteX29" fmla="*/ 110408 w 179684"/>
                <a:gd name="connsiteY29" fmla="*/ 53626 h 74692"/>
                <a:gd name="connsiteX30" fmla="*/ 103379 w 179684"/>
                <a:gd name="connsiteY30" fmla="*/ 52987 h 74692"/>
                <a:gd name="connsiteX31" fmla="*/ 82293 w 179684"/>
                <a:gd name="connsiteY31" fmla="*/ 36389 h 74692"/>
                <a:gd name="connsiteX32" fmla="*/ 9447 w 179684"/>
                <a:gd name="connsiteY32" fmla="*/ 72778 h 74692"/>
                <a:gd name="connsiteX33" fmla="*/ 6252 w 179684"/>
                <a:gd name="connsiteY33" fmla="*/ 7469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9684" h="74692">
                  <a:moveTo>
                    <a:pt x="6252" y="74693"/>
                  </a:moveTo>
                  <a:cubicBezTo>
                    <a:pt x="3696" y="74693"/>
                    <a:pt x="1779" y="73416"/>
                    <a:pt x="501" y="70862"/>
                  </a:cubicBezTo>
                  <a:cubicBezTo>
                    <a:pt x="-776" y="67670"/>
                    <a:pt x="501" y="63840"/>
                    <a:pt x="3057" y="62563"/>
                  </a:cubicBezTo>
                  <a:lnTo>
                    <a:pt x="79098" y="24259"/>
                  </a:lnTo>
                  <a:cubicBezTo>
                    <a:pt x="81015" y="22982"/>
                    <a:pt x="84210" y="23621"/>
                    <a:pt x="86127" y="24898"/>
                  </a:cubicBezTo>
                  <a:lnTo>
                    <a:pt x="106574" y="40858"/>
                  </a:lnTo>
                  <a:lnTo>
                    <a:pt x="154499" y="11491"/>
                  </a:lnTo>
                  <a:cubicBezTo>
                    <a:pt x="152582" y="10214"/>
                    <a:pt x="151304" y="7661"/>
                    <a:pt x="151943" y="5746"/>
                  </a:cubicBezTo>
                  <a:cubicBezTo>
                    <a:pt x="152582" y="2554"/>
                    <a:pt x="155138" y="0"/>
                    <a:pt x="158972" y="0"/>
                  </a:cubicBezTo>
                  <a:lnTo>
                    <a:pt x="173669" y="1277"/>
                  </a:lnTo>
                  <a:cubicBezTo>
                    <a:pt x="173669" y="1277"/>
                    <a:pt x="174308" y="1277"/>
                    <a:pt x="174308" y="1277"/>
                  </a:cubicBezTo>
                  <a:cubicBezTo>
                    <a:pt x="174308" y="1277"/>
                    <a:pt x="174308" y="1277"/>
                    <a:pt x="174308" y="1277"/>
                  </a:cubicBezTo>
                  <a:lnTo>
                    <a:pt x="174308" y="1277"/>
                  </a:lnTo>
                  <a:cubicBezTo>
                    <a:pt x="174308" y="1277"/>
                    <a:pt x="174947" y="1277"/>
                    <a:pt x="174947" y="1277"/>
                  </a:cubicBezTo>
                  <a:cubicBezTo>
                    <a:pt x="174947" y="1277"/>
                    <a:pt x="174947" y="1277"/>
                    <a:pt x="174947" y="1277"/>
                  </a:cubicBezTo>
                  <a:cubicBezTo>
                    <a:pt x="176225" y="1915"/>
                    <a:pt x="177503" y="2554"/>
                    <a:pt x="178781" y="3830"/>
                  </a:cubicBezTo>
                  <a:lnTo>
                    <a:pt x="178781" y="3830"/>
                  </a:lnTo>
                  <a:cubicBezTo>
                    <a:pt x="178781" y="3830"/>
                    <a:pt x="178781" y="3830"/>
                    <a:pt x="178781" y="3830"/>
                  </a:cubicBezTo>
                  <a:cubicBezTo>
                    <a:pt x="178781" y="3830"/>
                    <a:pt x="178781" y="3830"/>
                    <a:pt x="178781" y="3830"/>
                  </a:cubicBezTo>
                  <a:lnTo>
                    <a:pt x="178781" y="3830"/>
                  </a:lnTo>
                  <a:lnTo>
                    <a:pt x="178781" y="3830"/>
                  </a:lnTo>
                  <a:cubicBezTo>
                    <a:pt x="178781" y="3830"/>
                    <a:pt x="178781" y="3830"/>
                    <a:pt x="178781" y="3830"/>
                  </a:cubicBezTo>
                  <a:cubicBezTo>
                    <a:pt x="179419" y="5107"/>
                    <a:pt x="180059" y="7022"/>
                    <a:pt x="179419" y="8299"/>
                  </a:cubicBezTo>
                  <a:cubicBezTo>
                    <a:pt x="179419" y="8299"/>
                    <a:pt x="179419" y="8938"/>
                    <a:pt x="179419" y="8938"/>
                  </a:cubicBezTo>
                  <a:cubicBezTo>
                    <a:pt x="179419" y="8938"/>
                    <a:pt x="179419" y="8938"/>
                    <a:pt x="179419" y="8938"/>
                  </a:cubicBezTo>
                  <a:cubicBezTo>
                    <a:pt x="179419" y="8938"/>
                    <a:pt x="179419" y="9576"/>
                    <a:pt x="179419" y="9576"/>
                  </a:cubicBezTo>
                  <a:lnTo>
                    <a:pt x="174947" y="22982"/>
                  </a:lnTo>
                  <a:cubicBezTo>
                    <a:pt x="173669" y="26174"/>
                    <a:pt x="169835" y="28090"/>
                    <a:pt x="166640" y="26813"/>
                  </a:cubicBezTo>
                  <a:cubicBezTo>
                    <a:pt x="164084" y="26174"/>
                    <a:pt x="162806" y="24259"/>
                    <a:pt x="162806" y="21706"/>
                  </a:cubicBezTo>
                  <a:lnTo>
                    <a:pt x="110408" y="53626"/>
                  </a:lnTo>
                  <a:cubicBezTo>
                    <a:pt x="107852" y="54902"/>
                    <a:pt x="105296" y="54902"/>
                    <a:pt x="103379" y="52987"/>
                  </a:cubicBezTo>
                  <a:lnTo>
                    <a:pt x="82293" y="36389"/>
                  </a:lnTo>
                  <a:lnTo>
                    <a:pt x="9447" y="72778"/>
                  </a:lnTo>
                  <a:cubicBezTo>
                    <a:pt x="8169" y="74054"/>
                    <a:pt x="7530" y="74693"/>
                    <a:pt x="6252" y="74693"/>
                  </a:cubicBezTo>
                </a:path>
              </a:pathLst>
            </a:custGeom>
            <a:grpFill/>
            <a:ln w="6390"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C3FFB3F2-6275-F56B-282D-BFB0E40EF323}"/>
                </a:ext>
              </a:extLst>
            </p:cNvPr>
            <p:cNvSpPr/>
            <p:nvPr/>
          </p:nvSpPr>
          <p:spPr>
            <a:xfrm>
              <a:off x="3709358" y="4081442"/>
              <a:ext cx="159109" cy="12767"/>
            </a:xfrm>
            <a:custGeom>
              <a:avLst/>
              <a:gdLst>
                <a:gd name="connsiteX0" fmla="*/ 152720 w 159109"/>
                <a:gd name="connsiteY0" fmla="*/ 12768 h 12767"/>
                <a:gd name="connsiteX1" fmla="*/ 6390 w 159109"/>
                <a:gd name="connsiteY1" fmla="*/ 12768 h 12767"/>
                <a:gd name="connsiteX2" fmla="*/ 0 w 159109"/>
                <a:gd name="connsiteY2" fmla="*/ 6384 h 12767"/>
                <a:gd name="connsiteX3" fmla="*/ 6390 w 159109"/>
                <a:gd name="connsiteY3" fmla="*/ 0 h 12767"/>
                <a:gd name="connsiteX4" fmla="*/ 152720 w 159109"/>
                <a:gd name="connsiteY4" fmla="*/ 0 h 12767"/>
                <a:gd name="connsiteX5" fmla="*/ 159110 w 159109"/>
                <a:gd name="connsiteY5" fmla="*/ 6384 h 12767"/>
                <a:gd name="connsiteX6" fmla="*/ 152720 w 159109"/>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109" h="12767">
                  <a:moveTo>
                    <a:pt x="152720" y="12768"/>
                  </a:moveTo>
                  <a:lnTo>
                    <a:pt x="6390" y="12768"/>
                  </a:lnTo>
                  <a:cubicBezTo>
                    <a:pt x="2556" y="12768"/>
                    <a:pt x="0" y="10214"/>
                    <a:pt x="0" y="6384"/>
                  </a:cubicBezTo>
                  <a:cubicBezTo>
                    <a:pt x="0" y="2553"/>
                    <a:pt x="2556" y="0"/>
                    <a:pt x="6390" y="0"/>
                  </a:cubicBezTo>
                  <a:lnTo>
                    <a:pt x="152720" y="0"/>
                  </a:lnTo>
                  <a:cubicBezTo>
                    <a:pt x="156553" y="0"/>
                    <a:pt x="159110" y="2553"/>
                    <a:pt x="159110" y="6384"/>
                  </a:cubicBezTo>
                  <a:cubicBezTo>
                    <a:pt x="159110" y="10214"/>
                    <a:pt x="156553" y="12768"/>
                    <a:pt x="152720" y="12768"/>
                  </a:cubicBezTo>
                </a:path>
              </a:pathLst>
            </a:custGeom>
            <a:grpFill/>
            <a:ln w="6390" cap="flat">
              <a:noFill/>
              <a:prstDash val="solid"/>
              <a:miter/>
            </a:ln>
          </p:spPr>
          <p:txBody>
            <a:bodyPr rtlCol="0" anchor="ctr"/>
            <a:lstStyle/>
            <a:p>
              <a:endParaRPr lang="en-US"/>
            </a:p>
          </p:txBody>
        </p:sp>
      </p:grpSp>
      <p:sp>
        <p:nvSpPr>
          <p:cNvPr id="28" name="Rectangle: Rounded Corners 27">
            <a:extLst>
              <a:ext uri="{FF2B5EF4-FFF2-40B4-BE49-F238E27FC236}">
                <a16:creationId xmlns:a16="http://schemas.microsoft.com/office/drawing/2014/main" id="{5C74ACF9-241E-24E5-BEDE-E466829B5018}"/>
              </a:ext>
            </a:extLst>
          </p:cNvPr>
          <p:cNvSpPr/>
          <p:nvPr/>
        </p:nvSpPr>
        <p:spPr>
          <a:xfrm>
            <a:off x="1705362" y="2838257"/>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C96108F7-36E9-CCD9-B737-98D846D2B75F}"/>
              </a:ext>
            </a:extLst>
          </p:cNvPr>
          <p:cNvSpPr/>
          <p:nvPr/>
        </p:nvSpPr>
        <p:spPr>
          <a:xfrm>
            <a:off x="1896364" y="2945908"/>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900" b="1">
                <a:solidFill>
                  <a:schemeClr val="bg1"/>
                </a:solidFill>
                <a:latin typeface="+mj-lt"/>
                <a:ea typeface="Sans Serif Collection" panose="020B0502040504020204" pitchFamily="34" charset="0"/>
                <a:cs typeface="Sans Serif Collection" panose="020B0502040504020204" pitchFamily="34" charset="0"/>
              </a:rPr>
              <a:t>Process Map</a:t>
            </a:r>
          </a:p>
        </p:txBody>
      </p:sp>
      <p:sp>
        <p:nvSpPr>
          <p:cNvPr id="30" name="Rectangle: Rounded Corners 29">
            <a:extLst>
              <a:ext uri="{FF2B5EF4-FFF2-40B4-BE49-F238E27FC236}">
                <a16:creationId xmlns:a16="http://schemas.microsoft.com/office/drawing/2014/main" id="{1206BC0E-4805-40C6-3F44-D051BA6BFA48}"/>
              </a:ext>
            </a:extLst>
          </p:cNvPr>
          <p:cNvSpPr/>
          <p:nvPr/>
        </p:nvSpPr>
        <p:spPr>
          <a:xfrm>
            <a:off x="418768" y="2838257"/>
            <a:ext cx="1203182" cy="1181143"/>
          </a:xfrm>
          <a:prstGeom prst="roundRect">
            <a:avLst>
              <a:gd name="adj" fmla="val 10418"/>
            </a:avLst>
          </a:prstGeom>
          <a:solidFill>
            <a:schemeClr val="tx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C3E18D-A231-284B-2966-CFCC86C66CEE}"/>
              </a:ext>
            </a:extLst>
          </p:cNvPr>
          <p:cNvSpPr/>
          <p:nvPr/>
        </p:nvSpPr>
        <p:spPr>
          <a:xfrm>
            <a:off x="502180" y="2945908"/>
            <a:ext cx="1036359" cy="232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900" b="1">
                <a:solidFill>
                  <a:schemeClr val="bg1"/>
                </a:solidFill>
                <a:latin typeface="+mj-lt"/>
                <a:ea typeface="Sans Serif Collection" panose="020B0502040504020204" pitchFamily="34" charset="0"/>
                <a:cs typeface="Sans Serif Collection" panose="020B0502040504020204" pitchFamily="34" charset="0"/>
              </a:rPr>
              <a:t>My Inbox</a:t>
            </a:r>
          </a:p>
        </p:txBody>
      </p:sp>
      <p:grpSp>
        <p:nvGrpSpPr>
          <p:cNvPr id="33" name="Graphic 4">
            <a:extLst>
              <a:ext uri="{FF2B5EF4-FFF2-40B4-BE49-F238E27FC236}">
                <a16:creationId xmlns:a16="http://schemas.microsoft.com/office/drawing/2014/main" id="{E27F8D85-B7F3-B0C1-8A3E-C753A5919265}"/>
              </a:ext>
            </a:extLst>
          </p:cNvPr>
          <p:cNvGrpSpPr/>
          <p:nvPr/>
        </p:nvGrpSpPr>
        <p:grpSpPr>
          <a:xfrm>
            <a:off x="504097" y="3585790"/>
            <a:ext cx="338245" cy="274136"/>
            <a:chOff x="4726636" y="2942507"/>
            <a:chExt cx="233232" cy="189026"/>
          </a:xfrm>
          <a:gradFill>
            <a:gsLst>
              <a:gs pos="0">
                <a:srgbClr val="AF3592"/>
              </a:gs>
              <a:gs pos="38000">
                <a:srgbClr val="23A8DA"/>
              </a:gs>
              <a:gs pos="64000">
                <a:srgbClr val="096324"/>
              </a:gs>
              <a:gs pos="100000">
                <a:srgbClr val="E5A119"/>
              </a:gs>
            </a:gsLst>
            <a:lin ang="5400000" scaled="1"/>
          </a:gradFill>
        </p:grpSpPr>
        <p:sp>
          <p:nvSpPr>
            <p:cNvPr id="34" name="Graphic 4">
              <a:extLst>
                <a:ext uri="{FF2B5EF4-FFF2-40B4-BE49-F238E27FC236}">
                  <a16:creationId xmlns:a16="http://schemas.microsoft.com/office/drawing/2014/main" id="{62AF20C5-A8AF-717F-D7C9-2E18611CF6B5}"/>
                </a:ext>
              </a:extLst>
            </p:cNvPr>
            <p:cNvSpPr/>
            <p:nvPr/>
          </p:nvSpPr>
          <p:spPr>
            <a:xfrm>
              <a:off x="4726636" y="2942507"/>
              <a:ext cx="233232" cy="189026"/>
            </a:xfrm>
            <a:custGeom>
              <a:avLst/>
              <a:gdLst>
                <a:gd name="connsiteX0" fmla="*/ 210868 w 233232"/>
                <a:gd name="connsiteY0" fmla="*/ 32 h 189026"/>
                <a:gd name="connsiteX1" fmla="*/ 139301 w 233232"/>
                <a:gd name="connsiteY1" fmla="*/ 32 h 189026"/>
                <a:gd name="connsiteX2" fmla="*/ 117575 w 233232"/>
                <a:gd name="connsiteY2" fmla="*/ 19823 h 189026"/>
                <a:gd name="connsiteX3" fmla="*/ 117575 w 233232"/>
                <a:gd name="connsiteY3" fmla="*/ 22376 h 189026"/>
                <a:gd name="connsiteX4" fmla="*/ 34505 w 233232"/>
                <a:gd name="connsiteY4" fmla="*/ 22376 h 189026"/>
                <a:gd name="connsiteX5" fmla="*/ 15975 w 233232"/>
                <a:gd name="connsiteY5" fmla="*/ 39613 h 189026"/>
                <a:gd name="connsiteX6" fmla="*/ 15975 w 233232"/>
                <a:gd name="connsiteY6" fmla="*/ 143034 h 189026"/>
                <a:gd name="connsiteX7" fmla="*/ 11502 w 233232"/>
                <a:gd name="connsiteY7" fmla="*/ 143034 h 189026"/>
                <a:gd name="connsiteX8" fmla="*/ 0 w 233232"/>
                <a:gd name="connsiteY8" fmla="*/ 154525 h 189026"/>
                <a:gd name="connsiteX9" fmla="*/ 0 w 233232"/>
                <a:gd name="connsiteY9" fmla="*/ 166654 h 189026"/>
                <a:gd name="connsiteX10" fmla="*/ 24921 w 233232"/>
                <a:gd name="connsiteY10" fmla="*/ 188998 h 189026"/>
                <a:gd name="connsiteX11" fmla="*/ 205756 w 233232"/>
                <a:gd name="connsiteY11" fmla="*/ 188998 h 189026"/>
                <a:gd name="connsiteX12" fmla="*/ 230677 w 233232"/>
                <a:gd name="connsiteY12" fmla="*/ 166654 h 189026"/>
                <a:gd name="connsiteX13" fmla="*/ 230677 w 233232"/>
                <a:gd name="connsiteY13" fmla="*/ 154525 h 189026"/>
                <a:gd name="connsiteX14" fmla="*/ 219175 w 233232"/>
                <a:gd name="connsiteY14" fmla="*/ 143034 h 189026"/>
                <a:gd name="connsiteX15" fmla="*/ 214702 w 233232"/>
                <a:gd name="connsiteY15" fmla="*/ 143034 h 189026"/>
                <a:gd name="connsiteX16" fmla="*/ 214702 w 233232"/>
                <a:gd name="connsiteY16" fmla="*/ 87493 h 189026"/>
                <a:gd name="connsiteX17" fmla="*/ 233233 w 233232"/>
                <a:gd name="connsiteY17" fmla="*/ 67702 h 189026"/>
                <a:gd name="connsiteX18" fmla="*/ 233233 w 233232"/>
                <a:gd name="connsiteY18" fmla="*/ 20461 h 189026"/>
                <a:gd name="connsiteX19" fmla="*/ 210868 w 233232"/>
                <a:gd name="connsiteY19" fmla="*/ 32 h 189026"/>
                <a:gd name="connsiteX20" fmla="*/ 217258 w 233232"/>
                <a:gd name="connsiteY20" fmla="*/ 165377 h 189026"/>
                <a:gd name="connsiteX21" fmla="*/ 205117 w 233232"/>
                <a:gd name="connsiteY21" fmla="*/ 174953 h 189026"/>
                <a:gd name="connsiteX22" fmla="*/ 24282 w 233232"/>
                <a:gd name="connsiteY22" fmla="*/ 174953 h 189026"/>
                <a:gd name="connsiteX23" fmla="*/ 12141 w 233232"/>
                <a:gd name="connsiteY23" fmla="*/ 165377 h 189026"/>
                <a:gd name="connsiteX24" fmla="*/ 12141 w 233232"/>
                <a:gd name="connsiteY24" fmla="*/ 154525 h 189026"/>
                <a:gd name="connsiteX25" fmla="*/ 83069 w 233232"/>
                <a:gd name="connsiteY25" fmla="*/ 154525 h 189026"/>
                <a:gd name="connsiteX26" fmla="*/ 97127 w 233232"/>
                <a:gd name="connsiteY26" fmla="*/ 166016 h 189026"/>
                <a:gd name="connsiteX27" fmla="*/ 132272 w 233232"/>
                <a:gd name="connsiteY27" fmla="*/ 166016 h 189026"/>
                <a:gd name="connsiteX28" fmla="*/ 146329 w 233232"/>
                <a:gd name="connsiteY28" fmla="*/ 154525 h 189026"/>
                <a:gd name="connsiteX29" fmla="*/ 217258 w 233232"/>
                <a:gd name="connsiteY29" fmla="*/ 154525 h 189026"/>
                <a:gd name="connsiteX30" fmla="*/ 217258 w 233232"/>
                <a:gd name="connsiteY30" fmla="*/ 165377 h 189026"/>
                <a:gd name="connsiteX31" fmla="*/ 133549 w 233232"/>
                <a:gd name="connsiteY31" fmla="*/ 142395 h 189026"/>
                <a:gd name="connsiteX32" fmla="*/ 133549 w 233232"/>
                <a:gd name="connsiteY32" fmla="*/ 153248 h 189026"/>
                <a:gd name="connsiteX33" fmla="*/ 132272 w 233232"/>
                <a:gd name="connsiteY33" fmla="*/ 153886 h 189026"/>
                <a:gd name="connsiteX34" fmla="*/ 97127 w 233232"/>
                <a:gd name="connsiteY34" fmla="*/ 153886 h 189026"/>
                <a:gd name="connsiteX35" fmla="*/ 95849 w 233232"/>
                <a:gd name="connsiteY35" fmla="*/ 153886 h 189026"/>
                <a:gd name="connsiteX36" fmla="*/ 95849 w 233232"/>
                <a:gd name="connsiteY36" fmla="*/ 142395 h 189026"/>
                <a:gd name="connsiteX37" fmla="*/ 28755 w 233232"/>
                <a:gd name="connsiteY37" fmla="*/ 142395 h 189026"/>
                <a:gd name="connsiteX38" fmla="*/ 28755 w 233232"/>
                <a:gd name="connsiteY38" fmla="*/ 38975 h 189026"/>
                <a:gd name="connsiteX39" fmla="*/ 34505 w 233232"/>
                <a:gd name="connsiteY39" fmla="*/ 34506 h 189026"/>
                <a:gd name="connsiteX40" fmla="*/ 117575 w 233232"/>
                <a:gd name="connsiteY40" fmla="*/ 34506 h 189026"/>
                <a:gd name="connsiteX41" fmla="*/ 117575 w 233232"/>
                <a:gd name="connsiteY41" fmla="*/ 67064 h 189026"/>
                <a:gd name="connsiteX42" fmla="*/ 139301 w 233232"/>
                <a:gd name="connsiteY42" fmla="*/ 86854 h 189026"/>
                <a:gd name="connsiteX43" fmla="*/ 141217 w 233232"/>
                <a:gd name="connsiteY43" fmla="*/ 86854 h 189026"/>
                <a:gd name="connsiteX44" fmla="*/ 141217 w 233232"/>
                <a:gd name="connsiteY44" fmla="*/ 106006 h 189026"/>
                <a:gd name="connsiteX45" fmla="*/ 145052 w 233232"/>
                <a:gd name="connsiteY45" fmla="*/ 111752 h 189026"/>
                <a:gd name="connsiteX46" fmla="*/ 147607 w 233232"/>
                <a:gd name="connsiteY46" fmla="*/ 112390 h 189026"/>
                <a:gd name="connsiteX47" fmla="*/ 152080 w 233232"/>
                <a:gd name="connsiteY47" fmla="*/ 111114 h 189026"/>
                <a:gd name="connsiteX48" fmla="*/ 178918 w 233232"/>
                <a:gd name="connsiteY48" fmla="*/ 87493 h 189026"/>
                <a:gd name="connsiteX49" fmla="*/ 201283 w 233232"/>
                <a:gd name="connsiteY49" fmla="*/ 87493 h 189026"/>
                <a:gd name="connsiteX50" fmla="*/ 201283 w 233232"/>
                <a:gd name="connsiteY50" fmla="*/ 143034 h 189026"/>
                <a:gd name="connsiteX51" fmla="*/ 133549 w 233232"/>
                <a:gd name="connsiteY51" fmla="*/ 142395 h 189026"/>
                <a:gd name="connsiteX52" fmla="*/ 219175 w 233232"/>
                <a:gd name="connsiteY52" fmla="*/ 67064 h 189026"/>
                <a:gd name="connsiteX53" fmla="*/ 210229 w 233232"/>
                <a:gd name="connsiteY53" fmla="*/ 74086 h 189026"/>
                <a:gd name="connsiteX54" fmla="*/ 175723 w 233232"/>
                <a:gd name="connsiteY54" fmla="*/ 74086 h 189026"/>
                <a:gd name="connsiteX55" fmla="*/ 171250 w 233232"/>
                <a:gd name="connsiteY55" fmla="*/ 75363 h 189026"/>
                <a:gd name="connsiteX56" fmla="*/ 153358 w 233232"/>
                <a:gd name="connsiteY56" fmla="*/ 91323 h 189026"/>
                <a:gd name="connsiteX57" fmla="*/ 153358 w 233232"/>
                <a:gd name="connsiteY57" fmla="*/ 79832 h 189026"/>
                <a:gd name="connsiteX58" fmla="*/ 146969 w 233232"/>
                <a:gd name="connsiteY58" fmla="*/ 73448 h 189026"/>
                <a:gd name="connsiteX59" fmla="*/ 138662 w 233232"/>
                <a:gd name="connsiteY59" fmla="*/ 73448 h 189026"/>
                <a:gd name="connsiteX60" fmla="*/ 129716 w 233232"/>
                <a:gd name="connsiteY60" fmla="*/ 66426 h 189026"/>
                <a:gd name="connsiteX61" fmla="*/ 129716 w 233232"/>
                <a:gd name="connsiteY61" fmla="*/ 19184 h 189026"/>
                <a:gd name="connsiteX62" fmla="*/ 138662 w 233232"/>
                <a:gd name="connsiteY62" fmla="*/ 12162 h 189026"/>
                <a:gd name="connsiteX63" fmla="*/ 210229 w 233232"/>
                <a:gd name="connsiteY63" fmla="*/ 12162 h 189026"/>
                <a:gd name="connsiteX64" fmla="*/ 219175 w 233232"/>
                <a:gd name="connsiteY64" fmla="*/ 19184 h 189026"/>
                <a:gd name="connsiteX65" fmla="*/ 219175 w 233232"/>
                <a:gd name="connsiteY65" fmla="*/ 67064 h 18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33232" h="189026">
                  <a:moveTo>
                    <a:pt x="210868" y="32"/>
                  </a:moveTo>
                  <a:lnTo>
                    <a:pt x="139301" y="32"/>
                  </a:lnTo>
                  <a:cubicBezTo>
                    <a:pt x="127799" y="-606"/>
                    <a:pt x="118214" y="8331"/>
                    <a:pt x="117575" y="19823"/>
                  </a:cubicBezTo>
                  <a:lnTo>
                    <a:pt x="117575" y="22376"/>
                  </a:lnTo>
                  <a:lnTo>
                    <a:pt x="34505" y="22376"/>
                  </a:lnTo>
                  <a:cubicBezTo>
                    <a:pt x="24921" y="21738"/>
                    <a:pt x="16614" y="29399"/>
                    <a:pt x="15975" y="39613"/>
                  </a:cubicBezTo>
                  <a:lnTo>
                    <a:pt x="15975" y="143034"/>
                  </a:lnTo>
                  <a:lnTo>
                    <a:pt x="11502" y="143034"/>
                  </a:lnTo>
                  <a:cubicBezTo>
                    <a:pt x="5112" y="143034"/>
                    <a:pt x="0" y="148141"/>
                    <a:pt x="0" y="154525"/>
                  </a:cubicBezTo>
                  <a:lnTo>
                    <a:pt x="0" y="166654"/>
                  </a:lnTo>
                  <a:cubicBezTo>
                    <a:pt x="639" y="179422"/>
                    <a:pt x="11502" y="189637"/>
                    <a:pt x="24921" y="188998"/>
                  </a:cubicBezTo>
                  <a:lnTo>
                    <a:pt x="205756" y="188998"/>
                  </a:lnTo>
                  <a:cubicBezTo>
                    <a:pt x="218536" y="189637"/>
                    <a:pt x="230038" y="179422"/>
                    <a:pt x="230677" y="166654"/>
                  </a:cubicBezTo>
                  <a:lnTo>
                    <a:pt x="230677" y="154525"/>
                  </a:lnTo>
                  <a:cubicBezTo>
                    <a:pt x="230677" y="148141"/>
                    <a:pt x="224926" y="143034"/>
                    <a:pt x="219175" y="143034"/>
                  </a:cubicBezTo>
                  <a:lnTo>
                    <a:pt x="214702" y="143034"/>
                  </a:lnTo>
                  <a:lnTo>
                    <a:pt x="214702" y="87493"/>
                  </a:lnTo>
                  <a:cubicBezTo>
                    <a:pt x="224926" y="86854"/>
                    <a:pt x="233233" y="78555"/>
                    <a:pt x="233233" y="67702"/>
                  </a:cubicBezTo>
                  <a:lnTo>
                    <a:pt x="233233" y="20461"/>
                  </a:lnTo>
                  <a:cubicBezTo>
                    <a:pt x="231316" y="8331"/>
                    <a:pt x="221731" y="-606"/>
                    <a:pt x="210868" y="32"/>
                  </a:cubicBezTo>
                  <a:close/>
                  <a:moveTo>
                    <a:pt x="217258" y="165377"/>
                  </a:moveTo>
                  <a:cubicBezTo>
                    <a:pt x="216619" y="171123"/>
                    <a:pt x="210868" y="175592"/>
                    <a:pt x="205117" y="174953"/>
                  </a:cubicBezTo>
                  <a:lnTo>
                    <a:pt x="24282" y="174953"/>
                  </a:lnTo>
                  <a:cubicBezTo>
                    <a:pt x="18531" y="175592"/>
                    <a:pt x="12780" y="171123"/>
                    <a:pt x="12141" y="165377"/>
                  </a:cubicBezTo>
                  <a:lnTo>
                    <a:pt x="12141" y="154525"/>
                  </a:lnTo>
                  <a:lnTo>
                    <a:pt x="83069" y="154525"/>
                  </a:lnTo>
                  <a:cubicBezTo>
                    <a:pt x="84347" y="161547"/>
                    <a:pt x="90098" y="166016"/>
                    <a:pt x="97127" y="166016"/>
                  </a:cubicBezTo>
                  <a:lnTo>
                    <a:pt x="132272" y="166016"/>
                  </a:lnTo>
                  <a:cubicBezTo>
                    <a:pt x="139301" y="166016"/>
                    <a:pt x="145052" y="161547"/>
                    <a:pt x="146329" y="154525"/>
                  </a:cubicBezTo>
                  <a:lnTo>
                    <a:pt x="217258" y="154525"/>
                  </a:lnTo>
                  <a:lnTo>
                    <a:pt x="217258" y="165377"/>
                  </a:lnTo>
                  <a:close/>
                  <a:moveTo>
                    <a:pt x="133549" y="142395"/>
                  </a:moveTo>
                  <a:lnTo>
                    <a:pt x="133549" y="153248"/>
                  </a:lnTo>
                  <a:cubicBezTo>
                    <a:pt x="132911" y="153886"/>
                    <a:pt x="132911" y="153886"/>
                    <a:pt x="132272" y="153886"/>
                  </a:cubicBezTo>
                  <a:lnTo>
                    <a:pt x="97127" y="153886"/>
                  </a:lnTo>
                  <a:cubicBezTo>
                    <a:pt x="96488" y="153886"/>
                    <a:pt x="95849" y="153248"/>
                    <a:pt x="95849" y="153886"/>
                  </a:cubicBezTo>
                  <a:lnTo>
                    <a:pt x="95849" y="142395"/>
                  </a:lnTo>
                  <a:lnTo>
                    <a:pt x="28755" y="142395"/>
                  </a:lnTo>
                  <a:lnTo>
                    <a:pt x="28755" y="38975"/>
                  </a:lnTo>
                  <a:cubicBezTo>
                    <a:pt x="28755" y="36421"/>
                    <a:pt x="31310" y="34506"/>
                    <a:pt x="34505" y="34506"/>
                  </a:cubicBezTo>
                  <a:lnTo>
                    <a:pt x="117575" y="34506"/>
                  </a:lnTo>
                  <a:lnTo>
                    <a:pt x="117575" y="67064"/>
                  </a:lnTo>
                  <a:cubicBezTo>
                    <a:pt x="118214" y="78555"/>
                    <a:pt x="127799" y="87493"/>
                    <a:pt x="139301" y="86854"/>
                  </a:cubicBezTo>
                  <a:lnTo>
                    <a:pt x="141217" y="86854"/>
                  </a:lnTo>
                  <a:lnTo>
                    <a:pt x="141217" y="106006"/>
                  </a:lnTo>
                  <a:cubicBezTo>
                    <a:pt x="141217" y="108560"/>
                    <a:pt x="142496" y="110475"/>
                    <a:pt x="145052" y="111752"/>
                  </a:cubicBezTo>
                  <a:cubicBezTo>
                    <a:pt x="145690" y="112390"/>
                    <a:pt x="146969" y="112390"/>
                    <a:pt x="147607" y="112390"/>
                  </a:cubicBezTo>
                  <a:cubicBezTo>
                    <a:pt x="148885" y="112390"/>
                    <a:pt x="150802" y="111752"/>
                    <a:pt x="152080" y="111114"/>
                  </a:cubicBezTo>
                  <a:lnTo>
                    <a:pt x="178918" y="87493"/>
                  </a:lnTo>
                  <a:lnTo>
                    <a:pt x="201283" y="87493"/>
                  </a:lnTo>
                  <a:lnTo>
                    <a:pt x="201283" y="143034"/>
                  </a:lnTo>
                  <a:lnTo>
                    <a:pt x="133549" y="142395"/>
                  </a:lnTo>
                  <a:close/>
                  <a:moveTo>
                    <a:pt x="219175" y="67064"/>
                  </a:moveTo>
                  <a:cubicBezTo>
                    <a:pt x="218536" y="71533"/>
                    <a:pt x="214702" y="74725"/>
                    <a:pt x="210229" y="74086"/>
                  </a:cubicBezTo>
                  <a:lnTo>
                    <a:pt x="175723" y="74086"/>
                  </a:lnTo>
                  <a:cubicBezTo>
                    <a:pt x="174445" y="74086"/>
                    <a:pt x="172528" y="74725"/>
                    <a:pt x="171250" y="75363"/>
                  </a:cubicBezTo>
                  <a:lnTo>
                    <a:pt x="153358" y="91323"/>
                  </a:lnTo>
                  <a:lnTo>
                    <a:pt x="153358" y="79832"/>
                  </a:lnTo>
                  <a:cubicBezTo>
                    <a:pt x="153358" y="76002"/>
                    <a:pt x="150802" y="73448"/>
                    <a:pt x="146969" y="73448"/>
                  </a:cubicBezTo>
                  <a:lnTo>
                    <a:pt x="138662" y="73448"/>
                  </a:lnTo>
                  <a:cubicBezTo>
                    <a:pt x="134189" y="74086"/>
                    <a:pt x="130354" y="70894"/>
                    <a:pt x="129716" y="66426"/>
                  </a:cubicBezTo>
                  <a:lnTo>
                    <a:pt x="129716" y="19184"/>
                  </a:lnTo>
                  <a:cubicBezTo>
                    <a:pt x="130354" y="14715"/>
                    <a:pt x="134189" y="11523"/>
                    <a:pt x="138662" y="12162"/>
                  </a:cubicBezTo>
                  <a:lnTo>
                    <a:pt x="210229" y="12162"/>
                  </a:lnTo>
                  <a:cubicBezTo>
                    <a:pt x="214702" y="11523"/>
                    <a:pt x="218536" y="14715"/>
                    <a:pt x="219175" y="19184"/>
                  </a:cubicBezTo>
                  <a:lnTo>
                    <a:pt x="219175" y="67064"/>
                  </a:lnTo>
                  <a:close/>
                </a:path>
              </a:pathLst>
            </a:custGeom>
            <a:grpFill/>
            <a:ln w="6390"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2037651F-AEC5-1588-BD0C-F3061D2D4E97}"/>
                </a:ext>
              </a:extLst>
            </p:cNvPr>
            <p:cNvSpPr/>
            <p:nvPr/>
          </p:nvSpPr>
          <p:spPr>
            <a:xfrm>
              <a:off x="4916417" y="2978290"/>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5975" y="3830"/>
                    <a:pt x="12780" y="0"/>
                    <a:pt x="8307" y="0"/>
                  </a:cubicBezTo>
                  <a:lnTo>
                    <a:pt x="8307" y="0"/>
                  </a:lnTo>
                  <a:close/>
                </a:path>
              </a:pathLst>
            </a:custGeom>
            <a:grpFill/>
            <a:ln w="6390"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12E6C6CE-E7EC-BF8F-967B-A0353B8F14BC}"/>
                </a:ext>
              </a:extLst>
            </p:cNvPr>
            <p:cNvSpPr/>
            <p:nvPr/>
          </p:nvSpPr>
          <p:spPr>
            <a:xfrm>
              <a:off x="4892774" y="2978290"/>
              <a:ext cx="16613" cy="16598"/>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830"/>
                    <a:pt x="12780" y="0"/>
                    <a:pt x="8307" y="0"/>
                  </a:cubicBezTo>
                  <a:lnTo>
                    <a:pt x="8307" y="0"/>
                  </a:lnTo>
                  <a:close/>
                </a:path>
              </a:pathLst>
            </a:custGeom>
            <a:grpFill/>
            <a:ln w="6390"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617101EA-F2C9-4278-9AD5-20E75FDA6F86}"/>
                </a:ext>
              </a:extLst>
            </p:cNvPr>
            <p:cNvSpPr/>
            <p:nvPr/>
          </p:nvSpPr>
          <p:spPr>
            <a:xfrm>
              <a:off x="4869770" y="2978290"/>
              <a:ext cx="16614" cy="16598"/>
            </a:xfrm>
            <a:custGeom>
              <a:avLst/>
              <a:gdLst>
                <a:gd name="connsiteX0" fmla="*/ 8307 w 16614"/>
                <a:gd name="connsiteY0" fmla="*/ 0 h 16598"/>
                <a:gd name="connsiteX1" fmla="*/ 0 w 16614"/>
                <a:gd name="connsiteY1" fmla="*/ 8299 h 16598"/>
                <a:gd name="connsiteX2" fmla="*/ 8307 w 16614"/>
                <a:gd name="connsiteY2" fmla="*/ 16598 h 16598"/>
                <a:gd name="connsiteX3" fmla="*/ 16614 w 16614"/>
                <a:gd name="connsiteY3" fmla="*/ 8299 h 16598"/>
                <a:gd name="connsiteX4" fmla="*/ 8307 w 16614"/>
                <a:gd name="connsiteY4" fmla="*/ 0 h 16598"/>
                <a:gd name="connsiteX5" fmla="*/ 8307 w 16614"/>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4" h="16598">
                  <a:moveTo>
                    <a:pt x="8307" y="0"/>
                  </a:moveTo>
                  <a:cubicBezTo>
                    <a:pt x="3834" y="0"/>
                    <a:pt x="0" y="3830"/>
                    <a:pt x="0" y="8299"/>
                  </a:cubicBezTo>
                  <a:cubicBezTo>
                    <a:pt x="0" y="12768"/>
                    <a:pt x="3834" y="16598"/>
                    <a:pt x="8307" y="16598"/>
                  </a:cubicBezTo>
                  <a:cubicBezTo>
                    <a:pt x="12780" y="16598"/>
                    <a:pt x="16614" y="12768"/>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42A53205-C230-E5C9-51B8-0FCB05E05C73}"/>
                </a:ext>
              </a:extLst>
            </p:cNvPr>
            <p:cNvSpPr/>
            <p:nvPr/>
          </p:nvSpPr>
          <p:spPr>
            <a:xfrm>
              <a:off x="4782229" y="2986589"/>
              <a:ext cx="52397" cy="52348"/>
            </a:xfrm>
            <a:custGeom>
              <a:avLst/>
              <a:gdLst>
                <a:gd name="connsiteX0" fmla="*/ 26199 w 52397"/>
                <a:gd name="connsiteY0" fmla="*/ 52349 h 52348"/>
                <a:gd name="connsiteX1" fmla="*/ 52397 w 52397"/>
                <a:gd name="connsiteY1" fmla="*/ 26174 h 52348"/>
                <a:gd name="connsiteX2" fmla="*/ 26199 w 52397"/>
                <a:gd name="connsiteY2" fmla="*/ 0 h 52348"/>
                <a:gd name="connsiteX3" fmla="*/ 0 w 52397"/>
                <a:gd name="connsiteY3" fmla="*/ 26174 h 52348"/>
                <a:gd name="connsiteX4" fmla="*/ 0 w 52397"/>
                <a:gd name="connsiteY4" fmla="*/ 26174 h 52348"/>
                <a:gd name="connsiteX5" fmla="*/ 26199 w 52397"/>
                <a:gd name="connsiteY5" fmla="*/ 52349 h 52348"/>
                <a:gd name="connsiteX6" fmla="*/ 26199 w 52397"/>
                <a:gd name="connsiteY6" fmla="*/ 12130 h 52348"/>
                <a:gd name="connsiteX7" fmla="*/ 39617 w 52397"/>
                <a:gd name="connsiteY7" fmla="*/ 25536 h 52348"/>
                <a:gd name="connsiteX8" fmla="*/ 26199 w 52397"/>
                <a:gd name="connsiteY8" fmla="*/ 38942 h 52348"/>
                <a:gd name="connsiteX9" fmla="*/ 12780 w 52397"/>
                <a:gd name="connsiteY9" fmla="*/ 25536 h 52348"/>
                <a:gd name="connsiteX10" fmla="*/ 12780 w 52397"/>
                <a:gd name="connsiteY10" fmla="*/ 25536 h 52348"/>
                <a:gd name="connsiteX11" fmla="*/ 26199 w 52397"/>
                <a:gd name="connsiteY11" fmla="*/ 12130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97" h="52348">
                  <a:moveTo>
                    <a:pt x="26199" y="52349"/>
                  </a:moveTo>
                  <a:cubicBezTo>
                    <a:pt x="40895" y="52349"/>
                    <a:pt x="52397" y="40857"/>
                    <a:pt x="52397" y="26174"/>
                  </a:cubicBezTo>
                  <a:cubicBezTo>
                    <a:pt x="52397" y="11491"/>
                    <a:pt x="40895" y="0"/>
                    <a:pt x="26199" y="0"/>
                  </a:cubicBezTo>
                  <a:cubicBezTo>
                    <a:pt x="11502" y="0"/>
                    <a:pt x="0" y="11491"/>
                    <a:pt x="0" y="26174"/>
                  </a:cubicBezTo>
                  <a:lnTo>
                    <a:pt x="0" y="26174"/>
                  </a:lnTo>
                  <a:cubicBezTo>
                    <a:pt x="0" y="40219"/>
                    <a:pt x="11502" y="52349"/>
                    <a:pt x="26199" y="52349"/>
                  </a:cubicBezTo>
                  <a:close/>
                  <a:moveTo>
                    <a:pt x="26199" y="12130"/>
                  </a:moveTo>
                  <a:cubicBezTo>
                    <a:pt x="33867" y="12130"/>
                    <a:pt x="39617" y="17875"/>
                    <a:pt x="39617" y="25536"/>
                  </a:cubicBezTo>
                  <a:cubicBezTo>
                    <a:pt x="39617" y="33197"/>
                    <a:pt x="33867" y="38942"/>
                    <a:pt x="26199" y="38942"/>
                  </a:cubicBezTo>
                  <a:cubicBezTo>
                    <a:pt x="18531" y="38942"/>
                    <a:pt x="12780" y="33197"/>
                    <a:pt x="12780" y="25536"/>
                  </a:cubicBezTo>
                  <a:lnTo>
                    <a:pt x="12780" y="25536"/>
                  </a:lnTo>
                  <a:cubicBezTo>
                    <a:pt x="12780" y="18514"/>
                    <a:pt x="18531" y="12130"/>
                    <a:pt x="26199" y="12130"/>
                  </a:cubicBezTo>
                  <a:close/>
                </a:path>
              </a:pathLst>
            </a:custGeom>
            <a:grpFill/>
            <a:ln w="6390" cap="flat">
              <a:noFill/>
              <a:prstDash val="solid"/>
              <a:miter/>
            </a:ln>
          </p:spPr>
          <p:txBody>
            <a:bodyPr rtlCol="0" anchor="ctr"/>
            <a:lstStyle/>
            <a:p>
              <a:endParaRPr lang="en-US"/>
            </a:p>
          </p:txBody>
        </p:sp>
        <p:sp>
          <p:nvSpPr>
            <p:cNvPr id="39" name="Graphic 4">
              <a:extLst>
                <a:ext uri="{FF2B5EF4-FFF2-40B4-BE49-F238E27FC236}">
                  <a16:creationId xmlns:a16="http://schemas.microsoft.com/office/drawing/2014/main" id="{C4AB3F93-BA9B-30EB-1FA1-A1703797228D}"/>
                </a:ext>
              </a:extLst>
            </p:cNvPr>
            <p:cNvSpPr/>
            <p:nvPr/>
          </p:nvSpPr>
          <p:spPr>
            <a:xfrm>
              <a:off x="4767531" y="3044045"/>
              <a:ext cx="81791" cy="31281"/>
            </a:xfrm>
            <a:custGeom>
              <a:avLst/>
              <a:gdLst>
                <a:gd name="connsiteX0" fmla="*/ 58788 w 81791"/>
                <a:gd name="connsiteY0" fmla="*/ 0 h 31281"/>
                <a:gd name="connsiteX1" fmla="*/ 23004 w 81791"/>
                <a:gd name="connsiteY1" fmla="*/ 0 h 31281"/>
                <a:gd name="connsiteX2" fmla="*/ 0 w 81791"/>
                <a:gd name="connsiteY2" fmla="*/ 22982 h 31281"/>
                <a:gd name="connsiteX3" fmla="*/ 0 w 81791"/>
                <a:gd name="connsiteY3" fmla="*/ 31281 h 31281"/>
                <a:gd name="connsiteX4" fmla="*/ 12780 w 81791"/>
                <a:gd name="connsiteY4" fmla="*/ 31281 h 31281"/>
                <a:gd name="connsiteX5" fmla="*/ 12780 w 81791"/>
                <a:gd name="connsiteY5" fmla="*/ 22982 h 31281"/>
                <a:gd name="connsiteX6" fmla="*/ 23004 w 81791"/>
                <a:gd name="connsiteY6" fmla="*/ 12768 h 31281"/>
                <a:gd name="connsiteX7" fmla="*/ 58788 w 81791"/>
                <a:gd name="connsiteY7" fmla="*/ 12768 h 31281"/>
                <a:gd name="connsiteX8" fmla="*/ 69012 w 81791"/>
                <a:gd name="connsiteY8" fmla="*/ 22982 h 31281"/>
                <a:gd name="connsiteX9" fmla="*/ 69012 w 81791"/>
                <a:gd name="connsiteY9" fmla="*/ 31281 h 31281"/>
                <a:gd name="connsiteX10" fmla="*/ 81792 w 81791"/>
                <a:gd name="connsiteY10" fmla="*/ 31281 h 31281"/>
                <a:gd name="connsiteX11" fmla="*/ 81792 w 81791"/>
                <a:gd name="connsiteY11" fmla="*/ 22982 h 31281"/>
                <a:gd name="connsiteX12" fmla="*/ 58788 w 81791"/>
                <a:gd name="connsiteY12" fmla="*/ 0 h 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791" h="31281">
                  <a:moveTo>
                    <a:pt x="58788" y="0"/>
                  </a:moveTo>
                  <a:lnTo>
                    <a:pt x="23004" y="0"/>
                  </a:lnTo>
                  <a:cubicBezTo>
                    <a:pt x="10224" y="0"/>
                    <a:pt x="0" y="10214"/>
                    <a:pt x="0" y="22982"/>
                  </a:cubicBezTo>
                  <a:lnTo>
                    <a:pt x="0" y="31281"/>
                  </a:lnTo>
                  <a:lnTo>
                    <a:pt x="12780" y="31281"/>
                  </a:lnTo>
                  <a:lnTo>
                    <a:pt x="12780" y="22982"/>
                  </a:lnTo>
                  <a:cubicBezTo>
                    <a:pt x="12780" y="17237"/>
                    <a:pt x="17253" y="12768"/>
                    <a:pt x="23004" y="12768"/>
                  </a:cubicBezTo>
                  <a:lnTo>
                    <a:pt x="58788" y="12768"/>
                  </a:lnTo>
                  <a:cubicBezTo>
                    <a:pt x="64539" y="12768"/>
                    <a:pt x="69012" y="17237"/>
                    <a:pt x="69012" y="22982"/>
                  </a:cubicBezTo>
                  <a:lnTo>
                    <a:pt x="69012" y="31281"/>
                  </a:lnTo>
                  <a:lnTo>
                    <a:pt x="81792" y="31281"/>
                  </a:lnTo>
                  <a:lnTo>
                    <a:pt x="81792" y="22982"/>
                  </a:lnTo>
                  <a:cubicBezTo>
                    <a:pt x="81792" y="10214"/>
                    <a:pt x="71567" y="0"/>
                    <a:pt x="58788" y="0"/>
                  </a:cubicBezTo>
                  <a:close/>
                </a:path>
              </a:pathLst>
            </a:custGeom>
            <a:grpFill/>
            <a:ln w="6390" cap="flat">
              <a:noFill/>
              <a:prstDash val="solid"/>
              <a:miter/>
            </a:ln>
          </p:spPr>
          <p:txBody>
            <a:bodyPr rtlCol="0" anchor="ctr"/>
            <a:lstStyle/>
            <a:p>
              <a:endParaRPr lang="en-US"/>
            </a:p>
          </p:txBody>
        </p:sp>
      </p:grpSp>
      <p:pic>
        <p:nvPicPr>
          <p:cNvPr id="1032" name="Picture 5" descr="COVID-19 sector heatmaps: Understand business impact | Deloitte Singapore |  About Deloitte">
            <a:extLst>
              <a:ext uri="{FF2B5EF4-FFF2-40B4-BE49-F238E27FC236}">
                <a16:creationId xmlns:a16="http://schemas.microsoft.com/office/drawing/2014/main" id="{9BCB7A28-555B-EF94-FE15-87028B56683C}"/>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785543" y="3510219"/>
            <a:ext cx="488346" cy="488346"/>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06049F11-C508-B3F0-B6FE-C7DC7752BD3A}"/>
              </a:ext>
            </a:extLst>
          </p:cNvPr>
          <p:cNvSpPr/>
          <p:nvPr/>
        </p:nvSpPr>
        <p:spPr>
          <a:xfrm>
            <a:off x="0" y="0"/>
            <a:ext cx="12192000" cy="150873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u="sng"/>
          </a:p>
        </p:txBody>
      </p:sp>
      <p:pic>
        <p:nvPicPr>
          <p:cNvPr id="43" name="Picture 42">
            <a:extLst>
              <a:ext uri="{FF2B5EF4-FFF2-40B4-BE49-F238E27FC236}">
                <a16:creationId xmlns:a16="http://schemas.microsoft.com/office/drawing/2014/main" id="{53B8CC58-2E08-E341-F8D3-E948EBED547A}"/>
              </a:ext>
            </a:extLst>
          </p:cNvPr>
          <p:cNvPicPr>
            <a:picLocks noChangeAspect="1"/>
          </p:cNvPicPr>
          <p:nvPr/>
        </p:nvPicPr>
        <p:blipFill>
          <a:blip r:embed="rId6" cstate="screen">
            <a:extLst>
              <a:ext uri="{28A0092B-C50C-407E-A947-70E740481C1C}">
                <a14:useLocalDpi xmlns:a14="http://schemas.microsoft.com/office/drawing/2010/main"/>
              </a:ext>
            </a:extLst>
          </a:blip>
          <a:srcRect l="12359" t="29466" r="11827" b="27443"/>
          <a:stretch/>
        </p:blipFill>
        <p:spPr>
          <a:xfrm>
            <a:off x="130505" y="183490"/>
            <a:ext cx="2777795" cy="640511"/>
          </a:xfrm>
          <a:prstGeom prst="rect">
            <a:avLst/>
          </a:prstGeom>
        </p:spPr>
      </p:pic>
      <p:sp>
        <p:nvSpPr>
          <p:cNvPr id="44" name="Rectangle 43">
            <a:extLst>
              <a:ext uri="{FF2B5EF4-FFF2-40B4-BE49-F238E27FC236}">
                <a16:creationId xmlns:a16="http://schemas.microsoft.com/office/drawing/2014/main" id="{AB9F1D30-9F0B-2258-492A-E78260256ED7}"/>
              </a:ext>
            </a:extLst>
          </p:cNvPr>
          <p:cNvSpPr/>
          <p:nvPr/>
        </p:nvSpPr>
        <p:spPr>
          <a:xfrm>
            <a:off x="11178857" y="776743"/>
            <a:ext cx="534147" cy="161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rPr>
              <a:t>My Site</a:t>
            </a:r>
          </a:p>
        </p:txBody>
      </p:sp>
      <p:sp>
        <p:nvSpPr>
          <p:cNvPr id="45" name="Rectangle 44">
            <a:extLst>
              <a:ext uri="{FF2B5EF4-FFF2-40B4-BE49-F238E27FC236}">
                <a16:creationId xmlns:a16="http://schemas.microsoft.com/office/drawing/2014/main" id="{B197E5FE-5769-6AFC-F686-E18D6B835A49}"/>
              </a:ext>
            </a:extLst>
          </p:cNvPr>
          <p:cNvSpPr/>
          <p:nvPr/>
        </p:nvSpPr>
        <p:spPr>
          <a:xfrm>
            <a:off x="10332551" y="966979"/>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Chat with a consultant</a:t>
            </a:r>
          </a:p>
        </p:txBody>
      </p:sp>
      <p:pic>
        <p:nvPicPr>
          <p:cNvPr id="46" name="Picture 4" descr="Banner">
            <a:extLst>
              <a:ext uri="{FF2B5EF4-FFF2-40B4-BE49-F238E27FC236}">
                <a16:creationId xmlns:a16="http://schemas.microsoft.com/office/drawing/2014/main" id="{191C7C3C-BB9B-B339-2284-9AF5571B9D3A}"/>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0381697" y="110397"/>
            <a:ext cx="1594320" cy="895532"/>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3CCB9E5C-6393-568D-F9F5-CE03A2A7E914}"/>
              </a:ext>
            </a:extLst>
          </p:cNvPr>
          <p:cNvSpPr/>
          <p:nvPr/>
        </p:nvSpPr>
        <p:spPr>
          <a:xfrm flipV="1">
            <a:off x="0" y="1509961"/>
            <a:ext cx="12192001" cy="61174"/>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8094839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55BE7-3AE7-2E93-4A50-E59032144ED6}"/>
            </a:ext>
          </a:extLst>
        </p:cNvPr>
        <p:cNvGrpSpPr/>
        <p:nvPr/>
      </p:nvGrpSpPr>
      <p:grpSpPr>
        <a:xfrm>
          <a:off x="0" y="0"/>
          <a:ext cx="0" cy="0"/>
          <a:chOff x="0" y="0"/>
          <a:chExt cx="0" cy="0"/>
        </a:xfrm>
      </p:grpSpPr>
      <p:grpSp>
        <p:nvGrpSpPr>
          <p:cNvPr id="37" name="Group 36">
            <a:extLst>
              <a:ext uri="{FF2B5EF4-FFF2-40B4-BE49-F238E27FC236}">
                <a16:creationId xmlns:a16="http://schemas.microsoft.com/office/drawing/2014/main" id="{5DDE98E6-2366-E9A4-BB18-5B01C2CC5736}"/>
              </a:ext>
            </a:extLst>
          </p:cNvPr>
          <p:cNvGrpSpPr/>
          <p:nvPr/>
        </p:nvGrpSpPr>
        <p:grpSpPr>
          <a:xfrm>
            <a:off x="3640170" y="6556821"/>
            <a:ext cx="1309580" cy="360000"/>
            <a:chOff x="9360459" y="5508469"/>
            <a:chExt cx="1309580" cy="360000"/>
          </a:xfrm>
        </p:grpSpPr>
        <p:sp>
          <p:nvSpPr>
            <p:cNvPr id="38" name="Oval 37">
              <a:extLst>
                <a:ext uri="{FF2B5EF4-FFF2-40B4-BE49-F238E27FC236}">
                  <a16:creationId xmlns:a16="http://schemas.microsoft.com/office/drawing/2014/main" id="{3BBD0C4F-3808-6071-D3D8-049ED8620AAC}"/>
                </a:ext>
              </a:extLst>
            </p:cNvPr>
            <p:cNvSpPr/>
            <p:nvPr/>
          </p:nvSpPr>
          <p:spPr bwMode="gray">
            <a:xfrm>
              <a:off x="9360459" y="5589163"/>
              <a:ext cx="236896" cy="236896"/>
            </a:xfrm>
            <a:prstGeom prst="ellipse">
              <a:avLst/>
            </a:prstGeom>
            <a:solidFill>
              <a:schemeClr val="accent1"/>
            </a:solidFill>
            <a:ln w="19050" algn="ctr">
              <a:solidFill>
                <a:schemeClr val="bg1"/>
              </a:solidFill>
              <a:miter lim="800000"/>
              <a:headEnd/>
              <a:tailEnd/>
            </a:ln>
            <a:effectLst>
              <a:glow rad="101600">
                <a:schemeClr val="bg1">
                  <a:alpha val="60000"/>
                </a:schemeClr>
              </a:glow>
            </a:effectLst>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endParaRPr>
            </a:p>
          </p:txBody>
        </p:sp>
        <p:sp>
          <p:nvSpPr>
            <p:cNvPr id="39" name="Rectangle 38">
              <a:extLst>
                <a:ext uri="{FF2B5EF4-FFF2-40B4-BE49-F238E27FC236}">
                  <a16:creationId xmlns:a16="http://schemas.microsoft.com/office/drawing/2014/main" id="{150DACA6-1D5B-A76B-EA82-8878E2C6AAEA}"/>
                </a:ext>
              </a:extLst>
            </p:cNvPr>
            <p:cNvSpPr/>
            <p:nvPr/>
          </p:nvSpPr>
          <p:spPr bwMode="gray">
            <a:xfrm>
              <a:off x="9624217" y="5508469"/>
              <a:ext cx="1045822" cy="360000"/>
            </a:xfrm>
            <a:prstGeom prst="rect">
              <a:avLst/>
            </a:prstGeom>
            <a:noFill/>
            <a:ln w="9525" algn="ctr">
              <a:noFill/>
              <a:miter lim="800000"/>
              <a:headEnd/>
              <a:tailEnd/>
            </a:ln>
          </p:spPr>
          <p:txBody>
            <a:bodyPr wrap="square" lIns="88900" tIns="88900" rIns="88900" bIns="889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GB" sz="1050">
                  <a:solidFill>
                    <a:schemeClr val="bg1"/>
                  </a:solidFill>
                </a:rPr>
                <a:t>Active Agents</a:t>
              </a:r>
              <a:endParaRPr kumimoji="0" lang="en-GB" sz="1050" b="0" i="0" u="none" strike="noStrike" kern="1200" cap="none" spc="0" normalizeH="0" baseline="0" noProof="0">
                <a:ln>
                  <a:noFill/>
                </a:ln>
                <a:solidFill>
                  <a:schemeClr val="bg1"/>
                </a:solidFill>
                <a:effectLst/>
                <a:uLnTx/>
                <a:uFillTx/>
                <a:ea typeface="+mn-ea"/>
                <a:cs typeface="+mn-cs"/>
              </a:endParaRPr>
            </a:p>
          </p:txBody>
        </p:sp>
      </p:grpSp>
      <p:grpSp>
        <p:nvGrpSpPr>
          <p:cNvPr id="40" name="Group 39">
            <a:extLst>
              <a:ext uri="{FF2B5EF4-FFF2-40B4-BE49-F238E27FC236}">
                <a16:creationId xmlns:a16="http://schemas.microsoft.com/office/drawing/2014/main" id="{40B6465C-9177-9B4A-F52D-43795B412EBA}"/>
              </a:ext>
            </a:extLst>
          </p:cNvPr>
          <p:cNvGrpSpPr/>
          <p:nvPr/>
        </p:nvGrpSpPr>
        <p:grpSpPr>
          <a:xfrm>
            <a:off x="7067850" y="6556821"/>
            <a:ext cx="1901769" cy="360000"/>
            <a:chOff x="10753943" y="5964060"/>
            <a:chExt cx="1451341" cy="360000"/>
          </a:xfrm>
        </p:grpSpPr>
        <p:sp>
          <p:nvSpPr>
            <p:cNvPr id="41" name="Oval 40">
              <a:extLst>
                <a:ext uri="{FF2B5EF4-FFF2-40B4-BE49-F238E27FC236}">
                  <a16:creationId xmlns:a16="http://schemas.microsoft.com/office/drawing/2014/main" id="{D4D23928-37F6-887D-5A22-4EFB79DAE9AF}"/>
                </a:ext>
              </a:extLst>
            </p:cNvPr>
            <p:cNvSpPr/>
            <p:nvPr/>
          </p:nvSpPr>
          <p:spPr bwMode="gray">
            <a:xfrm>
              <a:off x="10753943" y="6025612"/>
              <a:ext cx="236896" cy="236896"/>
            </a:xfrm>
            <a:prstGeom prst="ellipse">
              <a:avLst/>
            </a:prstGeom>
            <a:solidFill>
              <a:srgbClr val="0070C0"/>
            </a:solidFill>
            <a:ln w="19050" algn="ctr">
              <a:solidFill>
                <a:schemeClr val="bg1"/>
              </a:solidFill>
              <a:miter lim="800000"/>
              <a:headEnd/>
              <a:tailEnd/>
            </a:ln>
            <a:effectLst>
              <a:glow rad="101600">
                <a:schemeClr val="bg1">
                  <a:alpha val="60000"/>
                </a:schemeClr>
              </a:glow>
            </a:effectLst>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endParaRPr>
            </a:p>
          </p:txBody>
        </p:sp>
        <p:sp>
          <p:nvSpPr>
            <p:cNvPr id="42" name="Rectangle 41">
              <a:extLst>
                <a:ext uri="{FF2B5EF4-FFF2-40B4-BE49-F238E27FC236}">
                  <a16:creationId xmlns:a16="http://schemas.microsoft.com/office/drawing/2014/main" id="{C568288A-245E-9E85-3CCA-5AC85F6341C0}"/>
                </a:ext>
              </a:extLst>
            </p:cNvPr>
            <p:cNvSpPr/>
            <p:nvPr/>
          </p:nvSpPr>
          <p:spPr bwMode="gray">
            <a:xfrm>
              <a:off x="11044564" y="5964060"/>
              <a:ext cx="1160720" cy="360000"/>
            </a:xfrm>
            <a:prstGeom prst="rect">
              <a:avLst/>
            </a:prstGeom>
            <a:noFill/>
            <a:ln w="9525" algn="ctr">
              <a:noFill/>
              <a:miter lim="800000"/>
              <a:headEnd/>
              <a:tailEnd/>
            </a:ln>
          </p:spPr>
          <p:txBody>
            <a:bodyPr wrap="square" lIns="88900" tIns="88900" rIns="88900" bIns="889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ea typeface="+mn-ea"/>
                  <a:cs typeface="+mn-cs"/>
                </a:rPr>
                <a:t>SAP Embedded-AI Agent</a:t>
              </a:r>
            </a:p>
          </p:txBody>
        </p:sp>
      </p:grpSp>
      <p:grpSp>
        <p:nvGrpSpPr>
          <p:cNvPr id="43" name="Group 42">
            <a:extLst>
              <a:ext uri="{FF2B5EF4-FFF2-40B4-BE49-F238E27FC236}">
                <a16:creationId xmlns:a16="http://schemas.microsoft.com/office/drawing/2014/main" id="{9829D04A-42A6-5D1D-B167-CDF3DBD9A406}"/>
              </a:ext>
            </a:extLst>
          </p:cNvPr>
          <p:cNvGrpSpPr/>
          <p:nvPr/>
        </p:nvGrpSpPr>
        <p:grpSpPr>
          <a:xfrm>
            <a:off x="5260608" y="6556821"/>
            <a:ext cx="1336443" cy="360000"/>
            <a:chOff x="10753943" y="6352106"/>
            <a:chExt cx="1336443" cy="360000"/>
          </a:xfrm>
        </p:grpSpPr>
        <p:sp>
          <p:nvSpPr>
            <p:cNvPr id="44" name="Oval 43">
              <a:extLst>
                <a:ext uri="{FF2B5EF4-FFF2-40B4-BE49-F238E27FC236}">
                  <a16:creationId xmlns:a16="http://schemas.microsoft.com/office/drawing/2014/main" id="{665C3695-8A70-B338-7218-C1140AC1B999}"/>
                </a:ext>
              </a:extLst>
            </p:cNvPr>
            <p:cNvSpPr/>
            <p:nvPr/>
          </p:nvSpPr>
          <p:spPr bwMode="gray">
            <a:xfrm>
              <a:off x="10753943" y="6413658"/>
              <a:ext cx="236896" cy="236896"/>
            </a:xfrm>
            <a:prstGeom prst="ellipse">
              <a:avLst/>
            </a:prstGeom>
            <a:solidFill>
              <a:srgbClr val="FFCD00"/>
            </a:solidFill>
            <a:ln w="19050" algn="ctr">
              <a:solidFill>
                <a:schemeClr val="bg1"/>
              </a:solidFill>
              <a:miter lim="800000"/>
              <a:headEnd/>
              <a:tailEnd/>
            </a:ln>
            <a:effectLst>
              <a:glow rad="101600">
                <a:schemeClr val="bg1">
                  <a:alpha val="60000"/>
                </a:schemeClr>
              </a:glow>
            </a:effectLst>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endParaRPr>
            </a:p>
          </p:txBody>
        </p:sp>
        <p:sp>
          <p:nvSpPr>
            <p:cNvPr id="45" name="Rectangle 44">
              <a:extLst>
                <a:ext uri="{FF2B5EF4-FFF2-40B4-BE49-F238E27FC236}">
                  <a16:creationId xmlns:a16="http://schemas.microsoft.com/office/drawing/2014/main" id="{8B337C42-8D35-1071-A86F-97D512955880}"/>
                </a:ext>
              </a:extLst>
            </p:cNvPr>
            <p:cNvSpPr/>
            <p:nvPr/>
          </p:nvSpPr>
          <p:spPr bwMode="gray">
            <a:xfrm>
              <a:off x="11044564" y="6352106"/>
              <a:ext cx="1045822" cy="360000"/>
            </a:xfrm>
            <a:prstGeom prst="rect">
              <a:avLst/>
            </a:prstGeom>
            <a:noFill/>
            <a:ln w="9525" algn="ctr">
              <a:noFill/>
              <a:miter lim="800000"/>
              <a:headEnd/>
              <a:tailEnd/>
            </a:ln>
          </p:spPr>
          <p:txBody>
            <a:bodyPr wrap="square" lIns="88900" tIns="88900" rIns="88900" bIns="889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ea typeface="+mn-ea"/>
                  <a:cs typeface="+mn-cs"/>
                </a:rPr>
                <a:t>Inactive  Agent</a:t>
              </a:r>
              <a:r>
                <a:rPr lang="en-GB" sz="1050">
                  <a:solidFill>
                    <a:schemeClr val="bg1"/>
                  </a:solidFill>
                </a:rPr>
                <a:t>s </a:t>
              </a:r>
              <a:endParaRPr kumimoji="0" lang="en-GB" sz="1050" b="0" i="0" u="none" strike="noStrike" kern="1200" cap="none" spc="0" normalizeH="0" baseline="0" noProof="0">
                <a:ln>
                  <a:noFill/>
                </a:ln>
                <a:solidFill>
                  <a:schemeClr val="bg1"/>
                </a:solidFill>
                <a:effectLst/>
                <a:uLnTx/>
                <a:uFillTx/>
                <a:ea typeface="+mn-ea"/>
                <a:cs typeface="+mn-cs"/>
              </a:endParaRPr>
            </a:p>
          </p:txBody>
        </p:sp>
      </p:grpSp>
      <p:sp>
        <p:nvSpPr>
          <p:cNvPr id="6" name="TextBox 5">
            <a:extLst>
              <a:ext uri="{FF2B5EF4-FFF2-40B4-BE49-F238E27FC236}">
                <a16:creationId xmlns:a16="http://schemas.microsoft.com/office/drawing/2014/main" id="{5C5706C1-0898-B4D6-F835-4CCC30BD420B}"/>
              </a:ext>
            </a:extLst>
          </p:cNvPr>
          <p:cNvSpPr txBox="1"/>
          <p:nvPr/>
        </p:nvSpPr>
        <p:spPr>
          <a:xfrm>
            <a:off x="104775" y="885803"/>
            <a:ext cx="1901769" cy="530550"/>
          </a:xfrm>
          <a:prstGeom prst="rect">
            <a:avLst/>
          </a:prstGeom>
          <a:solidFill>
            <a:schemeClr val="accent1"/>
          </a:solidFill>
        </p:spPr>
        <p:txBody>
          <a:bodyPr wrap="square" anchor="ctr">
            <a:noAutofit/>
          </a:bodyPr>
          <a:lstStyle/>
          <a:p>
            <a:pPr lvl="0" algn="ctr"/>
            <a:r>
              <a:rPr lang="en-US" sz="1200" b="1">
                <a:solidFill>
                  <a:schemeClr val="bg1"/>
                </a:solidFill>
              </a:rPr>
              <a:t>IDEA TO MARKET</a:t>
            </a:r>
          </a:p>
        </p:txBody>
      </p:sp>
      <p:sp>
        <p:nvSpPr>
          <p:cNvPr id="12" name="TextBox 11">
            <a:extLst>
              <a:ext uri="{FF2B5EF4-FFF2-40B4-BE49-F238E27FC236}">
                <a16:creationId xmlns:a16="http://schemas.microsoft.com/office/drawing/2014/main" id="{3B58F835-1C4E-8416-826B-9549D201D142}"/>
              </a:ext>
            </a:extLst>
          </p:cNvPr>
          <p:cNvSpPr txBox="1"/>
          <p:nvPr/>
        </p:nvSpPr>
        <p:spPr>
          <a:xfrm>
            <a:off x="104775" y="1550927"/>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Plan to Optimize</a:t>
            </a:r>
          </a:p>
          <a:p>
            <a:pPr lvl="0"/>
            <a:r>
              <a:rPr lang="en-US" sz="1100">
                <a:solidFill>
                  <a:schemeClr val="bg1"/>
                </a:solidFill>
              </a:rPr>
              <a:t>Products / Services</a:t>
            </a:r>
          </a:p>
        </p:txBody>
      </p:sp>
      <p:sp>
        <p:nvSpPr>
          <p:cNvPr id="17" name="TextBox 16">
            <a:extLst>
              <a:ext uri="{FF2B5EF4-FFF2-40B4-BE49-F238E27FC236}">
                <a16:creationId xmlns:a16="http://schemas.microsoft.com/office/drawing/2014/main" id="{8CFCF4B5-CF7D-87F2-3AE0-0F84CD745046}"/>
              </a:ext>
            </a:extLst>
          </p:cNvPr>
          <p:cNvSpPr txBox="1"/>
          <p:nvPr/>
        </p:nvSpPr>
        <p:spPr>
          <a:xfrm>
            <a:off x="104775" y="2277955"/>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Idea to Requirements</a:t>
            </a:r>
          </a:p>
        </p:txBody>
      </p:sp>
      <p:sp>
        <p:nvSpPr>
          <p:cNvPr id="18" name="TextBox 17">
            <a:extLst>
              <a:ext uri="{FF2B5EF4-FFF2-40B4-BE49-F238E27FC236}">
                <a16:creationId xmlns:a16="http://schemas.microsoft.com/office/drawing/2014/main" id="{C6883304-6CD9-70FE-F30E-3970AB45411A}"/>
              </a:ext>
            </a:extLst>
          </p:cNvPr>
          <p:cNvSpPr txBox="1"/>
          <p:nvPr/>
        </p:nvSpPr>
        <p:spPr>
          <a:xfrm>
            <a:off x="104775" y="3004983"/>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Design to Release</a:t>
            </a:r>
          </a:p>
        </p:txBody>
      </p:sp>
      <p:sp>
        <p:nvSpPr>
          <p:cNvPr id="19" name="TextBox 18">
            <a:extLst>
              <a:ext uri="{FF2B5EF4-FFF2-40B4-BE49-F238E27FC236}">
                <a16:creationId xmlns:a16="http://schemas.microsoft.com/office/drawing/2014/main" id="{1F900AAF-1C64-489E-59D0-9FD546CCE9EC}"/>
              </a:ext>
            </a:extLst>
          </p:cNvPr>
          <p:cNvSpPr txBox="1"/>
          <p:nvPr/>
        </p:nvSpPr>
        <p:spPr>
          <a:xfrm>
            <a:off x="104775" y="3743623"/>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Products / Services to Market</a:t>
            </a:r>
          </a:p>
        </p:txBody>
      </p:sp>
      <p:sp>
        <p:nvSpPr>
          <p:cNvPr id="20" name="TextBox 19">
            <a:extLst>
              <a:ext uri="{FF2B5EF4-FFF2-40B4-BE49-F238E27FC236}">
                <a16:creationId xmlns:a16="http://schemas.microsoft.com/office/drawing/2014/main" id="{AC8C2877-F365-F5BD-8588-F57F9EF2F72A}"/>
              </a:ext>
            </a:extLst>
          </p:cNvPr>
          <p:cNvSpPr txBox="1"/>
          <p:nvPr/>
        </p:nvSpPr>
        <p:spPr>
          <a:xfrm>
            <a:off x="104775" y="4473555"/>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Manage Products / Services</a:t>
            </a:r>
          </a:p>
        </p:txBody>
      </p:sp>
      <p:sp>
        <p:nvSpPr>
          <p:cNvPr id="8" name="TextBox 7">
            <a:extLst>
              <a:ext uri="{FF2B5EF4-FFF2-40B4-BE49-F238E27FC236}">
                <a16:creationId xmlns:a16="http://schemas.microsoft.com/office/drawing/2014/main" id="{71D99DF4-0195-58CD-85AA-1D02F1549C82}"/>
              </a:ext>
            </a:extLst>
          </p:cNvPr>
          <p:cNvSpPr txBox="1"/>
          <p:nvPr/>
        </p:nvSpPr>
        <p:spPr>
          <a:xfrm>
            <a:off x="2109480" y="885803"/>
            <a:ext cx="1901769" cy="530550"/>
          </a:xfrm>
          <a:prstGeom prst="rect">
            <a:avLst/>
          </a:prstGeom>
          <a:solidFill>
            <a:schemeClr val="accent1"/>
          </a:solidFill>
        </p:spPr>
        <p:txBody>
          <a:bodyPr wrap="square" anchor="ctr">
            <a:noAutofit/>
          </a:bodyPr>
          <a:lstStyle/>
          <a:p>
            <a:pPr lvl="0" algn="ctr"/>
            <a:r>
              <a:rPr lang="en-US" sz="1200" b="1">
                <a:solidFill>
                  <a:schemeClr val="bg1"/>
                </a:solidFill>
              </a:rPr>
              <a:t>SOURCE TO PAY</a:t>
            </a:r>
          </a:p>
        </p:txBody>
      </p:sp>
      <p:sp>
        <p:nvSpPr>
          <p:cNvPr id="13" name="TextBox 12">
            <a:extLst>
              <a:ext uri="{FF2B5EF4-FFF2-40B4-BE49-F238E27FC236}">
                <a16:creationId xmlns:a16="http://schemas.microsoft.com/office/drawing/2014/main" id="{C647C731-25A6-5A7D-DC35-343F3754BFE2}"/>
              </a:ext>
            </a:extLst>
          </p:cNvPr>
          <p:cNvSpPr txBox="1"/>
          <p:nvPr/>
        </p:nvSpPr>
        <p:spPr>
          <a:xfrm>
            <a:off x="2109480" y="1550927"/>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Plan to Optimize</a:t>
            </a:r>
          </a:p>
          <a:p>
            <a:pPr lvl="0"/>
            <a:r>
              <a:rPr lang="en-US" sz="1100">
                <a:solidFill>
                  <a:schemeClr val="bg1"/>
                </a:solidFill>
              </a:rPr>
              <a:t>Sourcing &amp; Procurement</a:t>
            </a:r>
          </a:p>
        </p:txBody>
      </p:sp>
      <p:sp>
        <p:nvSpPr>
          <p:cNvPr id="23" name="TextBox 22">
            <a:extLst>
              <a:ext uri="{FF2B5EF4-FFF2-40B4-BE49-F238E27FC236}">
                <a16:creationId xmlns:a16="http://schemas.microsoft.com/office/drawing/2014/main" id="{E242A05B-E5A8-6FE4-97D2-245B32F8B395}"/>
              </a:ext>
            </a:extLst>
          </p:cNvPr>
          <p:cNvSpPr txBox="1"/>
          <p:nvPr/>
        </p:nvSpPr>
        <p:spPr>
          <a:xfrm>
            <a:off x="2109480" y="2277955"/>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Source to Contract</a:t>
            </a:r>
          </a:p>
        </p:txBody>
      </p:sp>
      <p:sp>
        <p:nvSpPr>
          <p:cNvPr id="24" name="TextBox 23">
            <a:extLst>
              <a:ext uri="{FF2B5EF4-FFF2-40B4-BE49-F238E27FC236}">
                <a16:creationId xmlns:a16="http://schemas.microsoft.com/office/drawing/2014/main" id="{B9D39FAC-8122-77BF-985E-F460EA21BBEC}"/>
              </a:ext>
            </a:extLst>
          </p:cNvPr>
          <p:cNvSpPr txBox="1"/>
          <p:nvPr/>
        </p:nvSpPr>
        <p:spPr>
          <a:xfrm>
            <a:off x="2109480" y="3004983"/>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Plan to Optimize</a:t>
            </a:r>
          </a:p>
          <a:p>
            <a:pPr lvl="0"/>
            <a:r>
              <a:rPr lang="en-US" sz="1100">
                <a:solidFill>
                  <a:schemeClr val="bg1"/>
                </a:solidFill>
              </a:rPr>
              <a:t>Fulfillment</a:t>
            </a:r>
          </a:p>
        </p:txBody>
      </p:sp>
      <p:sp>
        <p:nvSpPr>
          <p:cNvPr id="25" name="TextBox 24">
            <a:extLst>
              <a:ext uri="{FF2B5EF4-FFF2-40B4-BE49-F238E27FC236}">
                <a16:creationId xmlns:a16="http://schemas.microsoft.com/office/drawing/2014/main" id="{98E12C8B-338C-0EC5-E248-B3FEBD036490}"/>
              </a:ext>
            </a:extLst>
          </p:cNvPr>
          <p:cNvSpPr txBox="1"/>
          <p:nvPr/>
        </p:nvSpPr>
        <p:spPr>
          <a:xfrm>
            <a:off x="2109480" y="3743623"/>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Procure to Receipt</a:t>
            </a:r>
          </a:p>
        </p:txBody>
      </p:sp>
      <p:sp>
        <p:nvSpPr>
          <p:cNvPr id="26" name="TextBox 25">
            <a:extLst>
              <a:ext uri="{FF2B5EF4-FFF2-40B4-BE49-F238E27FC236}">
                <a16:creationId xmlns:a16="http://schemas.microsoft.com/office/drawing/2014/main" id="{4CF18D15-E449-6093-1297-4422CD12CC35}"/>
              </a:ext>
            </a:extLst>
          </p:cNvPr>
          <p:cNvSpPr txBox="1"/>
          <p:nvPr/>
        </p:nvSpPr>
        <p:spPr>
          <a:xfrm>
            <a:off x="2109480" y="4473555"/>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Request to Resolution</a:t>
            </a:r>
          </a:p>
        </p:txBody>
      </p:sp>
      <p:sp>
        <p:nvSpPr>
          <p:cNvPr id="27" name="TextBox 26">
            <a:extLst>
              <a:ext uri="{FF2B5EF4-FFF2-40B4-BE49-F238E27FC236}">
                <a16:creationId xmlns:a16="http://schemas.microsoft.com/office/drawing/2014/main" id="{1CD815C3-FBCF-F44E-9592-A41DC533B724}"/>
              </a:ext>
            </a:extLst>
          </p:cNvPr>
          <p:cNvSpPr txBox="1"/>
          <p:nvPr/>
        </p:nvSpPr>
        <p:spPr>
          <a:xfrm>
            <a:off x="2109480" y="5186069"/>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Invoice to Pay</a:t>
            </a:r>
          </a:p>
        </p:txBody>
      </p:sp>
      <p:sp>
        <p:nvSpPr>
          <p:cNvPr id="28" name="TextBox 27">
            <a:extLst>
              <a:ext uri="{FF2B5EF4-FFF2-40B4-BE49-F238E27FC236}">
                <a16:creationId xmlns:a16="http://schemas.microsoft.com/office/drawing/2014/main" id="{20246BDA-428F-28DA-65CD-1C3AE27D16DF}"/>
              </a:ext>
            </a:extLst>
          </p:cNvPr>
          <p:cNvSpPr txBox="1"/>
          <p:nvPr/>
        </p:nvSpPr>
        <p:spPr>
          <a:xfrm>
            <a:off x="2109480" y="5913096"/>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Manage Suppliers / Collaboration</a:t>
            </a:r>
          </a:p>
        </p:txBody>
      </p:sp>
      <p:sp>
        <p:nvSpPr>
          <p:cNvPr id="9" name="TextBox 8">
            <a:extLst>
              <a:ext uri="{FF2B5EF4-FFF2-40B4-BE49-F238E27FC236}">
                <a16:creationId xmlns:a16="http://schemas.microsoft.com/office/drawing/2014/main" id="{A8DC16E5-201A-C7C5-4D3D-6E07F3188AAA}"/>
              </a:ext>
            </a:extLst>
          </p:cNvPr>
          <p:cNvSpPr txBox="1"/>
          <p:nvPr/>
        </p:nvSpPr>
        <p:spPr>
          <a:xfrm>
            <a:off x="4114185" y="885803"/>
            <a:ext cx="1901769" cy="530550"/>
          </a:xfrm>
          <a:prstGeom prst="rect">
            <a:avLst/>
          </a:prstGeom>
          <a:solidFill>
            <a:schemeClr val="accent1"/>
          </a:solidFill>
        </p:spPr>
        <p:txBody>
          <a:bodyPr wrap="square" anchor="ctr">
            <a:noAutofit/>
          </a:bodyPr>
          <a:lstStyle/>
          <a:p>
            <a:pPr lvl="0" algn="ctr"/>
            <a:r>
              <a:rPr lang="en-US" sz="1200" b="1">
                <a:solidFill>
                  <a:schemeClr val="bg1"/>
                </a:solidFill>
              </a:rPr>
              <a:t>PLAN TO FULFILL</a:t>
            </a:r>
          </a:p>
        </p:txBody>
      </p:sp>
      <p:sp>
        <p:nvSpPr>
          <p:cNvPr id="70" name="TextBox 69">
            <a:extLst>
              <a:ext uri="{FF2B5EF4-FFF2-40B4-BE49-F238E27FC236}">
                <a16:creationId xmlns:a16="http://schemas.microsoft.com/office/drawing/2014/main" id="{4D589233-ABAA-4BC8-E95F-0A4DD441F203}"/>
              </a:ext>
            </a:extLst>
          </p:cNvPr>
          <p:cNvSpPr txBox="1"/>
          <p:nvPr/>
        </p:nvSpPr>
        <p:spPr>
          <a:xfrm>
            <a:off x="4114185" y="1556732"/>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Plan to Optimize</a:t>
            </a:r>
          </a:p>
          <a:p>
            <a:pPr lvl="0"/>
            <a:r>
              <a:rPr lang="en-US" sz="1100">
                <a:solidFill>
                  <a:schemeClr val="bg1"/>
                </a:solidFill>
              </a:rPr>
              <a:t>Fulfillment</a:t>
            </a:r>
          </a:p>
        </p:txBody>
      </p:sp>
      <p:sp>
        <p:nvSpPr>
          <p:cNvPr id="73" name="TextBox 72">
            <a:extLst>
              <a:ext uri="{FF2B5EF4-FFF2-40B4-BE49-F238E27FC236}">
                <a16:creationId xmlns:a16="http://schemas.microsoft.com/office/drawing/2014/main" id="{3CE588EA-B699-3C32-F09A-BE0B4059B2D8}"/>
              </a:ext>
            </a:extLst>
          </p:cNvPr>
          <p:cNvSpPr txBox="1"/>
          <p:nvPr/>
        </p:nvSpPr>
        <p:spPr>
          <a:xfrm>
            <a:off x="4114187" y="2289566"/>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Make to Inspect</a:t>
            </a:r>
          </a:p>
        </p:txBody>
      </p:sp>
      <p:sp>
        <p:nvSpPr>
          <p:cNvPr id="76" name="TextBox 75">
            <a:extLst>
              <a:ext uri="{FF2B5EF4-FFF2-40B4-BE49-F238E27FC236}">
                <a16:creationId xmlns:a16="http://schemas.microsoft.com/office/drawing/2014/main" id="{2F63F005-0B92-CD81-A32D-0548BA61B7BC}"/>
              </a:ext>
            </a:extLst>
          </p:cNvPr>
          <p:cNvSpPr txBox="1"/>
          <p:nvPr/>
        </p:nvSpPr>
        <p:spPr>
          <a:xfrm>
            <a:off x="4114187" y="3022400"/>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Procure to Receipt</a:t>
            </a:r>
          </a:p>
        </p:txBody>
      </p:sp>
      <p:sp>
        <p:nvSpPr>
          <p:cNvPr id="83" name="TextBox 82">
            <a:extLst>
              <a:ext uri="{FF2B5EF4-FFF2-40B4-BE49-F238E27FC236}">
                <a16:creationId xmlns:a16="http://schemas.microsoft.com/office/drawing/2014/main" id="{AC09FDA4-52E0-BC47-F160-FB439677C41D}"/>
              </a:ext>
            </a:extLst>
          </p:cNvPr>
          <p:cNvSpPr txBox="1"/>
          <p:nvPr/>
        </p:nvSpPr>
        <p:spPr>
          <a:xfrm>
            <a:off x="4114187" y="3743623"/>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Deliver Product to Fulfill</a:t>
            </a:r>
          </a:p>
        </p:txBody>
      </p:sp>
      <p:sp>
        <p:nvSpPr>
          <p:cNvPr id="84" name="TextBox 83">
            <a:extLst>
              <a:ext uri="{FF2B5EF4-FFF2-40B4-BE49-F238E27FC236}">
                <a16:creationId xmlns:a16="http://schemas.microsoft.com/office/drawing/2014/main" id="{45E17D9D-CA89-C5BD-01D1-DD6C5B597AF9}"/>
              </a:ext>
            </a:extLst>
          </p:cNvPr>
          <p:cNvSpPr txBox="1"/>
          <p:nvPr/>
        </p:nvSpPr>
        <p:spPr>
          <a:xfrm>
            <a:off x="4114187" y="4473555"/>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Deliver Service to Fulfill</a:t>
            </a:r>
          </a:p>
        </p:txBody>
      </p:sp>
      <p:sp>
        <p:nvSpPr>
          <p:cNvPr id="85" name="TextBox 84">
            <a:extLst>
              <a:ext uri="{FF2B5EF4-FFF2-40B4-BE49-F238E27FC236}">
                <a16:creationId xmlns:a16="http://schemas.microsoft.com/office/drawing/2014/main" id="{D8D3A3FF-1F53-8A3C-AD72-A783DF787878}"/>
              </a:ext>
            </a:extLst>
          </p:cNvPr>
          <p:cNvSpPr txBox="1"/>
          <p:nvPr/>
        </p:nvSpPr>
        <p:spPr>
          <a:xfrm>
            <a:off x="4114185" y="5220899"/>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Manage Fulfillment</a:t>
            </a:r>
          </a:p>
        </p:txBody>
      </p:sp>
      <p:sp>
        <p:nvSpPr>
          <p:cNvPr id="10" name="TextBox 9">
            <a:extLst>
              <a:ext uri="{FF2B5EF4-FFF2-40B4-BE49-F238E27FC236}">
                <a16:creationId xmlns:a16="http://schemas.microsoft.com/office/drawing/2014/main" id="{EB68E267-CA09-91C3-AD70-2A588FBA1E47}"/>
              </a:ext>
            </a:extLst>
          </p:cNvPr>
          <p:cNvSpPr txBox="1"/>
          <p:nvPr/>
        </p:nvSpPr>
        <p:spPr>
          <a:xfrm>
            <a:off x="6118892" y="885803"/>
            <a:ext cx="1901769" cy="530550"/>
          </a:xfrm>
          <a:prstGeom prst="rect">
            <a:avLst/>
          </a:prstGeom>
          <a:solidFill>
            <a:schemeClr val="accent1"/>
          </a:solidFill>
        </p:spPr>
        <p:txBody>
          <a:bodyPr wrap="square" anchor="ctr">
            <a:noAutofit/>
          </a:bodyPr>
          <a:lstStyle/>
          <a:p>
            <a:pPr lvl="0" algn="ctr"/>
            <a:r>
              <a:rPr lang="en-US" sz="1200" b="1">
                <a:solidFill>
                  <a:schemeClr val="bg1"/>
                </a:solidFill>
              </a:rPr>
              <a:t>LEAD TO CASH</a:t>
            </a:r>
          </a:p>
        </p:txBody>
      </p:sp>
      <p:sp>
        <p:nvSpPr>
          <p:cNvPr id="87" name="TextBox 86">
            <a:extLst>
              <a:ext uri="{FF2B5EF4-FFF2-40B4-BE49-F238E27FC236}">
                <a16:creationId xmlns:a16="http://schemas.microsoft.com/office/drawing/2014/main" id="{0EBB9C59-B735-F07F-E0D5-0AAFDA9788FF}"/>
              </a:ext>
            </a:extLst>
          </p:cNvPr>
          <p:cNvSpPr txBox="1"/>
          <p:nvPr/>
        </p:nvSpPr>
        <p:spPr>
          <a:xfrm>
            <a:off x="6118892" y="1556731"/>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Plan to Optimize</a:t>
            </a:r>
          </a:p>
          <a:p>
            <a:pPr lvl="0"/>
            <a:r>
              <a:rPr lang="en-US" sz="1100">
                <a:solidFill>
                  <a:schemeClr val="bg1"/>
                </a:solidFill>
              </a:rPr>
              <a:t>Marketing &amp; Sales</a:t>
            </a:r>
          </a:p>
        </p:txBody>
      </p:sp>
      <p:sp>
        <p:nvSpPr>
          <p:cNvPr id="88" name="TextBox 87">
            <a:extLst>
              <a:ext uri="{FF2B5EF4-FFF2-40B4-BE49-F238E27FC236}">
                <a16:creationId xmlns:a16="http://schemas.microsoft.com/office/drawing/2014/main" id="{1BB08A09-D981-42B5-AB53-63768278D178}"/>
              </a:ext>
            </a:extLst>
          </p:cNvPr>
          <p:cNvSpPr txBox="1"/>
          <p:nvPr/>
        </p:nvSpPr>
        <p:spPr>
          <a:xfrm>
            <a:off x="6118892" y="2289564"/>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Market to Lead</a:t>
            </a:r>
          </a:p>
        </p:txBody>
      </p:sp>
      <p:sp>
        <p:nvSpPr>
          <p:cNvPr id="89" name="TextBox 88">
            <a:extLst>
              <a:ext uri="{FF2B5EF4-FFF2-40B4-BE49-F238E27FC236}">
                <a16:creationId xmlns:a16="http://schemas.microsoft.com/office/drawing/2014/main" id="{A5028E64-6807-B8ED-AA06-CE08A5115C9F}"/>
              </a:ext>
            </a:extLst>
          </p:cNvPr>
          <p:cNvSpPr txBox="1"/>
          <p:nvPr/>
        </p:nvSpPr>
        <p:spPr>
          <a:xfrm>
            <a:off x="6118892" y="3022396"/>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Opportunity to Quote</a:t>
            </a:r>
          </a:p>
        </p:txBody>
      </p:sp>
      <p:sp>
        <p:nvSpPr>
          <p:cNvPr id="90" name="TextBox 89">
            <a:extLst>
              <a:ext uri="{FF2B5EF4-FFF2-40B4-BE49-F238E27FC236}">
                <a16:creationId xmlns:a16="http://schemas.microsoft.com/office/drawing/2014/main" id="{EF35D60A-809F-BDBD-2847-25D951D43D59}"/>
              </a:ext>
            </a:extLst>
          </p:cNvPr>
          <p:cNvSpPr txBox="1"/>
          <p:nvPr/>
        </p:nvSpPr>
        <p:spPr>
          <a:xfrm>
            <a:off x="6118892" y="3743623"/>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Order to Fulfill</a:t>
            </a:r>
          </a:p>
        </p:txBody>
      </p:sp>
      <p:sp>
        <p:nvSpPr>
          <p:cNvPr id="91" name="TextBox 90">
            <a:extLst>
              <a:ext uri="{FF2B5EF4-FFF2-40B4-BE49-F238E27FC236}">
                <a16:creationId xmlns:a16="http://schemas.microsoft.com/office/drawing/2014/main" id="{6D61A3F4-97E7-A37C-0D05-E065CE94D066}"/>
              </a:ext>
            </a:extLst>
          </p:cNvPr>
          <p:cNvSpPr txBox="1"/>
          <p:nvPr/>
        </p:nvSpPr>
        <p:spPr>
          <a:xfrm>
            <a:off x="6118892" y="4473555"/>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Request to Service</a:t>
            </a:r>
          </a:p>
        </p:txBody>
      </p:sp>
      <p:sp>
        <p:nvSpPr>
          <p:cNvPr id="92" name="TextBox 91">
            <a:extLst>
              <a:ext uri="{FF2B5EF4-FFF2-40B4-BE49-F238E27FC236}">
                <a16:creationId xmlns:a16="http://schemas.microsoft.com/office/drawing/2014/main" id="{06AF7618-5741-9ECE-0D85-B5E45335FF1C}"/>
              </a:ext>
            </a:extLst>
          </p:cNvPr>
          <p:cNvSpPr txBox="1"/>
          <p:nvPr/>
        </p:nvSpPr>
        <p:spPr>
          <a:xfrm>
            <a:off x="6118892" y="5220898"/>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Invoice to Cash</a:t>
            </a:r>
          </a:p>
        </p:txBody>
      </p:sp>
      <p:sp>
        <p:nvSpPr>
          <p:cNvPr id="11" name="TextBox 10">
            <a:extLst>
              <a:ext uri="{FF2B5EF4-FFF2-40B4-BE49-F238E27FC236}">
                <a16:creationId xmlns:a16="http://schemas.microsoft.com/office/drawing/2014/main" id="{57F859CC-03C1-B767-9DBF-D690D7854688}"/>
              </a:ext>
            </a:extLst>
          </p:cNvPr>
          <p:cNvSpPr txBox="1"/>
          <p:nvPr/>
        </p:nvSpPr>
        <p:spPr>
          <a:xfrm>
            <a:off x="8123597" y="885802"/>
            <a:ext cx="1901769" cy="530550"/>
          </a:xfrm>
          <a:prstGeom prst="rect">
            <a:avLst/>
          </a:prstGeom>
          <a:solidFill>
            <a:schemeClr val="accent1"/>
          </a:solidFill>
        </p:spPr>
        <p:txBody>
          <a:bodyPr wrap="square" anchor="ctr">
            <a:noAutofit/>
          </a:bodyPr>
          <a:lstStyle/>
          <a:p>
            <a:pPr lvl="0" algn="ctr"/>
            <a:r>
              <a:rPr lang="en-US" sz="1200" b="1">
                <a:solidFill>
                  <a:schemeClr val="bg1"/>
                </a:solidFill>
              </a:rPr>
              <a:t>RECRUIT TO RETIRE</a:t>
            </a:r>
          </a:p>
        </p:txBody>
      </p:sp>
      <p:sp>
        <p:nvSpPr>
          <p:cNvPr id="94" name="TextBox 93">
            <a:extLst>
              <a:ext uri="{FF2B5EF4-FFF2-40B4-BE49-F238E27FC236}">
                <a16:creationId xmlns:a16="http://schemas.microsoft.com/office/drawing/2014/main" id="{038A76BE-31FA-7657-C2DF-DFB5A286199A}"/>
              </a:ext>
            </a:extLst>
          </p:cNvPr>
          <p:cNvSpPr txBox="1"/>
          <p:nvPr/>
        </p:nvSpPr>
        <p:spPr>
          <a:xfrm>
            <a:off x="8123597" y="1556730"/>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Plan to Optimize</a:t>
            </a:r>
          </a:p>
          <a:p>
            <a:pPr lvl="0"/>
            <a:r>
              <a:rPr lang="en-US" sz="1100">
                <a:solidFill>
                  <a:schemeClr val="bg1"/>
                </a:solidFill>
              </a:rPr>
              <a:t>Workforce</a:t>
            </a:r>
          </a:p>
        </p:txBody>
      </p:sp>
      <p:sp>
        <p:nvSpPr>
          <p:cNvPr id="95" name="TextBox 94">
            <a:extLst>
              <a:ext uri="{FF2B5EF4-FFF2-40B4-BE49-F238E27FC236}">
                <a16:creationId xmlns:a16="http://schemas.microsoft.com/office/drawing/2014/main" id="{A3C520AF-855B-08B0-637F-51DE380F8D1D}"/>
              </a:ext>
            </a:extLst>
          </p:cNvPr>
          <p:cNvSpPr txBox="1"/>
          <p:nvPr/>
        </p:nvSpPr>
        <p:spPr>
          <a:xfrm>
            <a:off x="8123597" y="2289562"/>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Recruit to Onboard</a:t>
            </a:r>
          </a:p>
        </p:txBody>
      </p:sp>
      <p:sp>
        <p:nvSpPr>
          <p:cNvPr id="98" name="TextBox 97">
            <a:extLst>
              <a:ext uri="{FF2B5EF4-FFF2-40B4-BE49-F238E27FC236}">
                <a16:creationId xmlns:a16="http://schemas.microsoft.com/office/drawing/2014/main" id="{573CD95B-D96D-2851-9DE9-9931832397BF}"/>
              </a:ext>
            </a:extLst>
          </p:cNvPr>
          <p:cNvSpPr txBox="1"/>
          <p:nvPr/>
        </p:nvSpPr>
        <p:spPr>
          <a:xfrm>
            <a:off x="8123597" y="3022395"/>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Develop to Grow</a:t>
            </a:r>
          </a:p>
        </p:txBody>
      </p:sp>
      <p:sp>
        <p:nvSpPr>
          <p:cNvPr id="99" name="TextBox 98">
            <a:extLst>
              <a:ext uri="{FF2B5EF4-FFF2-40B4-BE49-F238E27FC236}">
                <a16:creationId xmlns:a16="http://schemas.microsoft.com/office/drawing/2014/main" id="{81B83B7C-EE64-526B-4F65-B13CA41EF8A1}"/>
              </a:ext>
            </a:extLst>
          </p:cNvPr>
          <p:cNvSpPr txBox="1"/>
          <p:nvPr/>
        </p:nvSpPr>
        <p:spPr>
          <a:xfrm>
            <a:off x="8123597" y="3743623"/>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Reward to Retain</a:t>
            </a:r>
          </a:p>
        </p:txBody>
      </p:sp>
      <p:sp>
        <p:nvSpPr>
          <p:cNvPr id="100" name="TextBox 99">
            <a:extLst>
              <a:ext uri="{FF2B5EF4-FFF2-40B4-BE49-F238E27FC236}">
                <a16:creationId xmlns:a16="http://schemas.microsoft.com/office/drawing/2014/main" id="{8F832012-71DE-7BBD-C84D-4CE98EFD1345}"/>
              </a:ext>
            </a:extLst>
          </p:cNvPr>
          <p:cNvSpPr txBox="1"/>
          <p:nvPr/>
        </p:nvSpPr>
        <p:spPr>
          <a:xfrm>
            <a:off x="8123597" y="4473555"/>
            <a:ext cx="1901769" cy="592455"/>
          </a:xfrm>
          <a:prstGeom prst="rect">
            <a:avLst/>
          </a:prstGeom>
          <a:solidFill>
            <a:schemeClr val="accent1">
              <a:alpha val="31000"/>
            </a:schemeClr>
          </a:solidFill>
        </p:spPr>
        <p:txBody>
          <a:bodyPr wrap="square" lIns="108000" rIns="720000" anchor="ctr">
            <a:noAutofit/>
          </a:bodyPr>
          <a:lstStyle/>
          <a:p>
            <a:pPr lvl="0"/>
            <a:r>
              <a:rPr lang="en-US" sz="1100">
                <a:solidFill>
                  <a:schemeClr val="bg1"/>
                </a:solidFill>
              </a:rPr>
              <a:t>Manage Workforce &amp; Retirement</a:t>
            </a:r>
          </a:p>
        </p:txBody>
      </p:sp>
      <p:sp>
        <p:nvSpPr>
          <p:cNvPr id="106" name="TextBox 105">
            <a:extLst>
              <a:ext uri="{FF2B5EF4-FFF2-40B4-BE49-F238E27FC236}">
                <a16:creationId xmlns:a16="http://schemas.microsoft.com/office/drawing/2014/main" id="{61BBE09F-FF27-165F-970A-12D2EC4651C3}"/>
              </a:ext>
            </a:extLst>
          </p:cNvPr>
          <p:cNvSpPr txBox="1"/>
          <p:nvPr/>
        </p:nvSpPr>
        <p:spPr>
          <a:xfrm>
            <a:off x="10128302" y="885802"/>
            <a:ext cx="1901769" cy="530550"/>
          </a:xfrm>
          <a:prstGeom prst="rect">
            <a:avLst/>
          </a:prstGeom>
          <a:solidFill>
            <a:schemeClr val="bg1">
              <a:lumMod val="50000"/>
            </a:schemeClr>
          </a:solidFill>
        </p:spPr>
        <p:txBody>
          <a:bodyPr wrap="square" anchor="ctr">
            <a:noAutofit/>
          </a:bodyPr>
          <a:lstStyle/>
          <a:p>
            <a:pPr lvl="0" algn="ctr"/>
            <a:r>
              <a:rPr lang="en-US" sz="1200" b="1">
                <a:solidFill>
                  <a:schemeClr val="bg1"/>
                </a:solidFill>
              </a:rPr>
              <a:t>CROSS FUNCTION</a:t>
            </a:r>
          </a:p>
        </p:txBody>
      </p:sp>
      <p:sp>
        <p:nvSpPr>
          <p:cNvPr id="107" name="TextBox 106">
            <a:extLst>
              <a:ext uri="{FF2B5EF4-FFF2-40B4-BE49-F238E27FC236}">
                <a16:creationId xmlns:a16="http://schemas.microsoft.com/office/drawing/2014/main" id="{684F6F05-4359-902E-DE53-0FB643D918F1}"/>
              </a:ext>
            </a:extLst>
          </p:cNvPr>
          <p:cNvSpPr txBox="1"/>
          <p:nvPr/>
        </p:nvSpPr>
        <p:spPr>
          <a:xfrm>
            <a:off x="10128305" y="1550925"/>
            <a:ext cx="1901769" cy="592455"/>
          </a:xfrm>
          <a:prstGeom prst="rect">
            <a:avLst/>
          </a:prstGeom>
          <a:solidFill>
            <a:schemeClr val="tx1">
              <a:lumMod val="65000"/>
              <a:lumOff val="35000"/>
              <a:alpha val="61000"/>
            </a:schemeClr>
          </a:solidFill>
        </p:spPr>
        <p:txBody>
          <a:bodyPr wrap="square" lIns="108000" rIns="720000" anchor="ctr">
            <a:noAutofit/>
          </a:bodyPr>
          <a:lstStyle/>
          <a:p>
            <a:pPr lvl="0"/>
            <a:r>
              <a:rPr lang="en-US" sz="1100">
                <a:solidFill>
                  <a:schemeClr val="bg1"/>
                </a:solidFill>
              </a:rPr>
              <a:t>Analytics &amp; Reporting</a:t>
            </a:r>
          </a:p>
        </p:txBody>
      </p:sp>
      <p:sp>
        <p:nvSpPr>
          <p:cNvPr id="108" name="TextBox 107">
            <a:extLst>
              <a:ext uri="{FF2B5EF4-FFF2-40B4-BE49-F238E27FC236}">
                <a16:creationId xmlns:a16="http://schemas.microsoft.com/office/drawing/2014/main" id="{1534601A-3069-9E20-FAE1-8BE44CB33F64}"/>
              </a:ext>
            </a:extLst>
          </p:cNvPr>
          <p:cNvSpPr txBox="1"/>
          <p:nvPr/>
        </p:nvSpPr>
        <p:spPr>
          <a:xfrm>
            <a:off x="10128305" y="2277954"/>
            <a:ext cx="1901769" cy="592455"/>
          </a:xfrm>
          <a:prstGeom prst="rect">
            <a:avLst/>
          </a:prstGeom>
          <a:solidFill>
            <a:schemeClr val="tx1">
              <a:lumMod val="65000"/>
              <a:lumOff val="35000"/>
              <a:alpha val="61000"/>
            </a:schemeClr>
          </a:solidFill>
        </p:spPr>
        <p:txBody>
          <a:bodyPr wrap="square" lIns="108000" rIns="720000" anchor="ctr">
            <a:noAutofit/>
          </a:bodyPr>
          <a:lstStyle/>
          <a:p>
            <a:pPr lvl="0"/>
            <a:r>
              <a:rPr lang="en-US" sz="1100">
                <a:solidFill>
                  <a:schemeClr val="bg1"/>
                </a:solidFill>
              </a:rPr>
              <a:t>Sustainability</a:t>
            </a:r>
          </a:p>
        </p:txBody>
      </p:sp>
      <p:sp>
        <p:nvSpPr>
          <p:cNvPr id="109" name="TextBox 108">
            <a:extLst>
              <a:ext uri="{FF2B5EF4-FFF2-40B4-BE49-F238E27FC236}">
                <a16:creationId xmlns:a16="http://schemas.microsoft.com/office/drawing/2014/main" id="{3B3E8CFC-F596-7F13-7136-5EDDA78A03B4}"/>
              </a:ext>
            </a:extLst>
          </p:cNvPr>
          <p:cNvSpPr txBox="1"/>
          <p:nvPr/>
        </p:nvSpPr>
        <p:spPr>
          <a:xfrm>
            <a:off x="10128305" y="3004982"/>
            <a:ext cx="1901769" cy="592455"/>
          </a:xfrm>
          <a:prstGeom prst="rect">
            <a:avLst/>
          </a:prstGeom>
          <a:solidFill>
            <a:schemeClr val="tx1">
              <a:lumMod val="65000"/>
              <a:lumOff val="35000"/>
              <a:alpha val="61000"/>
            </a:schemeClr>
          </a:solidFill>
        </p:spPr>
        <p:txBody>
          <a:bodyPr wrap="square" lIns="108000" rIns="720000" anchor="ctr">
            <a:noAutofit/>
          </a:bodyPr>
          <a:lstStyle/>
          <a:p>
            <a:pPr lvl="0"/>
            <a:r>
              <a:rPr lang="en-US" sz="1100">
                <a:solidFill>
                  <a:schemeClr val="bg1"/>
                </a:solidFill>
              </a:rPr>
              <a:t>Integration Management</a:t>
            </a:r>
          </a:p>
        </p:txBody>
      </p:sp>
      <p:sp>
        <p:nvSpPr>
          <p:cNvPr id="112" name="TextBox 111">
            <a:extLst>
              <a:ext uri="{FF2B5EF4-FFF2-40B4-BE49-F238E27FC236}">
                <a16:creationId xmlns:a16="http://schemas.microsoft.com/office/drawing/2014/main" id="{D717A0EF-85DF-F32B-7433-3E7C54777585}"/>
              </a:ext>
            </a:extLst>
          </p:cNvPr>
          <p:cNvSpPr txBox="1"/>
          <p:nvPr/>
        </p:nvSpPr>
        <p:spPr>
          <a:xfrm>
            <a:off x="10128302" y="3743623"/>
            <a:ext cx="1901769" cy="592455"/>
          </a:xfrm>
          <a:prstGeom prst="rect">
            <a:avLst/>
          </a:prstGeom>
          <a:solidFill>
            <a:schemeClr val="tx1">
              <a:lumMod val="65000"/>
              <a:lumOff val="35000"/>
              <a:alpha val="61000"/>
            </a:schemeClr>
          </a:solidFill>
        </p:spPr>
        <p:txBody>
          <a:bodyPr wrap="square" lIns="108000" rIns="720000" anchor="ctr">
            <a:noAutofit/>
          </a:bodyPr>
          <a:lstStyle/>
          <a:p>
            <a:pPr lvl="0"/>
            <a:r>
              <a:rPr lang="en-US" sz="1100">
                <a:solidFill>
                  <a:schemeClr val="bg1"/>
                </a:solidFill>
              </a:rPr>
              <a:t>Master Data Management</a:t>
            </a:r>
          </a:p>
        </p:txBody>
      </p:sp>
      <p:grpSp>
        <p:nvGrpSpPr>
          <p:cNvPr id="280" name="Group 279">
            <a:extLst>
              <a:ext uri="{FF2B5EF4-FFF2-40B4-BE49-F238E27FC236}">
                <a16:creationId xmlns:a16="http://schemas.microsoft.com/office/drawing/2014/main" id="{8038D4BD-666C-2D01-DE70-98C56FC44846}"/>
              </a:ext>
            </a:extLst>
          </p:cNvPr>
          <p:cNvGrpSpPr/>
          <p:nvPr/>
        </p:nvGrpSpPr>
        <p:grpSpPr>
          <a:xfrm>
            <a:off x="1320800" y="1757617"/>
            <a:ext cx="566618" cy="179070"/>
            <a:chOff x="1320800" y="1233765"/>
            <a:chExt cx="566618" cy="179070"/>
          </a:xfrm>
        </p:grpSpPr>
        <p:sp>
          <p:nvSpPr>
            <p:cNvPr id="277" name="Oval 276">
              <a:extLst>
                <a:ext uri="{FF2B5EF4-FFF2-40B4-BE49-F238E27FC236}">
                  <a16:creationId xmlns:a16="http://schemas.microsoft.com/office/drawing/2014/main" id="{E2D2A90B-BCA1-9D6E-C6E1-435F6A639612}"/>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278" name="Oval 277">
              <a:extLst>
                <a:ext uri="{FF2B5EF4-FFF2-40B4-BE49-F238E27FC236}">
                  <a16:creationId xmlns:a16="http://schemas.microsoft.com/office/drawing/2014/main" id="{6FD5DFCA-8DE1-E093-0F52-5FF57A9ABE34}"/>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279" name="Oval 278">
              <a:extLst>
                <a:ext uri="{FF2B5EF4-FFF2-40B4-BE49-F238E27FC236}">
                  <a16:creationId xmlns:a16="http://schemas.microsoft.com/office/drawing/2014/main" id="{62056BCB-53B7-1018-6009-98907B9ACB50}"/>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281" name="Group 280">
            <a:extLst>
              <a:ext uri="{FF2B5EF4-FFF2-40B4-BE49-F238E27FC236}">
                <a16:creationId xmlns:a16="http://schemas.microsoft.com/office/drawing/2014/main" id="{E9E59315-9D62-9282-41F3-82BDA4337483}"/>
              </a:ext>
            </a:extLst>
          </p:cNvPr>
          <p:cNvGrpSpPr/>
          <p:nvPr/>
        </p:nvGrpSpPr>
        <p:grpSpPr>
          <a:xfrm>
            <a:off x="1320800" y="2484646"/>
            <a:ext cx="566618" cy="179070"/>
            <a:chOff x="1320800" y="1233765"/>
            <a:chExt cx="566618" cy="179070"/>
          </a:xfrm>
        </p:grpSpPr>
        <p:sp>
          <p:nvSpPr>
            <p:cNvPr id="282" name="Oval 281">
              <a:extLst>
                <a:ext uri="{FF2B5EF4-FFF2-40B4-BE49-F238E27FC236}">
                  <a16:creationId xmlns:a16="http://schemas.microsoft.com/office/drawing/2014/main" id="{1DF5C4BE-EC40-CF36-D899-67C45B714B56}"/>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283" name="Oval 282">
              <a:extLst>
                <a:ext uri="{FF2B5EF4-FFF2-40B4-BE49-F238E27FC236}">
                  <a16:creationId xmlns:a16="http://schemas.microsoft.com/office/drawing/2014/main" id="{7C527826-D32A-42F2-C441-E00B794F2526}"/>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284" name="Oval 283">
              <a:extLst>
                <a:ext uri="{FF2B5EF4-FFF2-40B4-BE49-F238E27FC236}">
                  <a16:creationId xmlns:a16="http://schemas.microsoft.com/office/drawing/2014/main" id="{5F720413-6E50-F161-0B8A-CC3C7E8962B3}"/>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285" name="Group 284">
            <a:extLst>
              <a:ext uri="{FF2B5EF4-FFF2-40B4-BE49-F238E27FC236}">
                <a16:creationId xmlns:a16="http://schemas.microsoft.com/office/drawing/2014/main" id="{3E8009B8-A748-0179-2E1D-886964B29391}"/>
              </a:ext>
            </a:extLst>
          </p:cNvPr>
          <p:cNvGrpSpPr/>
          <p:nvPr/>
        </p:nvGrpSpPr>
        <p:grpSpPr>
          <a:xfrm>
            <a:off x="1320800" y="3211674"/>
            <a:ext cx="566618" cy="179070"/>
            <a:chOff x="1320800" y="1233765"/>
            <a:chExt cx="566618" cy="179070"/>
          </a:xfrm>
        </p:grpSpPr>
        <p:sp>
          <p:nvSpPr>
            <p:cNvPr id="286" name="Oval 285">
              <a:extLst>
                <a:ext uri="{FF2B5EF4-FFF2-40B4-BE49-F238E27FC236}">
                  <a16:creationId xmlns:a16="http://schemas.microsoft.com/office/drawing/2014/main" id="{BF866B91-1ABB-C7E6-D618-0C2D3AFC7B43}"/>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287" name="Oval 286">
              <a:extLst>
                <a:ext uri="{FF2B5EF4-FFF2-40B4-BE49-F238E27FC236}">
                  <a16:creationId xmlns:a16="http://schemas.microsoft.com/office/drawing/2014/main" id="{2DE6FF05-6FA1-8CEF-8E11-B3906BF648EA}"/>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288" name="Oval 287">
              <a:extLst>
                <a:ext uri="{FF2B5EF4-FFF2-40B4-BE49-F238E27FC236}">
                  <a16:creationId xmlns:a16="http://schemas.microsoft.com/office/drawing/2014/main" id="{B2BFC5AE-8480-D887-F2AC-4E278907FE12}"/>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sp>
        <p:nvSpPr>
          <p:cNvPr id="290" name="Oval 289">
            <a:extLst>
              <a:ext uri="{FF2B5EF4-FFF2-40B4-BE49-F238E27FC236}">
                <a16:creationId xmlns:a16="http://schemas.microsoft.com/office/drawing/2014/main" id="{9B7212B1-AC3B-9C25-7C46-59D27B3BCB52}"/>
              </a:ext>
            </a:extLst>
          </p:cNvPr>
          <p:cNvSpPr/>
          <p:nvPr/>
        </p:nvSpPr>
        <p:spPr bwMode="gray">
          <a:xfrm>
            <a:off x="1320800" y="3957009"/>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nvGrpSpPr>
          <p:cNvPr id="293" name="Group 292">
            <a:extLst>
              <a:ext uri="{FF2B5EF4-FFF2-40B4-BE49-F238E27FC236}">
                <a16:creationId xmlns:a16="http://schemas.microsoft.com/office/drawing/2014/main" id="{6314031B-5A74-5785-6C4D-FA791024DF92}"/>
              </a:ext>
            </a:extLst>
          </p:cNvPr>
          <p:cNvGrpSpPr/>
          <p:nvPr/>
        </p:nvGrpSpPr>
        <p:grpSpPr>
          <a:xfrm>
            <a:off x="1320800" y="4680247"/>
            <a:ext cx="566618" cy="179070"/>
            <a:chOff x="1320800" y="1233765"/>
            <a:chExt cx="566618" cy="179070"/>
          </a:xfrm>
        </p:grpSpPr>
        <p:sp>
          <p:nvSpPr>
            <p:cNvPr id="294" name="Oval 293">
              <a:extLst>
                <a:ext uri="{FF2B5EF4-FFF2-40B4-BE49-F238E27FC236}">
                  <a16:creationId xmlns:a16="http://schemas.microsoft.com/office/drawing/2014/main" id="{E23E8D1C-7D7E-0E1F-4C69-46D24C0A414E}"/>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295" name="Oval 294">
              <a:extLst>
                <a:ext uri="{FF2B5EF4-FFF2-40B4-BE49-F238E27FC236}">
                  <a16:creationId xmlns:a16="http://schemas.microsoft.com/office/drawing/2014/main" id="{ED02491A-7880-AA13-FDA9-05A9DAA632B5}"/>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296" name="Oval 295">
              <a:extLst>
                <a:ext uri="{FF2B5EF4-FFF2-40B4-BE49-F238E27FC236}">
                  <a16:creationId xmlns:a16="http://schemas.microsoft.com/office/drawing/2014/main" id="{40847371-3EED-9A06-0B7F-757FD3303118}"/>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297" name="Group 296">
            <a:extLst>
              <a:ext uri="{FF2B5EF4-FFF2-40B4-BE49-F238E27FC236}">
                <a16:creationId xmlns:a16="http://schemas.microsoft.com/office/drawing/2014/main" id="{70EA333E-4779-6B4E-2D6E-88391AFC8F4E}"/>
              </a:ext>
            </a:extLst>
          </p:cNvPr>
          <p:cNvGrpSpPr/>
          <p:nvPr/>
        </p:nvGrpSpPr>
        <p:grpSpPr>
          <a:xfrm>
            <a:off x="3310448" y="1757617"/>
            <a:ext cx="566618" cy="179070"/>
            <a:chOff x="1320800" y="1233765"/>
            <a:chExt cx="566618" cy="179070"/>
          </a:xfrm>
        </p:grpSpPr>
        <p:sp>
          <p:nvSpPr>
            <p:cNvPr id="298" name="Oval 297">
              <a:extLst>
                <a:ext uri="{FF2B5EF4-FFF2-40B4-BE49-F238E27FC236}">
                  <a16:creationId xmlns:a16="http://schemas.microsoft.com/office/drawing/2014/main" id="{306C118F-26CF-CD92-8423-A0852A027B3D}"/>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299" name="Oval 298">
              <a:extLst>
                <a:ext uri="{FF2B5EF4-FFF2-40B4-BE49-F238E27FC236}">
                  <a16:creationId xmlns:a16="http://schemas.microsoft.com/office/drawing/2014/main" id="{5C7E7485-370E-4395-E04B-A5537361C27B}"/>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00" name="Oval 299">
              <a:extLst>
                <a:ext uri="{FF2B5EF4-FFF2-40B4-BE49-F238E27FC236}">
                  <a16:creationId xmlns:a16="http://schemas.microsoft.com/office/drawing/2014/main" id="{64C65DFD-71FD-7B12-AA31-A20557BF8CB8}"/>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01" name="Group 300">
            <a:extLst>
              <a:ext uri="{FF2B5EF4-FFF2-40B4-BE49-F238E27FC236}">
                <a16:creationId xmlns:a16="http://schemas.microsoft.com/office/drawing/2014/main" id="{CDC22B2F-289D-8FD5-AD21-419EA146540B}"/>
              </a:ext>
            </a:extLst>
          </p:cNvPr>
          <p:cNvGrpSpPr/>
          <p:nvPr/>
        </p:nvGrpSpPr>
        <p:grpSpPr>
          <a:xfrm>
            <a:off x="3310448" y="2484646"/>
            <a:ext cx="566618" cy="179070"/>
            <a:chOff x="1320800" y="1233765"/>
            <a:chExt cx="566618" cy="179070"/>
          </a:xfrm>
        </p:grpSpPr>
        <p:sp>
          <p:nvSpPr>
            <p:cNvPr id="302" name="Oval 301">
              <a:extLst>
                <a:ext uri="{FF2B5EF4-FFF2-40B4-BE49-F238E27FC236}">
                  <a16:creationId xmlns:a16="http://schemas.microsoft.com/office/drawing/2014/main" id="{57F3C3C5-85DA-2091-BF98-8D78249E8E90}"/>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03" name="Oval 302">
              <a:extLst>
                <a:ext uri="{FF2B5EF4-FFF2-40B4-BE49-F238E27FC236}">
                  <a16:creationId xmlns:a16="http://schemas.microsoft.com/office/drawing/2014/main" id="{11BD59B7-92C0-E957-5882-199E94486451}"/>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04" name="Oval 303">
              <a:extLst>
                <a:ext uri="{FF2B5EF4-FFF2-40B4-BE49-F238E27FC236}">
                  <a16:creationId xmlns:a16="http://schemas.microsoft.com/office/drawing/2014/main" id="{7078B88F-0912-16D3-6F11-1334827E5373}"/>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05" name="Group 304">
            <a:extLst>
              <a:ext uri="{FF2B5EF4-FFF2-40B4-BE49-F238E27FC236}">
                <a16:creationId xmlns:a16="http://schemas.microsoft.com/office/drawing/2014/main" id="{BA3DA475-0DEA-8741-75F6-AF8643837A30}"/>
              </a:ext>
            </a:extLst>
          </p:cNvPr>
          <p:cNvGrpSpPr/>
          <p:nvPr/>
        </p:nvGrpSpPr>
        <p:grpSpPr>
          <a:xfrm>
            <a:off x="3310448" y="3211674"/>
            <a:ext cx="566618" cy="179070"/>
            <a:chOff x="1320800" y="1233765"/>
            <a:chExt cx="566618" cy="179070"/>
          </a:xfrm>
        </p:grpSpPr>
        <p:sp>
          <p:nvSpPr>
            <p:cNvPr id="306" name="Oval 305">
              <a:extLst>
                <a:ext uri="{FF2B5EF4-FFF2-40B4-BE49-F238E27FC236}">
                  <a16:creationId xmlns:a16="http://schemas.microsoft.com/office/drawing/2014/main" id="{30ACDD40-FE6E-CD2D-E41F-B0D4C31970B5}"/>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07" name="Oval 306">
              <a:extLst>
                <a:ext uri="{FF2B5EF4-FFF2-40B4-BE49-F238E27FC236}">
                  <a16:creationId xmlns:a16="http://schemas.microsoft.com/office/drawing/2014/main" id="{48BAB6DC-7953-7B04-4639-4596B402BA05}"/>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08" name="Oval 307">
              <a:extLst>
                <a:ext uri="{FF2B5EF4-FFF2-40B4-BE49-F238E27FC236}">
                  <a16:creationId xmlns:a16="http://schemas.microsoft.com/office/drawing/2014/main" id="{2DC92D80-8680-72E0-9C6F-94527F16551C}"/>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sp>
        <p:nvSpPr>
          <p:cNvPr id="312" name="Oval 311">
            <a:extLst>
              <a:ext uri="{FF2B5EF4-FFF2-40B4-BE49-F238E27FC236}">
                <a16:creationId xmlns:a16="http://schemas.microsoft.com/office/drawing/2014/main" id="{7F59864D-6E3B-11AE-D662-5BE0CBD19BBB}"/>
              </a:ext>
            </a:extLst>
          </p:cNvPr>
          <p:cNvSpPr/>
          <p:nvPr/>
        </p:nvSpPr>
        <p:spPr bwMode="gray">
          <a:xfrm>
            <a:off x="3697996" y="3957009"/>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nvGrpSpPr>
          <p:cNvPr id="313" name="Group 312">
            <a:extLst>
              <a:ext uri="{FF2B5EF4-FFF2-40B4-BE49-F238E27FC236}">
                <a16:creationId xmlns:a16="http://schemas.microsoft.com/office/drawing/2014/main" id="{B6EBAB39-A100-2EBB-B2B4-DE6B8DD2BEA5}"/>
              </a:ext>
            </a:extLst>
          </p:cNvPr>
          <p:cNvGrpSpPr/>
          <p:nvPr/>
        </p:nvGrpSpPr>
        <p:grpSpPr>
          <a:xfrm>
            <a:off x="3310448" y="4680247"/>
            <a:ext cx="566618" cy="179070"/>
            <a:chOff x="1320800" y="1233765"/>
            <a:chExt cx="566618" cy="179070"/>
          </a:xfrm>
        </p:grpSpPr>
        <p:sp>
          <p:nvSpPr>
            <p:cNvPr id="314" name="Oval 313">
              <a:extLst>
                <a:ext uri="{FF2B5EF4-FFF2-40B4-BE49-F238E27FC236}">
                  <a16:creationId xmlns:a16="http://schemas.microsoft.com/office/drawing/2014/main" id="{A0F78CE4-D917-376A-19DE-B26291E6F232}"/>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15" name="Oval 314">
              <a:extLst>
                <a:ext uri="{FF2B5EF4-FFF2-40B4-BE49-F238E27FC236}">
                  <a16:creationId xmlns:a16="http://schemas.microsoft.com/office/drawing/2014/main" id="{2D787B76-E1C0-0167-3549-823680FD58AD}"/>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16" name="Oval 315">
              <a:extLst>
                <a:ext uri="{FF2B5EF4-FFF2-40B4-BE49-F238E27FC236}">
                  <a16:creationId xmlns:a16="http://schemas.microsoft.com/office/drawing/2014/main" id="{F90ED5E5-B6EB-CBE3-192C-F7CA8FA56587}"/>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17" name="Group 316">
            <a:extLst>
              <a:ext uri="{FF2B5EF4-FFF2-40B4-BE49-F238E27FC236}">
                <a16:creationId xmlns:a16="http://schemas.microsoft.com/office/drawing/2014/main" id="{F6D299D4-8C8E-C5A4-C472-423630038BE8}"/>
              </a:ext>
            </a:extLst>
          </p:cNvPr>
          <p:cNvGrpSpPr/>
          <p:nvPr/>
        </p:nvGrpSpPr>
        <p:grpSpPr>
          <a:xfrm>
            <a:off x="5433148" y="1757617"/>
            <a:ext cx="566618" cy="179070"/>
            <a:chOff x="1320800" y="1233765"/>
            <a:chExt cx="566618" cy="179070"/>
          </a:xfrm>
        </p:grpSpPr>
        <p:sp>
          <p:nvSpPr>
            <p:cNvPr id="318" name="Oval 317">
              <a:extLst>
                <a:ext uri="{FF2B5EF4-FFF2-40B4-BE49-F238E27FC236}">
                  <a16:creationId xmlns:a16="http://schemas.microsoft.com/office/drawing/2014/main" id="{10874B11-3512-F48E-AEC2-2F42BB44C70B}"/>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19" name="Oval 318">
              <a:extLst>
                <a:ext uri="{FF2B5EF4-FFF2-40B4-BE49-F238E27FC236}">
                  <a16:creationId xmlns:a16="http://schemas.microsoft.com/office/drawing/2014/main" id="{8EEE83B0-17E8-1FDB-0A3B-6EB7E717587E}"/>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20" name="Oval 319">
              <a:extLst>
                <a:ext uri="{FF2B5EF4-FFF2-40B4-BE49-F238E27FC236}">
                  <a16:creationId xmlns:a16="http://schemas.microsoft.com/office/drawing/2014/main" id="{C7C29BC4-3943-DDED-9E40-9FCCF410D598}"/>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21" name="Group 320">
            <a:extLst>
              <a:ext uri="{FF2B5EF4-FFF2-40B4-BE49-F238E27FC236}">
                <a16:creationId xmlns:a16="http://schemas.microsoft.com/office/drawing/2014/main" id="{CE73667E-B222-A05F-0AA3-68F28FFB817F}"/>
              </a:ext>
            </a:extLst>
          </p:cNvPr>
          <p:cNvGrpSpPr/>
          <p:nvPr/>
        </p:nvGrpSpPr>
        <p:grpSpPr>
          <a:xfrm>
            <a:off x="5433148" y="2484646"/>
            <a:ext cx="566618" cy="179070"/>
            <a:chOff x="1320800" y="1233765"/>
            <a:chExt cx="566618" cy="179070"/>
          </a:xfrm>
        </p:grpSpPr>
        <p:sp>
          <p:nvSpPr>
            <p:cNvPr id="322" name="Oval 321">
              <a:extLst>
                <a:ext uri="{FF2B5EF4-FFF2-40B4-BE49-F238E27FC236}">
                  <a16:creationId xmlns:a16="http://schemas.microsoft.com/office/drawing/2014/main" id="{C9210AF9-1E98-D47E-654D-34756A82B962}"/>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23" name="Oval 322">
              <a:extLst>
                <a:ext uri="{FF2B5EF4-FFF2-40B4-BE49-F238E27FC236}">
                  <a16:creationId xmlns:a16="http://schemas.microsoft.com/office/drawing/2014/main" id="{1491B553-3D61-5C83-9073-1DB0F948904C}"/>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24" name="Oval 323">
              <a:extLst>
                <a:ext uri="{FF2B5EF4-FFF2-40B4-BE49-F238E27FC236}">
                  <a16:creationId xmlns:a16="http://schemas.microsoft.com/office/drawing/2014/main" id="{085AC326-4CD9-4B3F-C961-D363B13CEAC3}"/>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25" name="Group 324">
            <a:extLst>
              <a:ext uri="{FF2B5EF4-FFF2-40B4-BE49-F238E27FC236}">
                <a16:creationId xmlns:a16="http://schemas.microsoft.com/office/drawing/2014/main" id="{783F2C4E-D096-BFBE-A01A-3EA503D96C8C}"/>
              </a:ext>
            </a:extLst>
          </p:cNvPr>
          <p:cNvGrpSpPr/>
          <p:nvPr/>
        </p:nvGrpSpPr>
        <p:grpSpPr>
          <a:xfrm>
            <a:off x="5433148" y="3211674"/>
            <a:ext cx="566618" cy="179070"/>
            <a:chOff x="1320800" y="1233765"/>
            <a:chExt cx="566618" cy="179070"/>
          </a:xfrm>
        </p:grpSpPr>
        <p:sp>
          <p:nvSpPr>
            <p:cNvPr id="326" name="Oval 325">
              <a:extLst>
                <a:ext uri="{FF2B5EF4-FFF2-40B4-BE49-F238E27FC236}">
                  <a16:creationId xmlns:a16="http://schemas.microsoft.com/office/drawing/2014/main" id="{895DBE9E-D713-3A68-EAE1-ECCAA8629BBF}"/>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27" name="Oval 326">
              <a:extLst>
                <a:ext uri="{FF2B5EF4-FFF2-40B4-BE49-F238E27FC236}">
                  <a16:creationId xmlns:a16="http://schemas.microsoft.com/office/drawing/2014/main" id="{BB0165C2-1B57-21CA-D9DC-56EB9F53B340}"/>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28" name="Oval 327">
              <a:extLst>
                <a:ext uri="{FF2B5EF4-FFF2-40B4-BE49-F238E27FC236}">
                  <a16:creationId xmlns:a16="http://schemas.microsoft.com/office/drawing/2014/main" id="{0FA3057B-5C73-E3F2-8142-38C1F649508F}"/>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sp>
        <p:nvSpPr>
          <p:cNvPr id="330" name="Oval 329">
            <a:extLst>
              <a:ext uri="{FF2B5EF4-FFF2-40B4-BE49-F238E27FC236}">
                <a16:creationId xmlns:a16="http://schemas.microsoft.com/office/drawing/2014/main" id="{54E1CBC8-C841-142B-C72D-618A2BA239D2}"/>
              </a:ext>
            </a:extLst>
          </p:cNvPr>
          <p:cNvSpPr/>
          <p:nvPr/>
        </p:nvSpPr>
        <p:spPr bwMode="gray">
          <a:xfrm>
            <a:off x="5433148" y="3957009"/>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31" name="Oval 330">
            <a:extLst>
              <a:ext uri="{FF2B5EF4-FFF2-40B4-BE49-F238E27FC236}">
                <a16:creationId xmlns:a16="http://schemas.microsoft.com/office/drawing/2014/main" id="{CBFF5774-E004-16A2-9C6A-A3721F1C8EA9}"/>
              </a:ext>
            </a:extLst>
          </p:cNvPr>
          <p:cNvSpPr/>
          <p:nvPr/>
        </p:nvSpPr>
        <p:spPr bwMode="gray">
          <a:xfrm>
            <a:off x="5625619" y="3957009"/>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32" name="Oval 331">
            <a:extLst>
              <a:ext uri="{FF2B5EF4-FFF2-40B4-BE49-F238E27FC236}">
                <a16:creationId xmlns:a16="http://schemas.microsoft.com/office/drawing/2014/main" id="{9D816421-9A85-5C0D-9A69-2700D428E442}"/>
              </a:ext>
            </a:extLst>
          </p:cNvPr>
          <p:cNvSpPr/>
          <p:nvPr/>
        </p:nvSpPr>
        <p:spPr bwMode="gray">
          <a:xfrm>
            <a:off x="5820696" y="3957009"/>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nvGrpSpPr>
          <p:cNvPr id="333" name="Group 332">
            <a:extLst>
              <a:ext uri="{FF2B5EF4-FFF2-40B4-BE49-F238E27FC236}">
                <a16:creationId xmlns:a16="http://schemas.microsoft.com/office/drawing/2014/main" id="{436EF404-01AF-0F18-9C06-D98E310EFCA2}"/>
              </a:ext>
            </a:extLst>
          </p:cNvPr>
          <p:cNvGrpSpPr/>
          <p:nvPr/>
        </p:nvGrpSpPr>
        <p:grpSpPr>
          <a:xfrm>
            <a:off x="5433148" y="4680247"/>
            <a:ext cx="566618" cy="179070"/>
            <a:chOff x="1320800" y="1233765"/>
            <a:chExt cx="566618" cy="179070"/>
          </a:xfrm>
        </p:grpSpPr>
        <p:sp>
          <p:nvSpPr>
            <p:cNvPr id="334" name="Oval 333">
              <a:extLst>
                <a:ext uri="{FF2B5EF4-FFF2-40B4-BE49-F238E27FC236}">
                  <a16:creationId xmlns:a16="http://schemas.microsoft.com/office/drawing/2014/main" id="{5F7B9B8E-C23F-72A9-4DB1-962C302F8204}"/>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35" name="Oval 334">
              <a:extLst>
                <a:ext uri="{FF2B5EF4-FFF2-40B4-BE49-F238E27FC236}">
                  <a16:creationId xmlns:a16="http://schemas.microsoft.com/office/drawing/2014/main" id="{92E1A1C0-5F00-9A8E-86E9-FFB37ACFE1D7}"/>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36" name="Oval 335">
              <a:extLst>
                <a:ext uri="{FF2B5EF4-FFF2-40B4-BE49-F238E27FC236}">
                  <a16:creationId xmlns:a16="http://schemas.microsoft.com/office/drawing/2014/main" id="{B13AD8B2-C32A-526C-1325-4976E5F10152}"/>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37" name="Group 336">
            <a:extLst>
              <a:ext uri="{FF2B5EF4-FFF2-40B4-BE49-F238E27FC236}">
                <a16:creationId xmlns:a16="http://schemas.microsoft.com/office/drawing/2014/main" id="{99511016-A3E5-4840-E392-46A3ED4CAC46}"/>
              </a:ext>
            </a:extLst>
          </p:cNvPr>
          <p:cNvGrpSpPr/>
          <p:nvPr/>
        </p:nvGrpSpPr>
        <p:grpSpPr>
          <a:xfrm>
            <a:off x="7318557" y="1757617"/>
            <a:ext cx="566618" cy="179070"/>
            <a:chOff x="1320800" y="1233765"/>
            <a:chExt cx="566618" cy="179070"/>
          </a:xfrm>
        </p:grpSpPr>
        <p:sp>
          <p:nvSpPr>
            <p:cNvPr id="338" name="Oval 337">
              <a:extLst>
                <a:ext uri="{FF2B5EF4-FFF2-40B4-BE49-F238E27FC236}">
                  <a16:creationId xmlns:a16="http://schemas.microsoft.com/office/drawing/2014/main" id="{0BF10031-4412-E574-30A2-CE6F8C9B9BBB}"/>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39" name="Oval 338">
              <a:extLst>
                <a:ext uri="{FF2B5EF4-FFF2-40B4-BE49-F238E27FC236}">
                  <a16:creationId xmlns:a16="http://schemas.microsoft.com/office/drawing/2014/main" id="{90AC10FF-A1A2-7AE3-37AF-28F0E874E299}"/>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40" name="Oval 339">
              <a:extLst>
                <a:ext uri="{FF2B5EF4-FFF2-40B4-BE49-F238E27FC236}">
                  <a16:creationId xmlns:a16="http://schemas.microsoft.com/office/drawing/2014/main" id="{5992C108-CDFD-A4A5-2022-521E0D41653E}"/>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41" name="Group 340">
            <a:extLst>
              <a:ext uri="{FF2B5EF4-FFF2-40B4-BE49-F238E27FC236}">
                <a16:creationId xmlns:a16="http://schemas.microsoft.com/office/drawing/2014/main" id="{4C6C0100-B562-D9A5-E3A5-ACEF29179A3A}"/>
              </a:ext>
            </a:extLst>
          </p:cNvPr>
          <p:cNvGrpSpPr/>
          <p:nvPr/>
        </p:nvGrpSpPr>
        <p:grpSpPr>
          <a:xfrm>
            <a:off x="7318557" y="2484646"/>
            <a:ext cx="566618" cy="179070"/>
            <a:chOff x="1320800" y="1233765"/>
            <a:chExt cx="566618" cy="179070"/>
          </a:xfrm>
        </p:grpSpPr>
        <p:sp>
          <p:nvSpPr>
            <p:cNvPr id="342" name="Oval 341">
              <a:extLst>
                <a:ext uri="{FF2B5EF4-FFF2-40B4-BE49-F238E27FC236}">
                  <a16:creationId xmlns:a16="http://schemas.microsoft.com/office/drawing/2014/main" id="{4382A115-768F-36CD-3AC2-F207E16CD742}"/>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43" name="Oval 342">
              <a:extLst>
                <a:ext uri="{FF2B5EF4-FFF2-40B4-BE49-F238E27FC236}">
                  <a16:creationId xmlns:a16="http://schemas.microsoft.com/office/drawing/2014/main" id="{FE796281-3CDD-A574-2DCD-5B72DE4787C7}"/>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44" name="Oval 343">
              <a:extLst>
                <a:ext uri="{FF2B5EF4-FFF2-40B4-BE49-F238E27FC236}">
                  <a16:creationId xmlns:a16="http://schemas.microsoft.com/office/drawing/2014/main" id="{ECB20B96-986E-FEC1-00E6-A2032F0EC732}"/>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45" name="Group 344">
            <a:extLst>
              <a:ext uri="{FF2B5EF4-FFF2-40B4-BE49-F238E27FC236}">
                <a16:creationId xmlns:a16="http://schemas.microsoft.com/office/drawing/2014/main" id="{F434D3B1-ACC5-15E8-4D89-AAC2E21ED2C0}"/>
              </a:ext>
            </a:extLst>
          </p:cNvPr>
          <p:cNvGrpSpPr/>
          <p:nvPr/>
        </p:nvGrpSpPr>
        <p:grpSpPr>
          <a:xfrm>
            <a:off x="7318557" y="3211674"/>
            <a:ext cx="566618" cy="179070"/>
            <a:chOff x="1320800" y="1233765"/>
            <a:chExt cx="566618" cy="179070"/>
          </a:xfrm>
        </p:grpSpPr>
        <p:sp>
          <p:nvSpPr>
            <p:cNvPr id="346" name="Oval 345">
              <a:extLst>
                <a:ext uri="{FF2B5EF4-FFF2-40B4-BE49-F238E27FC236}">
                  <a16:creationId xmlns:a16="http://schemas.microsoft.com/office/drawing/2014/main" id="{4EF7FB49-82CE-E734-3F1E-BD77762493A8}"/>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47" name="Oval 346">
              <a:extLst>
                <a:ext uri="{FF2B5EF4-FFF2-40B4-BE49-F238E27FC236}">
                  <a16:creationId xmlns:a16="http://schemas.microsoft.com/office/drawing/2014/main" id="{782ECB2C-AB91-DE5B-2BCE-74D0B0419AE5}"/>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48" name="Oval 347">
              <a:extLst>
                <a:ext uri="{FF2B5EF4-FFF2-40B4-BE49-F238E27FC236}">
                  <a16:creationId xmlns:a16="http://schemas.microsoft.com/office/drawing/2014/main" id="{AC449230-B11D-A5E2-DC80-B381E533F930}"/>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49" name="Group 348">
            <a:extLst>
              <a:ext uri="{FF2B5EF4-FFF2-40B4-BE49-F238E27FC236}">
                <a16:creationId xmlns:a16="http://schemas.microsoft.com/office/drawing/2014/main" id="{1A37E8F0-E759-7388-2B1E-2B097838CBEC}"/>
              </a:ext>
            </a:extLst>
          </p:cNvPr>
          <p:cNvGrpSpPr/>
          <p:nvPr/>
        </p:nvGrpSpPr>
        <p:grpSpPr>
          <a:xfrm>
            <a:off x="7318557" y="3957009"/>
            <a:ext cx="566618" cy="179070"/>
            <a:chOff x="1320800" y="1233765"/>
            <a:chExt cx="566618" cy="179070"/>
          </a:xfrm>
        </p:grpSpPr>
        <p:sp>
          <p:nvSpPr>
            <p:cNvPr id="350" name="Oval 349">
              <a:extLst>
                <a:ext uri="{FF2B5EF4-FFF2-40B4-BE49-F238E27FC236}">
                  <a16:creationId xmlns:a16="http://schemas.microsoft.com/office/drawing/2014/main" id="{F07BC379-4034-58E2-2C87-4975FBFD4623}"/>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51" name="Oval 350">
              <a:extLst>
                <a:ext uri="{FF2B5EF4-FFF2-40B4-BE49-F238E27FC236}">
                  <a16:creationId xmlns:a16="http://schemas.microsoft.com/office/drawing/2014/main" id="{9334C5E4-808F-82C8-E888-67D2F73DE1C1}"/>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52" name="Oval 351">
              <a:extLst>
                <a:ext uri="{FF2B5EF4-FFF2-40B4-BE49-F238E27FC236}">
                  <a16:creationId xmlns:a16="http://schemas.microsoft.com/office/drawing/2014/main" id="{1811100D-2FD7-3684-CB85-7D39A9031BBC}"/>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sp>
        <p:nvSpPr>
          <p:cNvPr id="356" name="Oval 355">
            <a:extLst>
              <a:ext uri="{FF2B5EF4-FFF2-40B4-BE49-F238E27FC236}">
                <a16:creationId xmlns:a16="http://schemas.microsoft.com/office/drawing/2014/main" id="{A1A34C1F-D000-8EF0-580A-3601310D60A0}"/>
              </a:ext>
            </a:extLst>
          </p:cNvPr>
          <p:cNvSpPr/>
          <p:nvPr/>
        </p:nvSpPr>
        <p:spPr bwMode="gray">
          <a:xfrm>
            <a:off x="7706105" y="4680247"/>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nvGrpSpPr>
          <p:cNvPr id="357" name="Group 356">
            <a:extLst>
              <a:ext uri="{FF2B5EF4-FFF2-40B4-BE49-F238E27FC236}">
                <a16:creationId xmlns:a16="http://schemas.microsoft.com/office/drawing/2014/main" id="{CF4BC3AE-355B-39F3-33CA-09B53D411E55}"/>
              </a:ext>
            </a:extLst>
          </p:cNvPr>
          <p:cNvGrpSpPr/>
          <p:nvPr/>
        </p:nvGrpSpPr>
        <p:grpSpPr>
          <a:xfrm>
            <a:off x="9330237" y="1757617"/>
            <a:ext cx="566618" cy="179070"/>
            <a:chOff x="1320800" y="1233765"/>
            <a:chExt cx="566618" cy="179070"/>
          </a:xfrm>
        </p:grpSpPr>
        <p:sp>
          <p:nvSpPr>
            <p:cNvPr id="358" name="Oval 357">
              <a:extLst>
                <a:ext uri="{FF2B5EF4-FFF2-40B4-BE49-F238E27FC236}">
                  <a16:creationId xmlns:a16="http://schemas.microsoft.com/office/drawing/2014/main" id="{4F52658F-0327-0ABB-2E7D-3200FD4BCC54}"/>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59" name="Oval 358">
              <a:extLst>
                <a:ext uri="{FF2B5EF4-FFF2-40B4-BE49-F238E27FC236}">
                  <a16:creationId xmlns:a16="http://schemas.microsoft.com/office/drawing/2014/main" id="{23CBFB2E-5360-9AF1-EC63-8B592C445E64}"/>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60" name="Oval 359">
              <a:extLst>
                <a:ext uri="{FF2B5EF4-FFF2-40B4-BE49-F238E27FC236}">
                  <a16:creationId xmlns:a16="http://schemas.microsoft.com/office/drawing/2014/main" id="{84FB023D-B60A-5323-835B-B72F86DC68C7}"/>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61" name="Group 360">
            <a:extLst>
              <a:ext uri="{FF2B5EF4-FFF2-40B4-BE49-F238E27FC236}">
                <a16:creationId xmlns:a16="http://schemas.microsoft.com/office/drawing/2014/main" id="{478A8779-822C-921B-AD08-C35BA205C9EA}"/>
              </a:ext>
            </a:extLst>
          </p:cNvPr>
          <p:cNvGrpSpPr/>
          <p:nvPr/>
        </p:nvGrpSpPr>
        <p:grpSpPr>
          <a:xfrm>
            <a:off x="9330237" y="2484646"/>
            <a:ext cx="566618" cy="179070"/>
            <a:chOff x="1320800" y="1233765"/>
            <a:chExt cx="566618" cy="179070"/>
          </a:xfrm>
        </p:grpSpPr>
        <p:sp>
          <p:nvSpPr>
            <p:cNvPr id="362" name="Oval 361">
              <a:extLst>
                <a:ext uri="{FF2B5EF4-FFF2-40B4-BE49-F238E27FC236}">
                  <a16:creationId xmlns:a16="http://schemas.microsoft.com/office/drawing/2014/main" id="{212D34D3-326A-731E-FD43-F9E8F4D88844}"/>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63" name="Oval 362">
              <a:extLst>
                <a:ext uri="{FF2B5EF4-FFF2-40B4-BE49-F238E27FC236}">
                  <a16:creationId xmlns:a16="http://schemas.microsoft.com/office/drawing/2014/main" id="{D43F0C97-709F-D29C-89AB-212E4D4B71D1}"/>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64" name="Oval 363">
              <a:extLst>
                <a:ext uri="{FF2B5EF4-FFF2-40B4-BE49-F238E27FC236}">
                  <a16:creationId xmlns:a16="http://schemas.microsoft.com/office/drawing/2014/main" id="{7198D85D-6385-428B-11B7-76E569DC5B93}"/>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65" name="Group 364">
            <a:extLst>
              <a:ext uri="{FF2B5EF4-FFF2-40B4-BE49-F238E27FC236}">
                <a16:creationId xmlns:a16="http://schemas.microsoft.com/office/drawing/2014/main" id="{3476B391-8B44-1205-FE37-72BDE035E578}"/>
              </a:ext>
            </a:extLst>
          </p:cNvPr>
          <p:cNvGrpSpPr/>
          <p:nvPr/>
        </p:nvGrpSpPr>
        <p:grpSpPr>
          <a:xfrm>
            <a:off x="9330237" y="3211674"/>
            <a:ext cx="566618" cy="179070"/>
            <a:chOff x="1320800" y="1233765"/>
            <a:chExt cx="566618" cy="179070"/>
          </a:xfrm>
        </p:grpSpPr>
        <p:sp>
          <p:nvSpPr>
            <p:cNvPr id="366" name="Oval 365">
              <a:extLst>
                <a:ext uri="{FF2B5EF4-FFF2-40B4-BE49-F238E27FC236}">
                  <a16:creationId xmlns:a16="http://schemas.microsoft.com/office/drawing/2014/main" id="{A9F8A41A-0FB2-AED8-A94A-6564BD22EBE0}"/>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67" name="Oval 366">
              <a:extLst>
                <a:ext uri="{FF2B5EF4-FFF2-40B4-BE49-F238E27FC236}">
                  <a16:creationId xmlns:a16="http://schemas.microsoft.com/office/drawing/2014/main" id="{777D8704-A1E7-5E48-3A75-99A7892822C0}"/>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68" name="Oval 367">
              <a:extLst>
                <a:ext uri="{FF2B5EF4-FFF2-40B4-BE49-F238E27FC236}">
                  <a16:creationId xmlns:a16="http://schemas.microsoft.com/office/drawing/2014/main" id="{8BAFDF43-9D8A-F2FF-FD95-C260A94A0273}"/>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69" name="Group 368">
            <a:extLst>
              <a:ext uri="{FF2B5EF4-FFF2-40B4-BE49-F238E27FC236}">
                <a16:creationId xmlns:a16="http://schemas.microsoft.com/office/drawing/2014/main" id="{5F6A82CB-B4EC-7D15-612D-BBE003D8345C}"/>
              </a:ext>
            </a:extLst>
          </p:cNvPr>
          <p:cNvGrpSpPr/>
          <p:nvPr/>
        </p:nvGrpSpPr>
        <p:grpSpPr>
          <a:xfrm>
            <a:off x="9330237" y="3957009"/>
            <a:ext cx="566618" cy="179070"/>
            <a:chOff x="1320800" y="1233765"/>
            <a:chExt cx="566618" cy="179070"/>
          </a:xfrm>
        </p:grpSpPr>
        <p:sp>
          <p:nvSpPr>
            <p:cNvPr id="370" name="Oval 369">
              <a:extLst>
                <a:ext uri="{FF2B5EF4-FFF2-40B4-BE49-F238E27FC236}">
                  <a16:creationId xmlns:a16="http://schemas.microsoft.com/office/drawing/2014/main" id="{27EC631E-4BB5-B176-EEF4-3461EE7F10F5}"/>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71" name="Oval 370">
              <a:extLst>
                <a:ext uri="{FF2B5EF4-FFF2-40B4-BE49-F238E27FC236}">
                  <a16:creationId xmlns:a16="http://schemas.microsoft.com/office/drawing/2014/main" id="{93DFABF4-B0AF-5E63-076D-168BE367B096}"/>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72" name="Oval 371">
              <a:extLst>
                <a:ext uri="{FF2B5EF4-FFF2-40B4-BE49-F238E27FC236}">
                  <a16:creationId xmlns:a16="http://schemas.microsoft.com/office/drawing/2014/main" id="{94B23D4A-EE2A-27CF-818E-B373D7F7D3C6}"/>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73" name="Group 372">
            <a:extLst>
              <a:ext uri="{FF2B5EF4-FFF2-40B4-BE49-F238E27FC236}">
                <a16:creationId xmlns:a16="http://schemas.microsoft.com/office/drawing/2014/main" id="{BFAF8D3D-3197-AE4E-8E8B-E2E6B43A9B1E}"/>
              </a:ext>
            </a:extLst>
          </p:cNvPr>
          <p:cNvGrpSpPr/>
          <p:nvPr/>
        </p:nvGrpSpPr>
        <p:grpSpPr>
          <a:xfrm>
            <a:off x="9330237" y="4680247"/>
            <a:ext cx="566618" cy="179070"/>
            <a:chOff x="1320800" y="1233765"/>
            <a:chExt cx="566618" cy="179070"/>
          </a:xfrm>
        </p:grpSpPr>
        <p:sp>
          <p:nvSpPr>
            <p:cNvPr id="374" name="Oval 373">
              <a:extLst>
                <a:ext uri="{FF2B5EF4-FFF2-40B4-BE49-F238E27FC236}">
                  <a16:creationId xmlns:a16="http://schemas.microsoft.com/office/drawing/2014/main" id="{97E9E844-152E-5E03-A10B-58162C8CE653}"/>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75" name="Oval 374">
              <a:extLst>
                <a:ext uri="{FF2B5EF4-FFF2-40B4-BE49-F238E27FC236}">
                  <a16:creationId xmlns:a16="http://schemas.microsoft.com/office/drawing/2014/main" id="{87E8375A-046C-6AE5-E617-5FCA26178B3D}"/>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76" name="Oval 375">
              <a:extLst>
                <a:ext uri="{FF2B5EF4-FFF2-40B4-BE49-F238E27FC236}">
                  <a16:creationId xmlns:a16="http://schemas.microsoft.com/office/drawing/2014/main" id="{D011FEFF-258C-AEA5-E315-7E0C92BB4ED8}"/>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77" name="Group 376">
            <a:extLst>
              <a:ext uri="{FF2B5EF4-FFF2-40B4-BE49-F238E27FC236}">
                <a16:creationId xmlns:a16="http://schemas.microsoft.com/office/drawing/2014/main" id="{A335125B-001E-96D6-A31C-D92EBC1D9CE3}"/>
              </a:ext>
            </a:extLst>
          </p:cNvPr>
          <p:cNvGrpSpPr/>
          <p:nvPr/>
        </p:nvGrpSpPr>
        <p:grpSpPr>
          <a:xfrm>
            <a:off x="11308050" y="1757617"/>
            <a:ext cx="566618" cy="179070"/>
            <a:chOff x="1320800" y="1233765"/>
            <a:chExt cx="566618" cy="179070"/>
          </a:xfrm>
        </p:grpSpPr>
        <p:sp>
          <p:nvSpPr>
            <p:cNvPr id="378" name="Oval 377">
              <a:extLst>
                <a:ext uri="{FF2B5EF4-FFF2-40B4-BE49-F238E27FC236}">
                  <a16:creationId xmlns:a16="http://schemas.microsoft.com/office/drawing/2014/main" id="{1F0124A6-5559-51E3-D792-5A33FA939956}"/>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79" name="Oval 378">
              <a:extLst>
                <a:ext uri="{FF2B5EF4-FFF2-40B4-BE49-F238E27FC236}">
                  <a16:creationId xmlns:a16="http://schemas.microsoft.com/office/drawing/2014/main" id="{86DD2C4A-D47C-6F14-6A66-BC578F45F3B8}"/>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80" name="Oval 379">
              <a:extLst>
                <a:ext uri="{FF2B5EF4-FFF2-40B4-BE49-F238E27FC236}">
                  <a16:creationId xmlns:a16="http://schemas.microsoft.com/office/drawing/2014/main" id="{C27A8ED9-A8E9-050A-9D01-22C78F63901B}"/>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81" name="Group 380">
            <a:extLst>
              <a:ext uri="{FF2B5EF4-FFF2-40B4-BE49-F238E27FC236}">
                <a16:creationId xmlns:a16="http://schemas.microsoft.com/office/drawing/2014/main" id="{AFF9EEF4-7938-83B8-491A-D7BBC273C9EF}"/>
              </a:ext>
            </a:extLst>
          </p:cNvPr>
          <p:cNvGrpSpPr/>
          <p:nvPr/>
        </p:nvGrpSpPr>
        <p:grpSpPr>
          <a:xfrm>
            <a:off x="11308050" y="2484646"/>
            <a:ext cx="566618" cy="179070"/>
            <a:chOff x="1320800" y="1233765"/>
            <a:chExt cx="566618" cy="179070"/>
          </a:xfrm>
        </p:grpSpPr>
        <p:sp>
          <p:nvSpPr>
            <p:cNvPr id="382" name="Oval 381">
              <a:extLst>
                <a:ext uri="{FF2B5EF4-FFF2-40B4-BE49-F238E27FC236}">
                  <a16:creationId xmlns:a16="http://schemas.microsoft.com/office/drawing/2014/main" id="{1AEE4F0C-B0BC-E20C-7233-A4A820A133C2}"/>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83" name="Oval 382">
              <a:extLst>
                <a:ext uri="{FF2B5EF4-FFF2-40B4-BE49-F238E27FC236}">
                  <a16:creationId xmlns:a16="http://schemas.microsoft.com/office/drawing/2014/main" id="{AD464749-0689-B9E6-C275-0CB35C8271F6}"/>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84" name="Oval 383">
              <a:extLst>
                <a:ext uri="{FF2B5EF4-FFF2-40B4-BE49-F238E27FC236}">
                  <a16:creationId xmlns:a16="http://schemas.microsoft.com/office/drawing/2014/main" id="{316E75C4-1FED-51AF-56E7-E302974870B0}"/>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85" name="Group 384">
            <a:extLst>
              <a:ext uri="{FF2B5EF4-FFF2-40B4-BE49-F238E27FC236}">
                <a16:creationId xmlns:a16="http://schemas.microsoft.com/office/drawing/2014/main" id="{737FD290-A81B-7258-8182-1DA5B34DA160}"/>
              </a:ext>
            </a:extLst>
          </p:cNvPr>
          <p:cNvGrpSpPr/>
          <p:nvPr/>
        </p:nvGrpSpPr>
        <p:grpSpPr>
          <a:xfrm>
            <a:off x="11308050" y="3211674"/>
            <a:ext cx="566618" cy="179070"/>
            <a:chOff x="1320800" y="1233765"/>
            <a:chExt cx="566618" cy="179070"/>
          </a:xfrm>
        </p:grpSpPr>
        <p:sp>
          <p:nvSpPr>
            <p:cNvPr id="386" name="Oval 385">
              <a:extLst>
                <a:ext uri="{FF2B5EF4-FFF2-40B4-BE49-F238E27FC236}">
                  <a16:creationId xmlns:a16="http://schemas.microsoft.com/office/drawing/2014/main" id="{D62456B5-8EDA-9D67-D543-6C217BE0B792}"/>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87" name="Oval 386">
              <a:extLst>
                <a:ext uri="{FF2B5EF4-FFF2-40B4-BE49-F238E27FC236}">
                  <a16:creationId xmlns:a16="http://schemas.microsoft.com/office/drawing/2014/main" id="{F1981CAF-908D-C61E-5F0B-4F8FFDEED480}"/>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88" name="Oval 387">
              <a:extLst>
                <a:ext uri="{FF2B5EF4-FFF2-40B4-BE49-F238E27FC236}">
                  <a16:creationId xmlns:a16="http://schemas.microsoft.com/office/drawing/2014/main" id="{12C6E7A9-3469-1592-E302-6FA9DBAED2A0}"/>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89" name="Group 388">
            <a:extLst>
              <a:ext uri="{FF2B5EF4-FFF2-40B4-BE49-F238E27FC236}">
                <a16:creationId xmlns:a16="http://schemas.microsoft.com/office/drawing/2014/main" id="{6B91B68F-EBC6-958F-2B5C-4A8E58FBE83A}"/>
              </a:ext>
            </a:extLst>
          </p:cNvPr>
          <p:cNvGrpSpPr/>
          <p:nvPr/>
        </p:nvGrpSpPr>
        <p:grpSpPr>
          <a:xfrm>
            <a:off x="11308050" y="3957009"/>
            <a:ext cx="566618" cy="179070"/>
            <a:chOff x="1320800" y="1233765"/>
            <a:chExt cx="566618" cy="179070"/>
          </a:xfrm>
        </p:grpSpPr>
        <p:sp>
          <p:nvSpPr>
            <p:cNvPr id="390" name="Oval 389">
              <a:extLst>
                <a:ext uri="{FF2B5EF4-FFF2-40B4-BE49-F238E27FC236}">
                  <a16:creationId xmlns:a16="http://schemas.microsoft.com/office/drawing/2014/main" id="{89BAB7D2-EFCD-523C-2B70-8D3EFE1346DA}"/>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91" name="Oval 390">
              <a:extLst>
                <a:ext uri="{FF2B5EF4-FFF2-40B4-BE49-F238E27FC236}">
                  <a16:creationId xmlns:a16="http://schemas.microsoft.com/office/drawing/2014/main" id="{EC80DA93-B272-9906-629C-F11B32D23B68}"/>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92" name="Oval 391">
              <a:extLst>
                <a:ext uri="{FF2B5EF4-FFF2-40B4-BE49-F238E27FC236}">
                  <a16:creationId xmlns:a16="http://schemas.microsoft.com/office/drawing/2014/main" id="{389B896E-6D4F-BE7F-5638-91585353F496}"/>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93" name="Group 392">
            <a:extLst>
              <a:ext uri="{FF2B5EF4-FFF2-40B4-BE49-F238E27FC236}">
                <a16:creationId xmlns:a16="http://schemas.microsoft.com/office/drawing/2014/main" id="{93AF3602-F1B0-93DC-FF3C-432F7974AB7D}"/>
              </a:ext>
            </a:extLst>
          </p:cNvPr>
          <p:cNvGrpSpPr/>
          <p:nvPr/>
        </p:nvGrpSpPr>
        <p:grpSpPr>
          <a:xfrm>
            <a:off x="3308743" y="5392761"/>
            <a:ext cx="566618" cy="179070"/>
            <a:chOff x="1320800" y="1233765"/>
            <a:chExt cx="566618" cy="179070"/>
          </a:xfrm>
        </p:grpSpPr>
        <p:sp>
          <p:nvSpPr>
            <p:cNvPr id="394" name="Oval 393">
              <a:extLst>
                <a:ext uri="{FF2B5EF4-FFF2-40B4-BE49-F238E27FC236}">
                  <a16:creationId xmlns:a16="http://schemas.microsoft.com/office/drawing/2014/main" id="{63BFF814-1284-3A80-E99F-2DB342E0D513}"/>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95" name="Oval 394">
              <a:extLst>
                <a:ext uri="{FF2B5EF4-FFF2-40B4-BE49-F238E27FC236}">
                  <a16:creationId xmlns:a16="http://schemas.microsoft.com/office/drawing/2014/main" id="{B26CDFCF-BDE3-7BFB-DC9B-E258C88E1173}"/>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96" name="Oval 395">
              <a:extLst>
                <a:ext uri="{FF2B5EF4-FFF2-40B4-BE49-F238E27FC236}">
                  <a16:creationId xmlns:a16="http://schemas.microsoft.com/office/drawing/2014/main" id="{9A7302B4-2FD4-4EC3-981F-B35299241FCB}"/>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397" name="Group 396">
            <a:extLst>
              <a:ext uri="{FF2B5EF4-FFF2-40B4-BE49-F238E27FC236}">
                <a16:creationId xmlns:a16="http://schemas.microsoft.com/office/drawing/2014/main" id="{3FAB528C-850B-F30E-B10D-BE90D60A7D65}"/>
              </a:ext>
            </a:extLst>
          </p:cNvPr>
          <p:cNvGrpSpPr/>
          <p:nvPr/>
        </p:nvGrpSpPr>
        <p:grpSpPr>
          <a:xfrm>
            <a:off x="3308743" y="6119788"/>
            <a:ext cx="566618" cy="179070"/>
            <a:chOff x="1320800" y="1233765"/>
            <a:chExt cx="566618" cy="179070"/>
          </a:xfrm>
        </p:grpSpPr>
        <p:sp>
          <p:nvSpPr>
            <p:cNvPr id="398" name="Oval 397">
              <a:extLst>
                <a:ext uri="{FF2B5EF4-FFF2-40B4-BE49-F238E27FC236}">
                  <a16:creationId xmlns:a16="http://schemas.microsoft.com/office/drawing/2014/main" id="{C52A9F17-5CDA-6723-CA11-3557CCE42BB7}"/>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399" name="Oval 398">
              <a:extLst>
                <a:ext uri="{FF2B5EF4-FFF2-40B4-BE49-F238E27FC236}">
                  <a16:creationId xmlns:a16="http://schemas.microsoft.com/office/drawing/2014/main" id="{5EA9CDCF-E878-37A0-A53A-3BA980CCE80B}"/>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400" name="Oval 399">
              <a:extLst>
                <a:ext uri="{FF2B5EF4-FFF2-40B4-BE49-F238E27FC236}">
                  <a16:creationId xmlns:a16="http://schemas.microsoft.com/office/drawing/2014/main" id="{D93047CD-093A-8CC2-2E4C-B1E246A2603C}"/>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grpSp>
        <p:nvGrpSpPr>
          <p:cNvPr id="405" name="Group 404">
            <a:extLst>
              <a:ext uri="{FF2B5EF4-FFF2-40B4-BE49-F238E27FC236}">
                <a16:creationId xmlns:a16="http://schemas.microsoft.com/office/drawing/2014/main" id="{46620E14-FE17-65F3-35F3-8C9BAB1F929A}"/>
              </a:ext>
            </a:extLst>
          </p:cNvPr>
          <p:cNvGrpSpPr/>
          <p:nvPr/>
        </p:nvGrpSpPr>
        <p:grpSpPr>
          <a:xfrm>
            <a:off x="7318557" y="5400381"/>
            <a:ext cx="566618" cy="179070"/>
            <a:chOff x="1320800" y="1233765"/>
            <a:chExt cx="566618" cy="179070"/>
          </a:xfrm>
        </p:grpSpPr>
        <p:sp>
          <p:nvSpPr>
            <p:cNvPr id="406" name="Oval 405">
              <a:extLst>
                <a:ext uri="{FF2B5EF4-FFF2-40B4-BE49-F238E27FC236}">
                  <a16:creationId xmlns:a16="http://schemas.microsoft.com/office/drawing/2014/main" id="{B206D27F-6C7E-2177-A430-E2974B3AB6F0}"/>
                </a:ext>
              </a:extLst>
            </p:cNvPr>
            <p:cNvSpPr/>
            <p:nvPr/>
          </p:nvSpPr>
          <p:spPr bwMode="gray">
            <a:xfrm>
              <a:off x="1320800" y="1233765"/>
              <a:ext cx="179070" cy="179070"/>
            </a:xfrm>
            <a:prstGeom prst="ellipse">
              <a:avLst/>
            </a:prstGeom>
            <a:solidFill>
              <a:schemeClr val="accent3"/>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407" name="Oval 406">
              <a:extLst>
                <a:ext uri="{FF2B5EF4-FFF2-40B4-BE49-F238E27FC236}">
                  <a16:creationId xmlns:a16="http://schemas.microsoft.com/office/drawing/2014/main" id="{162E4003-6450-3A8E-2FBF-65480B14C042}"/>
                </a:ext>
              </a:extLst>
            </p:cNvPr>
            <p:cNvSpPr/>
            <p:nvPr/>
          </p:nvSpPr>
          <p:spPr bwMode="gray">
            <a:xfrm>
              <a:off x="1513271" y="1233765"/>
              <a:ext cx="179070" cy="179070"/>
            </a:xfrm>
            <a:prstGeom prst="ellipse">
              <a:avLst/>
            </a:prstGeom>
            <a:solidFill>
              <a:srgbClr val="FFCD00"/>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sp>
          <p:nvSpPr>
            <p:cNvPr id="408" name="Oval 407">
              <a:extLst>
                <a:ext uri="{FF2B5EF4-FFF2-40B4-BE49-F238E27FC236}">
                  <a16:creationId xmlns:a16="http://schemas.microsoft.com/office/drawing/2014/main" id="{688AE9B8-34B6-3A1B-6DFA-675B7F5421BF}"/>
                </a:ext>
              </a:extLst>
            </p:cNvPr>
            <p:cNvSpPr/>
            <p:nvPr/>
          </p:nvSpPr>
          <p:spPr bwMode="gray">
            <a:xfrm>
              <a:off x="1708348" y="1233765"/>
              <a:ext cx="179070" cy="179070"/>
            </a:xfrm>
            <a:prstGeom prst="ellipse">
              <a:avLst/>
            </a:prstGeom>
            <a:solidFill>
              <a:schemeClr val="accent6"/>
            </a:solidFill>
            <a:ln w="19050" algn="ctr">
              <a:noFill/>
              <a:miter lim="800000"/>
              <a:headEnd/>
              <a:tailEnd/>
            </a:ln>
          </p:spPr>
          <p:txBody>
            <a:bodyPr wrap="square" lIns="108000" tIns="88900" rIns="720000" bIns="88900" rtlCol="0" anchor="ctr"/>
            <a:lstStyle/>
            <a:p>
              <a:pPr algn="ctr">
                <a:lnSpc>
                  <a:spcPct val="106000"/>
                </a:lnSpc>
                <a:buFont typeface="Wingdings 2" pitchFamily="18" charset="2"/>
                <a:buNone/>
              </a:pPr>
              <a:endParaRPr lang="de-DE" sz="2000" b="1">
                <a:solidFill>
                  <a:schemeClr val="bg1"/>
                </a:solidFill>
              </a:endParaRPr>
            </a:p>
          </p:txBody>
        </p:sp>
      </p:grpSp>
      <p:pic>
        <p:nvPicPr>
          <p:cNvPr id="5" name="Picture 5" descr="COVID-19 sector heatmaps: Understand business impact | Deloitte Singapore |  About Deloitte">
            <a:extLst>
              <a:ext uri="{FF2B5EF4-FFF2-40B4-BE49-F238E27FC236}">
                <a16:creationId xmlns:a16="http://schemas.microsoft.com/office/drawing/2014/main" id="{4CCAEB9F-641F-5643-B1F3-87C698F979BC}"/>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0944435" y="5666505"/>
            <a:ext cx="1085636" cy="1085636"/>
          </a:xfrm>
          <a:prstGeom prst="rect">
            <a:avLst/>
          </a:prstGeom>
          <a:noFill/>
          <a:extLst>
            <a:ext uri="{909E8E84-426E-40DD-AFC4-6F175D3DCCD1}">
              <a14:hiddenFill xmlns:a14="http://schemas.microsoft.com/office/drawing/2010/main">
                <a:solidFill>
                  <a:srgbClr val="FFFFFF"/>
                </a:solidFill>
              </a14:hiddenFill>
            </a:ext>
          </a:extLst>
        </p:spPr>
      </p:pic>
      <p:sp>
        <p:nvSpPr>
          <p:cNvPr id="410" name="TextBox 409">
            <a:extLst>
              <a:ext uri="{FF2B5EF4-FFF2-40B4-BE49-F238E27FC236}">
                <a16:creationId xmlns:a16="http://schemas.microsoft.com/office/drawing/2014/main" id="{0B8FDF04-F01D-8C34-5A56-1BC6E5D6D2E5}"/>
              </a:ext>
            </a:extLst>
          </p:cNvPr>
          <p:cNvSpPr txBox="1"/>
          <p:nvPr/>
        </p:nvSpPr>
        <p:spPr>
          <a:xfrm>
            <a:off x="278564" y="-33286"/>
            <a:ext cx="12030071" cy="1323439"/>
          </a:xfrm>
          <a:prstGeom prst="rect">
            <a:avLst/>
          </a:prstGeom>
          <a:noFill/>
        </p:spPr>
        <p:txBody>
          <a:bodyPr wrap="square">
            <a:spAutoFit/>
          </a:bodyPr>
          <a:lstStyle/>
          <a:p>
            <a:r>
              <a:rPr lang="en-US" sz="2800" b="1">
                <a:solidFill>
                  <a:schemeClr val="accent1"/>
                </a:solidFill>
              </a:rPr>
              <a:t>SAP Process Map</a:t>
            </a:r>
          </a:p>
          <a:p>
            <a:r>
              <a:rPr lang="en-US" sz="2400">
                <a:solidFill>
                  <a:schemeClr val="bg1"/>
                </a:solidFill>
              </a:rPr>
              <a:t>Learn how agents could help you in your daily work based on SAP processes</a:t>
            </a:r>
          </a:p>
          <a:p>
            <a:endParaRPr lang="de-DE" sz="2800"/>
          </a:p>
        </p:txBody>
      </p:sp>
      <p:grpSp>
        <p:nvGrpSpPr>
          <p:cNvPr id="417" name="Group 416">
            <a:extLst>
              <a:ext uri="{FF2B5EF4-FFF2-40B4-BE49-F238E27FC236}">
                <a16:creationId xmlns:a16="http://schemas.microsoft.com/office/drawing/2014/main" id="{81A6A379-3FBC-E8C9-C2E1-CD98A4DA1939}"/>
              </a:ext>
            </a:extLst>
          </p:cNvPr>
          <p:cNvGrpSpPr/>
          <p:nvPr/>
        </p:nvGrpSpPr>
        <p:grpSpPr>
          <a:xfrm>
            <a:off x="0" y="-1601723"/>
            <a:ext cx="12192000" cy="1508734"/>
            <a:chOff x="0" y="-1601723"/>
            <a:chExt cx="12192000" cy="1508734"/>
          </a:xfrm>
        </p:grpSpPr>
        <p:sp>
          <p:nvSpPr>
            <p:cNvPr id="418" name="Rectangle 417">
              <a:extLst>
                <a:ext uri="{FF2B5EF4-FFF2-40B4-BE49-F238E27FC236}">
                  <a16:creationId xmlns:a16="http://schemas.microsoft.com/office/drawing/2014/main" id="{D7736E99-9F4A-3797-7FFD-9B53FFDDD17B}"/>
                </a:ext>
              </a:extLst>
            </p:cNvPr>
            <p:cNvSpPr/>
            <p:nvPr/>
          </p:nvSpPr>
          <p:spPr>
            <a:xfrm>
              <a:off x="0" y="-1601723"/>
              <a:ext cx="12192000" cy="1508734"/>
            </a:xfrm>
            <a:prstGeom prst="rect">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sng" strike="noStrike" kern="0" cap="none" spc="0" normalizeH="0" baseline="0" noProof="0">
                <a:ln>
                  <a:noFill/>
                </a:ln>
                <a:solidFill>
                  <a:prstClr val="white"/>
                </a:solidFill>
                <a:effectLst/>
                <a:uLnTx/>
                <a:uFillTx/>
                <a:latin typeface="Calibri"/>
                <a:ea typeface="+mn-ea"/>
                <a:cs typeface="+mn-cs"/>
              </a:endParaRPr>
            </a:p>
          </p:txBody>
        </p:sp>
        <p:pic>
          <p:nvPicPr>
            <p:cNvPr id="419" name="Picture 418">
              <a:extLst>
                <a:ext uri="{FF2B5EF4-FFF2-40B4-BE49-F238E27FC236}">
                  <a16:creationId xmlns:a16="http://schemas.microsoft.com/office/drawing/2014/main" id="{E6E962F8-E58B-50CA-B586-34EBF0AEF110}"/>
                </a:ext>
              </a:extLst>
            </p:cNvPr>
            <p:cNvPicPr>
              <a:picLocks noChangeAspect="1"/>
            </p:cNvPicPr>
            <p:nvPr/>
          </p:nvPicPr>
          <p:blipFill>
            <a:blip r:embed="rId4" cstate="screen">
              <a:extLst>
                <a:ext uri="{28A0092B-C50C-407E-A947-70E740481C1C}">
                  <a14:useLocalDpi xmlns:a14="http://schemas.microsoft.com/office/drawing/2010/main"/>
                </a:ext>
              </a:extLst>
            </a:blip>
            <a:srcRect l="12359" t="29466" r="11827" b="27443"/>
            <a:stretch/>
          </p:blipFill>
          <p:spPr>
            <a:xfrm>
              <a:off x="130505" y="-1418233"/>
              <a:ext cx="2777795" cy="640511"/>
            </a:xfrm>
            <a:prstGeom prst="rect">
              <a:avLst/>
            </a:prstGeom>
          </p:spPr>
        </p:pic>
        <p:sp>
          <p:nvSpPr>
            <p:cNvPr id="420" name="Rectangle 419">
              <a:extLst>
                <a:ext uri="{FF2B5EF4-FFF2-40B4-BE49-F238E27FC236}">
                  <a16:creationId xmlns:a16="http://schemas.microsoft.com/office/drawing/2014/main" id="{5E09F19D-B347-B12B-5561-4A1D4FD247D3}"/>
                </a:ext>
              </a:extLst>
            </p:cNvPr>
            <p:cNvSpPr/>
            <p:nvPr/>
          </p:nvSpPr>
          <p:spPr>
            <a:xfrm>
              <a:off x="11178857" y="-824980"/>
              <a:ext cx="534147" cy="161925"/>
            </a:xfrm>
            <a:prstGeom prst="rect">
              <a:avLst/>
            </a:prstGeom>
            <a:no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ea typeface="+mn-ea"/>
                  <a:cs typeface="+mn-cs"/>
                </a:rPr>
                <a:t>My Site</a:t>
              </a:r>
            </a:p>
          </p:txBody>
        </p:sp>
        <p:sp>
          <p:nvSpPr>
            <p:cNvPr id="421" name="Rectangle 420">
              <a:extLst>
                <a:ext uri="{FF2B5EF4-FFF2-40B4-BE49-F238E27FC236}">
                  <a16:creationId xmlns:a16="http://schemas.microsoft.com/office/drawing/2014/main" id="{3BB4C929-1FEF-1192-B0BB-46EA7A0AA9BF}"/>
                </a:ext>
              </a:extLst>
            </p:cNvPr>
            <p:cNvSpPr/>
            <p:nvPr/>
          </p:nvSpPr>
          <p:spPr>
            <a:xfrm>
              <a:off x="10332551" y="-634744"/>
              <a:ext cx="1669877" cy="35309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a:ea typeface="+mn-ea"/>
                  <a:cs typeface="+mn-cs"/>
                </a:rPr>
                <a:t>Chat with a consultant</a:t>
              </a:r>
            </a:p>
          </p:txBody>
        </p:sp>
        <p:pic>
          <p:nvPicPr>
            <p:cNvPr id="422" name="Picture 4" descr="Banner">
              <a:extLst>
                <a:ext uri="{FF2B5EF4-FFF2-40B4-BE49-F238E27FC236}">
                  <a16:creationId xmlns:a16="http://schemas.microsoft.com/office/drawing/2014/main" id="{59602A62-408A-ACB6-EFED-661F6806E7D0}"/>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381697" y="-1491326"/>
              <a:ext cx="1594320" cy="895532"/>
            </a:xfrm>
            <a:prstGeom prst="rect">
              <a:avLst/>
            </a:prstGeom>
            <a:noFill/>
            <a:extLst>
              <a:ext uri="{909E8E84-426E-40DD-AFC4-6F175D3DCCD1}">
                <a14:hiddenFill xmlns:a14="http://schemas.microsoft.com/office/drawing/2010/main">
                  <a:solidFill>
                    <a:srgbClr val="FFFFFF"/>
                  </a:solidFill>
                </a14:hiddenFill>
              </a:ext>
            </a:extLst>
          </p:spPr>
        </p:pic>
      </p:grpSp>
      <p:sp>
        <p:nvSpPr>
          <p:cNvPr id="423" name="Rectangle 422">
            <a:extLst>
              <a:ext uri="{FF2B5EF4-FFF2-40B4-BE49-F238E27FC236}">
                <a16:creationId xmlns:a16="http://schemas.microsoft.com/office/drawing/2014/main" id="{4078434D-A0A1-EC74-B9ED-2420D48B3CD4}"/>
              </a:ext>
            </a:extLst>
          </p:cNvPr>
          <p:cNvSpPr/>
          <p:nvPr/>
        </p:nvSpPr>
        <p:spPr bwMode="gray">
          <a:xfrm>
            <a:off x="7538949" y="-1381125"/>
            <a:ext cx="2066925" cy="981896"/>
          </a:xfrm>
          <a:prstGeom prst="rect">
            <a:avLst/>
          </a:prstGeom>
          <a:solidFill>
            <a:srgbClr val="FFC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e-DE" sz="1600" b="1">
                <a:solidFill>
                  <a:schemeClr val="bg1"/>
                </a:solidFill>
              </a:rPr>
              <a:t>Excel </a:t>
            </a:r>
            <a:r>
              <a:rPr lang="de-DE" sz="1600" b="1" err="1">
                <a:solidFill>
                  <a:schemeClr val="bg1"/>
                </a:solidFill>
              </a:rPr>
              <a:t>to</a:t>
            </a:r>
            <a:r>
              <a:rPr lang="de-DE" sz="1600" b="1">
                <a:solidFill>
                  <a:schemeClr val="bg1"/>
                </a:solidFill>
              </a:rPr>
              <a:t> </a:t>
            </a:r>
            <a:r>
              <a:rPr lang="de-DE" sz="1600" b="1" err="1">
                <a:solidFill>
                  <a:schemeClr val="bg1"/>
                </a:solidFill>
              </a:rPr>
              <a:t>prepare</a:t>
            </a:r>
            <a:endParaRPr lang="de-DE" sz="1600" b="1">
              <a:solidFill>
                <a:schemeClr val="bg1"/>
              </a:solidFill>
            </a:endParaRPr>
          </a:p>
        </p:txBody>
      </p:sp>
      <p:sp>
        <p:nvSpPr>
          <p:cNvPr id="424" name="Rectangle 423">
            <a:extLst>
              <a:ext uri="{FF2B5EF4-FFF2-40B4-BE49-F238E27FC236}">
                <a16:creationId xmlns:a16="http://schemas.microsoft.com/office/drawing/2014/main" id="{19CE30E9-47B1-40A0-521C-DA751630419A}"/>
              </a:ext>
            </a:extLst>
          </p:cNvPr>
          <p:cNvSpPr/>
          <p:nvPr/>
        </p:nvSpPr>
        <p:spPr bwMode="gray">
          <a:xfrm>
            <a:off x="12587199" y="165937"/>
            <a:ext cx="2066925" cy="3965602"/>
          </a:xfrm>
          <a:prstGeom prst="rect">
            <a:avLst/>
          </a:prstGeom>
          <a:solidFill>
            <a:srgbClr val="FFC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e-DE" sz="1600" b="1" err="1">
                <a:solidFill>
                  <a:schemeClr val="bg1"/>
                </a:solidFill>
              </a:rPr>
              <a:t>When</a:t>
            </a:r>
            <a:r>
              <a:rPr lang="de-DE" sz="1600" b="1">
                <a:solidFill>
                  <a:schemeClr val="bg1"/>
                </a:solidFill>
              </a:rPr>
              <a:t> </a:t>
            </a:r>
            <a:r>
              <a:rPr lang="de-DE" sz="1600" b="1" err="1">
                <a:solidFill>
                  <a:schemeClr val="bg1"/>
                </a:solidFill>
              </a:rPr>
              <a:t>clicking</a:t>
            </a:r>
            <a:r>
              <a:rPr lang="de-DE" sz="1600" b="1">
                <a:solidFill>
                  <a:schemeClr val="bg1"/>
                </a:solidFill>
              </a:rPr>
              <a:t> on </a:t>
            </a:r>
            <a:r>
              <a:rPr lang="de-DE" sz="1600" b="1" err="1">
                <a:solidFill>
                  <a:schemeClr val="bg1"/>
                </a:solidFill>
              </a:rPr>
              <a:t>sub</a:t>
            </a:r>
            <a:r>
              <a:rPr lang="de-DE" sz="1600" b="1">
                <a:solidFill>
                  <a:schemeClr val="bg1"/>
                </a:solidFill>
              </a:rPr>
              <a:t> </a:t>
            </a:r>
            <a:r>
              <a:rPr lang="de-DE" sz="1600" b="1" err="1">
                <a:solidFill>
                  <a:schemeClr val="bg1"/>
                </a:solidFill>
              </a:rPr>
              <a:t>proceses</a:t>
            </a:r>
            <a:r>
              <a:rPr lang="de-DE" sz="1600" b="1">
                <a:solidFill>
                  <a:schemeClr val="bg1"/>
                </a:solidFill>
              </a:rPr>
              <a:t>, e.g. „Analytics &amp; Reporting“, </a:t>
            </a:r>
            <a:r>
              <a:rPr lang="de-DE" sz="1600" b="1" err="1">
                <a:solidFill>
                  <a:schemeClr val="bg1"/>
                </a:solidFill>
              </a:rPr>
              <a:t>it</a:t>
            </a:r>
            <a:r>
              <a:rPr lang="de-DE" sz="1600" b="1">
                <a:solidFill>
                  <a:schemeClr val="bg1"/>
                </a:solidFill>
              </a:rPr>
              <a:t> will </a:t>
            </a:r>
            <a:r>
              <a:rPr lang="de-DE" sz="1600" b="1" err="1">
                <a:solidFill>
                  <a:schemeClr val="bg1"/>
                </a:solidFill>
              </a:rPr>
              <a:t>show</a:t>
            </a:r>
            <a:r>
              <a:rPr lang="de-DE" sz="1600" b="1">
                <a:solidFill>
                  <a:schemeClr val="bg1"/>
                </a:solidFill>
              </a:rPr>
              <a:t> the Name </a:t>
            </a:r>
            <a:r>
              <a:rPr lang="de-DE" sz="1600" b="1" err="1">
                <a:solidFill>
                  <a:schemeClr val="bg1"/>
                </a:solidFill>
              </a:rPr>
              <a:t>of</a:t>
            </a:r>
            <a:r>
              <a:rPr lang="de-DE" sz="1600" b="1">
                <a:solidFill>
                  <a:schemeClr val="bg1"/>
                </a:solidFill>
              </a:rPr>
              <a:t> Agent(s) </a:t>
            </a:r>
            <a:r>
              <a:rPr lang="de-DE" sz="1600" b="1" err="1">
                <a:solidFill>
                  <a:schemeClr val="bg1"/>
                </a:solidFill>
              </a:rPr>
              <a:t>within</a:t>
            </a:r>
            <a:r>
              <a:rPr lang="de-DE" sz="1600" b="1">
                <a:solidFill>
                  <a:schemeClr val="bg1"/>
                </a:solidFill>
              </a:rPr>
              <a:t> the </a:t>
            </a:r>
            <a:r>
              <a:rPr lang="de-DE" sz="1600" b="1" err="1">
                <a:solidFill>
                  <a:schemeClr val="bg1"/>
                </a:solidFill>
              </a:rPr>
              <a:t>process</a:t>
            </a:r>
            <a:endParaRPr lang="de-DE" sz="1600" b="1">
              <a:solidFill>
                <a:schemeClr val="bg1"/>
              </a:solidFill>
            </a:endParaRPr>
          </a:p>
          <a:p>
            <a:pPr algn="ctr">
              <a:lnSpc>
                <a:spcPct val="106000"/>
              </a:lnSpc>
              <a:buFont typeface="Wingdings 2" pitchFamily="18" charset="2"/>
              <a:buNone/>
            </a:pPr>
            <a:endParaRPr lang="de-DE" sz="1600" b="1">
              <a:solidFill>
                <a:schemeClr val="bg1"/>
              </a:solidFill>
            </a:endParaRPr>
          </a:p>
          <a:p>
            <a:pPr algn="ctr">
              <a:lnSpc>
                <a:spcPct val="106000"/>
              </a:lnSpc>
              <a:buFont typeface="Wingdings 2" pitchFamily="18" charset="2"/>
              <a:buNone/>
            </a:pPr>
            <a:r>
              <a:rPr lang="de-DE" sz="1600" b="1" err="1">
                <a:solidFill>
                  <a:schemeClr val="bg1"/>
                </a:solidFill>
              </a:rPr>
              <a:t>If</a:t>
            </a:r>
            <a:r>
              <a:rPr lang="de-DE" sz="1600" b="1">
                <a:solidFill>
                  <a:schemeClr val="bg1"/>
                </a:solidFill>
              </a:rPr>
              <a:t> </a:t>
            </a:r>
            <a:r>
              <a:rPr lang="de-DE" sz="1600" b="1" err="1">
                <a:solidFill>
                  <a:schemeClr val="bg1"/>
                </a:solidFill>
              </a:rPr>
              <a:t>click</a:t>
            </a:r>
            <a:r>
              <a:rPr lang="de-DE" sz="1600" b="1">
                <a:solidFill>
                  <a:schemeClr val="bg1"/>
                </a:solidFill>
              </a:rPr>
              <a:t> on the </a:t>
            </a:r>
            <a:r>
              <a:rPr lang="de-DE" sz="1600" b="1" err="1">
                <a:solidFill>
                  <a:schemeClr val="bg1"/>
                </a:solidFill>
              </a:rPr>
              <a:t>process</a:t>
            </a:r>
            <a:r>
              <a:rPr lang="de-DE" sz="1600" b="1">
                <a:solidFill>
                  <a:schemeClr val="bg1"/>
                </a:solidFill>
              </a:rPr>
              <a:t> </a:t>
            </a:r>
            <a:r>
              <a:rPr lang="de-DE" sz="1600" b="1">
                <a:solidFill>
                  <a:schemeClr val="bg1"/>
                </a:solidFill>
                <a:sym typeface="Wingdings" panose="05000000000000000000" pitchFamily="2" charset="2"/>
              </a:rPr>
              <a:t> </a:t>
            </a:r>
            <a:r>
              <a:rPr lang="de-DE" sz="1600" b="1" err="1">
                <a:solidFill>
                  <a:schemeClr val="bg1"/>
                </a:solidFill>
                <a:sym typeface="Wingdings" panose="05000000000000000000" pitchFamily="2" charset="2"/>
              </a:rPr>
              <a:t>it</a:t>
            </a:r>
            <a:r>
              <a:rPr lang="de-DE" sz="1600" b="1">
                <a:solidFill>
                  <a:schemeClr val="bg1"/>
                </a:solidFill>
                <a:sym typeface="Wingdings" panose="05000000000000000000" pitchFamily="2" charset="2"/>
              </a:rPr>
              <a:t> will </a:t>
            </a:r>
            <a:r>
              <a:rPr lang="de-DE" sz="1600" b="1" err="1">
                <a:solidFill>
                  <a:schemeClr val="bg1"/>
                </a:solidFill>
                <a:sym typeface="Wingdings" panose="05000000000000000000" pitchFamily="2" charset="2"/>
              </a:rPr>
              <a:t>lead</a:t>
            </a:r>
            <a:r>
              <a:rPr lang="de-DE" sz="1600" b="1">
                <a:solidFill>
                  <a:schemeClr val="bg1"/>
                </a:solidFill>
                <a:sym typeface="Wingdings" panose="05000000000000000000" pitchFamily="2" charset="2"/>
              </a:rPr>
              <a:t> </a:t>
            </a:r>
            <a:r>
              <a:rPr lang="de-DE" sz="1600" b="1" err="1">
                <a:solidFill>
                  <a:schemeClr val="bg1"/>
                </a:solidFill>
                <a:sym typeface="Wingdings" panose="05000000000000000000" pitchFamily="2" charset="2"/>
              </a:rPr>
              <a:t>to</a:t>
            </a:r>
            <a:r>
              <a:rPr lang="de-DE" sz="1600" b="1">
                <a:solidFill>
                  <a:schemeClr val="bg1"/>
                </a:solidFill>
                <a:sym typeface="Wingdings" panose="05000000000000000000" pitchFamily="2" charset="2"/>
              </a:rPr>
              <a:t> Fiori Launchpad</a:t>
            </a:r>
            <a:endParaRPr lang="de-DE" sz="1600" b="1">
              <a:solidFill>
                <a:schemeClr val="bg1"/>
              </a:solidFill>
            </a:endParaRPr>
          </a:p>
        </p:txBody>
      </p:sp>
      <p:sp>
        <p:nvSpPr>
          <p:cNvPr id="425" name="Rectangle 424">
            <a:extLst>
              <a:ext uri="{FF2B5EF4-FFF2-40B4-BE49-F238E27FC236}">
                <a16:creationId xmlns:a16="http://schemas.microsoft.com/office/drawing/2014/main" id="{2E842556-FB45-738D-FD47-E55E2930765A}"/>
              </a:ext>
            </a:extLst>
          </p:cNvPr>
          <p:cNvSpPr/>
          <p:nvPr/>
        </p:nvSpPr>
        <p:spPr>
          <a:xfrm flipV="1">
            <a:off x="0" y="-74817"/>
            <a:ext cx="12192001" cy="61174"/>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6" name="Rectangle 425">
            <a:extLst>
              <a:ext uri="{FF2B5EF4-FFF2-40B4-BE49-F238E27FC236}">
                <a16:creationId xmlns:a16="http://schemas.microsoft.com/office/drawing/2014/main" id="{42DAAC10-EEDE-B0C7-FC8D-D66D5FC4D8B0}"/>
              </a:ext>
            </a:extLst>
          </p:cNvPr>
          <p:cNvSpPr/>
          <p:nvPr/>
        </p:nvSpPr>
        <p:spPr bwMode="gray">
          <a:xfrm>
            <a:off x="12587199" y="4318211"/>
            <a:ext cx="2066925" cy="1982801"/>
          </a:xfrm>
          <a:prstGeom prst="rect">
            <a:avLst/>
          </a:prstGeom>
          <a:solidFill>
            <a:srgbClr val="FFC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e-DE" sz="1600" b="1">
                <a:solidFill>
                  <a:schemeClr val="bg1"/>
                </a:solidFill>
              </a:rPr>
              <a:t>Excel </a:t>
            </a:r>
            <a:r>
              <a:rPr lang="de-DE" sz="1600" b="1" err="1">
                <a:solidFill>
                  <a:schemeClr val="bg1"/>
                </a:solidFill>
              </a:rPr>
              <a:t>of</a:t>
            </a:r>
            <a:r>
              <a:rPr lang="de-DE" sz="1600" b="1">
                <a:solidFill>
                  <a:schemeClr val="bg1"/>
                </a:solidFill>
              </a:rPr>
              <a:t> </a:t>
            </a:r>
            <a:r>
              <a:rPr lang="de-DE" sz="1600" b="1" err="1">
                <a:solidFill>
                  <a:schemeClr val="bg1"/>
                </a:solidFill>
              </a:rPr>
              <a:t>mapping</a:t>
            </a:r>
            <a:r>
              <a:rPr lang="de-DE" sz="1600" b="1">
                <a:solidFill>
                  <a:schemeClr val="bg1"/>
                </a:solidFill>
              </a:rPr>
              <a:t>: </a:t>
            </a:r>
          </a:p>
          <a:p>
            <a:pPr algn="ctr">
              <a:lnSpc>
                <a:spcPct val="106000"/>
              </a:lnSpc>
              <a:buFont typeface="Wingdings 2" pitchFamily="18" charset="2"/>
              <a:buNone/>
            </a:pPr>
            <a:r>
              <a:rPr lang="de-DE" sz="1600" b="1">
                <a:solidFill>
                  <a:schemeClr val="bg1"/>
                </a:solidFill>
                <a:hlinkClick r:id="rId6"/>
              </a:rPr>
              <a:t>Link</a:t>
            </a:r>
            <a:endParaRPr lang="de-DE" sz="1600" b="1">
              <a:solidFill>
                <a:schemeClr val="bg1"/>
              </a:solidFill>
            </a:endParaRPr>
          </a:p>
          <a:p>
            <a:pPr algn="ctr">
              <a:lnSpc>
                <a:spcPct val="106000"/>
              </a:lnSpc>
              <a:buFont typeface="Wingdings 2" pitchFamily="18" charset="2"/>
              <a:buNone/>
            </a:pPr>
            <a:r>
              <a:rPr lang="de-DE" sz="1600" b="1">
                <a:solidFill>
                  <a:schemeClr val="bg1"/>
                </a:solidFill>
              </a:rPr>
              <a:t>(Andreas &amp; Ralf </a:t>
            </a:r>
            <a:r>
              <a:rPr lang="de-DE" sz="1600" b="1" err="1">
                <a:solidFill>
                  <a:schemeClr val="bg1"/>
                </a:solidFill>
              </a:rPr>
              <a:t>working</a:t>
            </a:r>
            <a:r>
              <a:rPr lang="de-DE" sz="1600" b="1">
                <a:solidFill>
                  <a:schemeClr val="bg1"/>
                </a:solidFill>
              </a:rPr>
              <a:t> on the </a:t>
            </a:r>
            <a:r>
              <a:rPr lang="de-DE" sz="1600" b="1" err="1">
                <a:solidFill>
                  <a:schemeClr val="bg1"/>
                </a:solidFill>
              </a:rPr>
              <a:t>mapping</a:t>
            </a:r>
            <a:r>
              <a:rPr lang="de-DE" sz="1600" b="1">
                <a:solidFill>
                  <a:schemeClr val="bg1"/>
                </a:solidFill>
              </a:rPr>
              <a:t>)</a:t>
            </a:r>
          </a:p>
        </p:txBody>
      </p:sp>
    </p:spTree>
    <p:extLst>
      <p:ext uri="{BB962C8B-B14F-4D97-AF65-F5344CB8AC3E}">
        <p14:creationId xmlns:p14="http://schemas.microsoft.com/office/powerpoint/2010/main" val="12793734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2AE21C6-A8E2-03DA-D027-6CAF52CDAFC6}"/>
              </a:ext>
            </a:extLst>
          </p:cNvPr>
          <p:cNvSpPr/>
          <p:nvPr/>
        </p:nvSpPr>
        <p:spPr bwMode="gray">
          <a:xfrm>
            <a:off x="0" y="6502400"/>
            <a:ext cx="12192000" cy="256902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endParaRPr>
          </a:p>
        </p:txBody>
      </p:sp>
      <p:pic>
        <p:nvPicPr>
          <p:cNvPr id="8" name="Picture 4" descr="Banner">
            <a:extLst>
              <a:ext uri="{FF2B5EF4-FFF2-40B4-BE49-F238E27FC236}">
                <a16:creationId xmlns:a16="http://schemas.microsoft.com/office/drawing/2014/main" id="{C4042A1E-25C1-8D03-4E10-CDF7F2B34A51}"/>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646354" y="6094666"/>
            <a:ext cx="3468553" cy="194829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5C311963-C83B-3BB9-0FF0-70FC1FB7325E}"/>
              </a:ext>
            </a:extLst>
          </p:cNvPr>
          <p:cNvSpPr>
            <a:spLocks noGrp="1"/>
          </p:cNvSpPr>
          <p:nvPr>
            <p:ph type="title"/>
          </p:nvPr>
        </p:nvSpPr>
        <p:spPr>
          <a:xfrm>
            <a:off x="457200" y="1947715"/>
            <a:ext cx="11274552" cy="342000"/>
          </a:xfrm>
        </p:spPr>
        <p:txBody>
          <a:bodyPr/>
          <a:lstStyle/>
          <a:p>
            <a:r>
              <a:rPr lang="en-US" b="1">
                <a:solidFill>
                  <a:schemeClr val="accent1"/>
                </a:solidFill>
              </a:rPr>
              <a:t> Introducing: Consultant in the Loop </a:t>
            </a:r>
            <a:br>
              <a:rPr lang="en-US"/>
            </a:br>
            <a:r>
              <a:rPr lang="en-US"/>
              <a:t> </a:t>
            </a:r>
            <a:r>
              <a:rPr lang="en-US" sz="1600"/>
              <a:t>Smarter Decisions. Human Support. Seamless Experience.</a:t>
            </a:r>
            <a:endParaRPr lang="de-DE"/>
          </a:p>
        </p:txBody>
      </p:sp>
      <p:sp>
        <p:nvSpPr>
          <p:cNvPr id="5" name="TextBox 4">
            <a:extLst>
              <a:ext uri="{FF2B5EF4-FFF2-40B4-BE49-F238E27FC236}">
                <a16:creationId xmlns:a16="http://schemas.microsoft.com/office/drawing/2014/main" id="{653288B2-9868-782A-6E46-F42811579424}"/>
              </a:ext>
            </a:extLst>
          </p:cNvPr>
          <p:cNvSpPr txBox="1"/>
          <p:nvPr/>
        </p:nvSpPr>
        <p:spPr>
          <a:xfrm>
            <a:off x="431800" y="2682026"/>
            <a:ext cx="11076038" cy="523220"/>
          </a:xfrm>
          <a:prstGeom prst="rect">
            <a:avLst/>
          </a:prstGeom>
          <a:noFill/>
        </p:spPr>
        <p:txBody>
          <a:bodyPr wrap="square">
            <a:spAutoFit/>
          </a:bodyPr>
          <a:lstStyle/>
          <a:p>
            <a:r>
              <a:rPr lang="en-US" sz="1400"/>
              <a:t>You don’t have to navigate AI alone. With </a:t>
            </a:r>
            <a:r>
              <a:rPr lang="en-US" sz="1400" b="1" u="sng"/>
              <a:t>Consultant in the Loop</a:t>
            </a:r>
            <a:r>
              <a:rPr lang="en-US" sz="1400"/>
              <a:t>, you get the best of both worlds: the power of automation with the insight and reassurance of real human expertise.</a:t>
            </a:r>
            <a:endParaRPr lang="de-DE" sz="1400"/>
          </a:p>
        </p:txBody>
      </p:sp>
      <p:sp>
        <p:nvSpPr>
          <p:cNvPr id="7" name="TextBox 6">
            <a:extLst>
              <a:ext uri="{FF2B5EF4-FFF2-40B4-BE49-F238E27FC236}">
                <a16:creationId xmlns:a16="http://schemas.microsoft.com/office/drawing/2014/main" id="{67AF9A5C-BA4A-E224-5F67-8E31AE431324}"/>
              </a:ext>
            </a:extLst>
          </p:cNvPr>
          <p:cNvSpPr txBox="1"/>
          <p:nvPr/>
        </p:nvSpPr>
        <p:spPr>
          <a:xfrm>
            <a:off x="455300" y="3355455"/>
            <a:ext cx="7164700" cy="2739211"/>
          </a:xfrm>
          <a:prstGeom prst="rect">
            <a:avLst/>
          </a:prstGeom>
          <a:noFill/>
        </p:spPr>
        <p:txBody>
          <a:bodyPr wrap="square">
            <a:spAutoFit/>
          </a:bodyPr>
          <a:lstStyle/>
          <a:p>
            <a:r>
              <a:rPr lang="en-US" b="1">
                <a:solidFill>
                  <a:schemeClr val="accent1"/>
                </a:solidFill>
              </a:rPr>
              <a:t>Why It Matters to You</a:t>
            </a:r>
          </a:p>
          <a:p>
            <a:pPr marL="285750" indent="-285750">
              <a:buFont typeface="Arial" panose="020B0604020202020204" pitchFamily="34" charset="0"/>
              <a:buChar char="•"/>
            </a:pPr>
            <a:r>
              <a:rPr lang="en-US" sz="1400" b="1"/>
              <a:t>Stay in Control</a:t>
            </a:r>
          </a:p>
          <a:p>
            <a:pPr>
              <a:buNone/>
            </a:pPr>
            <a:r>
              <a:rPr lang="en-US" sz="1400"/>
              <a:t>AI is fast, but you’re still the decision-maker. Our consultants step in at critical moments to validate decisions, offer guidance, and ensure everything aligns with your goals.</a:t>
            </a:r>
          </a:p>
          <a:p>
            <a:pPr>
              <a:buNone/>
            </a:pPr>
            <a:endParaRPr lang="en-US" sz="1400"/>
          </a:p>
          <a:p>
            <a:pPr marL="285750" indent="-285750">
              <a:buFont typeface="Arial" panose="020B0604020202020204" pitchFamily="34" charset="0"/>
              <a:buChar char="•"/>
            </a:pPr>
            <a:r>
              <a:rPr lang="en-US" sz="1400" b="1"/>
              <a:t>Navigate Complexity with Confidence</a:t>
            </a:r>
          </a:p>
          <a:p>
            <a:pPr>
              <a:buNone/>
            </a:pPr>
            <a:r>
              <a:rPr lang="en-US" sz="1400"/>
              <a:t>Got a tough challenge? Complex process? No worries. We’re here with expert support—built into your workflow—ready to help when things get tricky.</a:t>
            </a:r>
          </a:p>
          <a:p>
            <a:pPr>
              <a:buNone/>
            </a:pPr>
            <a:endParaRPr lang="en-US" sz="1400"/>
          </a:p>
          <a:p>
            <a:pPr marL="285750" indent="-285750">
              <a:buFont typeface="Arial" panose="020B0604020202020204" pitchFamily="34" charset="0"/>
              <a:buChar char="•"/>
            </a:pPr>
            <a:r>
              <a:rPr lang="en-US" sz="1400" b="1"/>
              <a:t>Get More Value from AI</a:t>
            </a:r>
          </a:p>
          <a:p>
            <a:r>
              <a:rPr lang="en-US" sz="1400"/>
              <a:t>We're not just launching tools—we're building partnerships. Our consultants help turn insights into action, and actions into results.</a:t>
            </a:r>
          </a:p>
        </p:txBody>
      </p:sp>
      <p:sp>
        <p:nvSpPr>
          <p:cNvPr id="10" name="TextBox 9">
            <a:extLst>
              <a:ext uri="{FF2B5EF4-FFF2-40B4-BE49-F238E27FC236}">
                <a16:creationId xmlns:a16="http://schemas.microsoft.com/office/drawing/2014/main" id="{1ED5CCC1-1C3C-DADB-C968-F4CF0A1646B1}"/>
              </a:ext>
            </a:extLst>
          </p:cNvPr>
          <p:cNvSpPr txBox="1"/>
          <p:nvPr/>
        </p:nvSpPr>
        <p:spPr>
          <a:xfrm>
            <a:off x="457200" y="6130702"/>
            <a:ext cx="6096000" cy="1015663"/>
          </a:xfrm>
          <a:prstGeom prst="rect">
            <a:avLst/>
          </a:prstGeom>
          <a:noFill/>
        </p:spPr>
        <p:txBody>
          <a:bodyPr wrap="square">
            <a:spAutoFit/>
          </a:bodyPr>
          <a:lstStyle/>
          <a:p>
            <a:pPr>
              <a:buNone/>
            </a:pPr>
            <a:r>
              <a:rPr lang="en-US" sz="1800" b="1">
                <a:solidFill>
                  <a:schemeClr val="accent1"/>
                </a:solidFill>
              </a:rPr>
              <a:t>How It Works (In Simple Terms)</a:t>
            </a:r>
          </a:p>
          <a:p>
            <a:pPr marL="285750" indent="-285750">
              <a:buFont typeface="Arial" panose="020B0604020202020204" pitchFamily="34" charset="0"/>
              <a:buChar char="•"/>
            </a:pPr>
            <a:r>
              <a:rPr lang="en-US" sz="1400"/>
              <a:t>You interact with AI agents – fast, efficient answers and support</a:t>
            </a:r>
          </a:p>
          <a:p>
            <a:pPr marL="285750" indent="-285750">
              <a:buFont typeface="Arial" panose="020B0604020202020204" pitchFamily="34" charset="0"/>
              <a:buChar char="•"/>
            </a:pPr>
            <a:r>
              <a:rPr lang="en-US" sz="1400"/>
              <a:t>We stay touch– when stakes are high, our experts jump in</a:t>
            </a:r>
          </a:p>
          <a:p>
            <a:pPr marL="285750" indent="-285750">
              <a:buFont typeface="Arial" panose="020B0604020202020204" pitchFamily="34" charset="0"/>
              <a:buChar char="•"/>
            </a:pPr>
            <a:r>
              <a:rPr lang="en-US" sz="1400"/>
              <a:t>You get results – with more accuracy, less risk, and full confidence</a:t>
            </a:r>
          </a:p>
        </p:txBody>
      </p:sp>
      <p:sp>
        <p:nvSpPr>
          <p:cNvPr id="12" name="TextBox 11">
            <a:extLst>
              <a:ext uri="{FF2B5EF4-FFF2-40B4-BE49-F238E27FC236}">
                <a16:creationId xmlns:a16="http://schemas.microsoft.com/office/drawing/2014/main" id="{7171D40C-CC6A-BF00-BE77-C26EB4E2E6AB}"/>
              </a:ext>
            </a:extLst>
          </p:cNvPr>
          <p:cNvSpPr txBox="1"/>
          <p:nvPr/>
        </p:nvSpPr>
        <p:spPr>
          <a:xfrm>
            <a:off x="455300" y="7160406"/>
            <a:ext cx="7270955" cy="800219"/>
          </a:xfrm>
          <a:prstGeom prst="rect">
            <a:avLst/>
          </a:prstGeom>
          <a:solidFill>
            <a:schemeClr val="bg1"/>
          </a:solidFill>
        </p:spPr>
        <p:txBody>
          <a:bodyPr wrap="square">
            <a:spAutoFit/>
          </a:bodyPr>
          <a:lstStyle/>
          <a:p>
            <a:pPr>
              <a:buNone/>
            </a:pPr>
            <a:r>
              <a:rPr lang="en-US" sz="1800" b="1">
                <a:solidFill>
                  <a:schemeClr val="accent1"/>
                </a:solidFill>
              </a:rPr>
              <a:t>Choose the Model That Fits You</a:t>
            </a:r>
          </a:p>
          <a:p>
            <a:pPr>
              <a:buNone/>
            </a:pPr>
            <a:r>
              <a:rPr lang="en-US" sz="1400"/>
              <a:t>Whether you want full-service support (Managed Service) or just need help as you go (T&amp;M), we’ve got flexible options tailored to your needs.</a:t>
            </a:r>
          </a:p>
        </p:txBody>
      </p:sp>
      <p:sp>
        <p:nvSpPr>
          <p:cNvPr id="14" name="TextBox 13">
            <a:extLst>
              <a:ext uri="{FF2B5EF4-FFF2-40B4-BE49-F238E27FC236}">
                <a16:creationId xmlns:a16="http://schemas.microsoft.com/office/drawing/2014/main" id="{DDB73E73-CF1E-E0EE-9851-FC48CDEB8485}"/>
              </a:ext>
            </a:extLst>
          </p:cNvPr>
          <p:cNvSpPr txBox="1"/>
          <p:nvPr/>
        </p:nvSpPr>
        <p:spPr>
          <a:xfrm>
            <a:off x="8593394" y="5076889"/>
            <a:ext cx="3468553" cy="954107"/>
          </a:xfrm>
          <a:prstGeom prst="rect">
            <a:avLst/>
          </a:prstGeom>
          <a:noFill/>
        </p:spPr>
        <p:txBody>
          <a:bodyPr wrap="square">
            <a:spAutoFit/>
          </a:bodyPr>
          <a:lstStyle/>
          <a:p>
            <a:r>
              <a:rPr lang="en-US" sz="1400"/>
              <a:t>💬 Ready to Explore? We'd love to show you how Consultant in the Loop can simplify your work, empower your team, and make AI truly work for you.</a:t>
            </a:r>
            <a:endParaRPr lang="de-DE" sz="1400"/>
          </a:p>
        </p:txBody>
      </p:sp>
      <p:sp>
        <p:nvSpPr>
          <p:cNvPr id="15" name="Rectangle 14">
            <a:extLst>
              <a:ext uri="{FF2B5EF4-FFF2-40B4-BE49-F238E27FC236}">
                <a16:creationId xmlns:a16="http://schemas.microsoft.com/office/drawing/2014/main" id="{B11FD378-F67B-B960-8BF7-2FF2E253A174}"/>
              </a:ext>
            </a:extLst>
          </p:cNvPr>
          <p:cNvSpPr/>
          <p:nvPr/>
        </p:nvSpPr>
        <p:spPr>
          <a:xfrm>
            <a:off x="9492731" y="8058573"/>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hat with a consultant</a:t>
            </a:r>
          </a:p>
        </p:txBody>
      </p:sp>
      <p:grpSp>
        <p:nvGrpSpPr>
          <p:cNvPr id="13" name="Group 12">
            <a:extLst>
              <a:ext uri="{FF2B5EF4-FFF2-40B4-BE49-F238E27FC236}">
                <a16:creationId xmlns:a16="http://schemas.microsoft.com/office/drawing/2014/main" id="{1F40E35F-13AF-5754-41FE-1E00599BA9FD}"/>
              </a:ext>
            </a:extLst>
          </p:cNvPr>
          <p:cNvGrpSpPr/>
          <p:nvPr/>
        </p:nvGrpSpPr>
        <p:grpSpPr>
          <a:xfrm>
            <a:off x="0" y="0"/>
            <a:ext cx="12192000" cy="1508734"/>
            <a:chOff x="0" y="-1601723"/>
            <a:chExt cx="12192000" cy="1508734"/>
          </a:xfrm>
        </p:grpSpPr>
        <p:sp>
          <p:nvSpPr>
            <p:cNvPr id="2" name="Rectangle 1">
              <a:extLst>
                <a:ext uri="{FF2B5EF4-FFF2-40B4-BE49-F238E27FC236}">
                  <a16:creationId xmlns:a16="http://schemas.microsoft.com/office/drawing/2014/main" id="{D78D3CA3-03A7-F14A-E97E-B55775B99D11}"/>
                </a:ext>
              </a:extLst>
            </p:cNvPr>
            <p:cNvSpPr/>
            <p:nvPr/>
          </p:nvSpPr>
          <p:spPr>
            <a:xfrm>
              <a:off x="0" y="-1601723"/>
              <a:ext cx="12192000" cy="15087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u="sng"/>
            </a:p>
          </p:txBody>
        </p:sp>
        <p:pic>
          <p:nvPicPr>
            <p:cNvPr id="4" name="Picture 3">
              <a:extLst>
                <a:ext uri="{FF2B5EF4-FFF2-40B4-BE49-F238E27FC236}">
                  <a16:creationId xmlns:a16="http://schemas.microsoft.com/office/drawing/2014/main" id="{0BCCC0A9-60AF-0AB7-38FD-0529831CCE36}"/>
                </a:ext>
              </a:extLst>
            </p:cNvPr>
            <p:cNvPicPr>
              <a:picLocks noChangeAspect="1"/>
            </p:cNvPicPr>
            <p:nvPr/>
          </p:nvPicPr>
          <p:blipFill>
            <a:blip r:embed="rId3" cstate="screen">
              <a:extLst>
                <a:ext uri="{28A0092B-C50C-407E-A947-70E740481C1C}">
                  <a14:useLocalDpi xmlns:a14="http://schemas.microsoft.com/office/drawing/2010/main"/>
                </a:ext>
              </a:extLst>
            </a:blip>
            <a:srcRect l="12359" t="29466" r="11827" b="27443"/>
            <a:stretch/>
          </p:blipFill>
          <p:spPr>
            <a:xfrm>
              <a:off x="130505" y="-1418233"/>
              <a:ext cx="2777795" cy="640511"/>
            </a:xfrm>
            <a:prstGeom prst="rect">
              <a:avLst/>
            </a:prstGeom>
          </p:spPr>
        </p:pic>
        <p:sp>
          <p:nvSpPr>
            <p:cNvPr id="6" name="Rectangle 5">
              <a:extLst>
                <a:ext uri="{FF2B5EF4-FFF2-40B4-BE49-F238E27FC236}">
                  <a16:creationId xmlns:a16="http://schemas.microsoft.com/office/drawing/2014/main" id="{57939B14-A4DC-59E0-0486-35D1E9A22729}"/>
                </a:ext>
              </a:extLst>
            </p:cNvPr>
            <p:cNvSpPr/>
            <p:nvPr/>
          </p:nvSpPr>
          <p:spPr>
            <a:xfrm>
              <a:off x="11178857" y="-824980"/>
              <a:ext cx="534147" cy="161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rPr>
                <a:t>My Site</a:t>
              </a:r>
            </a:p>
          </p:txBody>
        </p:sp>
        <p:sp>
          <p:nvSpPr>
            <p:cNvPr id="9" name="Rectangle 8">
              <a:extLst>
                <a:ext uri="{FF2B5EF4-FFF2-40B4-BE49-F238E27FC236}">
                  <a16:creationId xmlns:a16="http://schemas.microsoft.com/office/drawing/2014/main" id="{6303B323-93EE-B8EF-9732-DF5E163086AD}"/>
                </a:ext>
              </a:extLst>
            </p:cNvPr>
            <p:cNvSpPr/>
            <p:nvPr/>
          </p:nvSpPr>
          <p:spPr>
            <a:xfrm>
              <a:off x="10332551" y="-634744"/>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hat with a consultant</a:t>
              </a:r>
            </a:p>
          </p:txBody>
        </p:sp>
        <p:pic>
          <p:nvPicPr>
            <p:cNvPr id="11" name="Picture 4" descr="Banner">
              <a:extLst>
                <a:ext uri="{FF2B5EF4-FFF2-40B4-BE49-F238E27FC236}">
                  <a16:creationId xmlns:a16="http://schemas.microsoft.com/office/drawing/2014/main" id="{C65940E5-ECC4-1276-4DBE-FA949E55CDD7}"/>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381697" y="-1491326"/>
              <a:ext cx="1594320" cy="895532"/>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Rectangle 15">
            <a:extLst>
              <a:ext uri="{FF2B5EF4-FFF2-40B4-BE49-F238E27FC236}">
                <a16:creationId xmlns:a16="http://schemas.microsoft.com/office/drawing/2014/main" id="{2AB508AD-67CD-2641-08C3-D6F15AA869F1}"/>
              </a:ext>
            </a:extLst>
          </p:cNvPr>
          <p:cNvSpPr/>
          <p:nvPr/>
        </p:nvSpPr>
        <p:spPr>
          <a:xfrm flipV="1">
            <a:off x="0" y="1509961"/>
            <a:ext cx="12192001" cy="61174"/>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2254466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6AD67C5-7C10-5395-5DBB-36B7BAA2D6F1}"/>
              </a:ext>
            </a:extLst>
          </p:cNvPr>
          <p:cNvSpPr/>
          <p:nvPr/>
        </p:nvSpPr>
        <p:spPr bwMode="gray">
          <a:xfrm>
            <a:off x="0" y="6502400"/>
            <a:ext cx="12192000" cy="171784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endParaRPr>
          </a:p>
        </p:txBody>
      </p:sp>
      <p:pic>
        <p:nvPicPr>
          <p:cNvPr id="1026" name="Picture 2">
            <a:extLst>
              <a:ext uri="{FF2B5EF4-FFF2-40B4-BE49-F238E27FC236}">
                <a16:creationId xmlns:a16="http://schemas.microsoft.com/office/drawing/2014/main" id="{BC41F865-B759-ADE9-A162-2D13140A0A9E}"/>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905892" y="2403406"/>
            <a:ext cx="3038246" cy="303824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6AF6EB9-013E-F4CC-0C2C-1FC36B4797DF}"/>
              </a:ext>
            </a:extLst>
          </p:cNvPr>
          <p:cNvSpPr txBox="1"/>
          <p:nvPr/>
        </p:nvSpPr>
        <p:spPr>
          <a:xfrm>
            <a:off x="398206" y="2084097"/>
            <a:ext cx="8057536" cy="777136"/>
          </a:xfrm>
          <a:prstGeom prst="rect">
            <a:avLst/>
          </a:prstGeom>
          <a:noFill/>
        </p:spPr>
        <p:txBody>
          <a:bodyPr wrap="square">
            <a:spAutoFit/>
          </a:bodyPr>
          <a:lstStyle/>
          <a:p>
            <a:pPr algn="l">
              <a:spcAft>
                <a:spcPts val="1500"/>
              </a:spcAft>
              <a:buNone/>
            </a:pPr>
            <a:r>
              <a:rPr lang="en-US" b="1" i="0">
                <a:solidFill>
                  <a:schemeClr val="accent1"/>
                </a:solidFill>
                <a:effectLst/>
                <a:latin typeface="Arial" panose="020B0604020202020204" pitchFamily="34" charset="0"/>
              </a:rPr>
              <a:t>Zora AI™ by Deloitte</a:t>
            </a:r>
          </a:p>
          <a:p>
            <a:pPr algn="l">
              <a:spcAft>
                <a:spcPts val="2250"/>
              </a:spcAft>
            </a:pPr>
            <a:r>
              <a:rPr lang="en-US" sz="1400" b="0" i="0">
                <a:solidFill>
                  <a:srgbClr val="FFFFFF"/>
                </a:solidFill>
                <a:effectLst/>
                <a:latin typeface="Arial" panose="020B0604020202020204" pitchFamily="34" charset="0"/>
              </a:rPr>
              <a:t>Your new digital workforce that transforms business operations through autonomous intelligence</a:t>
            </a:r>
          </a:p>
        </p:txBody>
      </p:sp>
      <p:pic>
        <p:nvPicPr>
          <p:cNvPr id="11" name="Picture 10">
            <a:extLst>
              <a:ext uri="{FF2B5EF4-FFF2-40B4-BE49-F238E27FC236}">
                <a16:creationId xmlns:a16="http://schemas.microsoft.com/office/drawing/2014/main" id="{856B63C1-8775-B4CF-9182-F45C01E04F84}"/>
              </a:ext>
            </a:extLst>
          </p:cNvPr>
          <p:cNvPicPr>
            <a:picLocks noChangeAspect="1"/>
          </p:cNvPicPr>
          <p:nvPr/>
        </p:nvPicPr>
        <p:blipFill>
          <a:blip r:embed="rId3"/>
          <a:stretch>
            <a:fillRect/>
          </a:stretch>
        </p:blipFill>
        <p:spPr>
          <a:xfrm>
            <a:off x="9571216" y="5583610"/>
            <a:ext cx="1707598" cy="599476"/>
          </a:xfrm>
          <a:prstGeom prst="rect">
            <a:avLst/>
          </a:prstGeom>
        </p:spPr>
      </p:pic>
      <p:sp>
        <p:nvSpPr>
          <p:cNvPr id="13" name="TextBox 12">
            <a:extLst>
              <a:ext uri="{FF2B5EF4-FFF2-40B4-BE49-F238E27FC236}">
                <a16:creationId xmlns:a16="http://schemas.microsoft.com/office/drawing/2014/main" id="{E534982C-0DFB-8066-4184-AEF9AB00C8F8}"/>
              </a:ext>
            </a:extLst>
          </p:cNvPr>
          <p:cNvSpPr txBox="1"/>
          <p:nvPr/>
        </p:nvSpPr>
        <p:spPr>
          <a:xfrm>
            <a:off x="385934" y="3472774"/>
            <a:ext cx="8057536" cy="1384995"/>
          </a:xfrm>
          <a:prstGeom prst="rect">
            <a:avLst/>
          </a:prstGeom>
          <a:noFill/>
        </p:spPr>
        <p:txBody>
          <a:bodyPr wrap="square">
            <a:spAutoFit/>
          </a:bodyPr>
          <a:lstStyle/>
          <a:p>
            <a:r>
              <a:rPr lang="en-US" sz="1400"/>
              <a:t>Zora AI™ by Deloitte represents the future of work—an advanced AI platform with ready-to-deploy intelligent agents that revolutionize how businesses operate. Unlike conventional automation tools, Zora AI agents think, learn, and execute complex business functions with remarkable speed and precision.</a:t>
            </a:r>
          </a:p>
          <a:p>
            <a:r>
              <a:rPr lang="en-US" sz="1400"/>
              <a:t>Our platform seamlessly integrates domain-specific intelligence with flexible technical architecture, allowing your business to deploy AI solutions that work alongside your human workforce—handling repetitive tasks, analyzing complex data, and generating valuable insights that drive growth and innovation.</a:t>
            </a:r>
            <a:endParaRPr lang="de-DE" sz="1400"/>
          </a:p>
        </p:txBody>
      </p:sp>
      <p:sp>
        <p:nvSpPr>
          <p:cNvPr id="15" name="TextBox 14">
            <a:extLst>
              <a:ext uri="{FF2B5EF4-FFF2-40B4-BE49-F238E27FC236}">
                <a16:creationId xmlns:a16="http://schemas.microsoft.com/office/drawing/2014/main" id="{24AB7B76-5457-84CA-473F-FB3DA35E1651}"/>
              </a:ext>
            </a:extLst>
          </p:cNvPr>
          <p:cNvSpPr txBox="1"/>
          <p:nvPr/>
        </p:nvSpPr>
        <p:spPr>
          <a:xfrm>
            <a:off x="385934" y="5141686"/>
            <a:ext cx="8560620" cy="2246769"/>
          </a:xfrm>
          <a:prstGeom prst="rect">
            <a:avLst/>
          </a:prstGeom>
          <a:noFill/>
        </p:spPr>
        <p:txBody>
          <a:bodyPr wrap="square">
            <a:spAutoFit/>
          </a:bodyPr>
          <a:lstStyle/>
          <a:p>
            <a:pPr algn="l">
              <a:buNone/>
            </a:pPr>
            <a:r>
              <a:rPr lang="en-US" sz="1400" b="1" i="0">
                <a:effectLst/>
              </a:rPr>
              <a:t>Zora AI™ and Business Agents Platform</a:t>
            </a:r>
          </a:p>
          <a:p>
            <a:pPr marL="285750" indent="-285750" algn="l">
              <a:buFont typeface="Arial" panose="020B0604020202020204" pitchFamily="34" charset="0"/>
              <a:buChar char="•"/>
            </a:pPr>
            <a:r>
              <a:rPr lang="en-US" sz="1400" b="0" i="0">
                <a:effectLst/>
              </a:rPr>
              <a:t>When Zora AI™ combines with our Business Agents platform for SAP, it creates a transformative ecosystem that redefines operational excellence. This powerful synergy enables:</a:t>
            </a:r>
          </a:p>
          <a:p>
            <a:pPr marL="742950" lvl="1" indent="-285750">
              <a:buFont typeface="Arial" panose="020B0604020202020204" pitchFamily="34" charset="0"/>
              <a:buChar char="•"/>
            </a:pPr>
            <a:r>
              <a:rPr lang="en-US" sz="1400" b="0" i="0">
                <a:effectLst/>
              </a:rPr>
              <a:t>Real-time decision support with contextual understanding</a:t>
            </a:r>
          </a:p>
          <a:p>
            <a:pPr marL="742950" lvl="1" indent="-285750">
              <a:buFont typeface="Arial" panose="020B0604020202020204" pitchFamily="34" charset="0"/>
              <a:buChar char="•"/>
            </a:pPr>
            <a:r>
              <a:rPr lang="en-US" sz="1400" b="0" i="0">
                <a:effectLst/>
              </a:rPr>
              <a:t>End-to-end process automation with human-like reasoning</a:t>
            </a:r>
          </a:p>
          <a:p>
            <a:pPr marL="742950" lvl="1" indent="-285750">
              <a:buFont typeface="Arial" panose="020B0604020202020204" pitchFamily="34" charset="0"/>
              <a:buChar char="•"/>
            </a:pPr>
            <a:r>
              <a:rPr lang="en-US" sz="1400" b="0" i="0">
                <a:effectLst/>
              </a:rPr>
              <a:t>Continuous learning from each interaction to improve outcomes</a:t>
            </a:r>
          </a:p>
          <a:p>
            <a:pPr marL="742950" lvl="1" indent="-285750">
              <a:buFont typeface="Arial" panose="020B0604020202020204" pitchFamily="34" charset="0"/>
              <a:buChar char="•"/>
            </a:pPr>
            <a:r>
              <a:rPr lang="en-US" sz="1400" b="0" i="0">
                <a:effectLst/>
              </a:rPr>
              <a:t>Transparent operations with detailed audit trails</a:t>
            </a:r>
          </a:p>
          <a:p>
            <a:pPr algn="l"/>
            <a:br>
              <a:rPr lang="en-US" sz="1400"/>
            </a:br>
            <a:r>
              <a:rPr lang="en-US" sz="1400" b="0" i="0">
                <a:effectLst/>
              </a:rPr>
              <a:t>Together, they deliver unprecedented value by augmenting human capabilities while maintaining governance and compliance standards essential for enterprise operations.</a:t>
            </a:r>
          </a:p>
        </p:txBody>
      </p:sp>
      <p:grpSp>
        <p:nvGrpSpPr>
          <p:cNvPr id="2" name="Group 1">
            <a:extLst>
              <a:ext uri="{FF2B5EF4-FFF2-40B4-BE49-F238E27FC236}">
                <a16:creationId xmlns:a16="http://schemas.microsoft.com/office/drawing/2014/main" id="{A9F02C55-458E-8061-BFFC-905C6D27C3C9}"/>
              </a:ext>
            </a:extLst>
          </p:cNvPr>
          <p:cNvGrpSpPr/>
          <p:nvPr/>
        </p:nvGrpSpPr>
        <p:grpSpPr>
          <a:xfrm>
            <a:off x="0" y="110963"/>
            <a:ext cx="12192000" cy="1508734"/>
            <a:chOff x="0" y="-1601723"/>
            <a:chExt cx="12192000" cy="1508734"/>
          </a:xfrm>
        </p:grpSpPr>
        <p:sp>
          <p:nvSpPr>
            <p:cNvPr id="3" name="Rectangle 2">
              <a:extLst>
                <a:ext uri="{FF2B5EF4-FFF2-40B4-BE49-F238E27FC236}">
                  <a16:creationId xmlns:a16="http://schemas.microsoft.com/office/drawing/2014/main" id="{C49DD179-E4FF-E0CE-FA0B-EB7A21A2BF4B}"/>
                </a:ext>
              </a:extLst>
            </p:cNvPr>
            <p:cNvSpPr/>
            <p:nvPr/>
          </p:nvSpPr>
          <p:spPr>
            <a:xfrm>
              <a:off x="0" y="-1601723"/>
              <a:ext cx="12192000" cy="15087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u="sng"/>
            </a:p>
          </p:txBody>
        </p:sp>
        <p:pic>
          <p:nvPicPr>
            <p:cNvPr id="4" name="Picture 3">
              <a:extLst>
                <a:ext uri="{FF2B5EF4-FFF2-40B4-BE49-F238E27FC236}">
                  <a16:creationId xmlns:a16="http://schemas.microsoft.com/office/drawing/2014/main" id="{EBD3EC70-E07E-A524-95F4-0E25B43F017D}"/>
                </a:ext>
              </a:extLst>
            </p:cNvPr>
            <p:cNvPicPr>
              <a:picLocks noChangeAspect="1"/>
            </p:cNvPicPr>
            <p:nvPr/>
          </p:nvPicPr>
          <p:blipFill>
            <a:blip r:embed="rId4" cstate="screen">
              <a:extLst>
                <a:ext uri="{28A0092B-C50C-407E-A947-70E740481C1C}">
                  <a14:useLocalDpi xmlns:a14="http://schemas.microsoft.com/office/drawing/2010/main"/>
                </a:ext>
              </a:extLst>
            </a:blip>
            <a:srcRect l="12359" t="29466" r="11827" b="27443"/>
            <a:stretch/>
          </p:blipFill>
          <p:spPr>
            <a:xfrm>
              <a:off x="130505" y="-1418233"/>
              <a:ext cx="2777795" cy="640511"/>
            </a:xfrm>
            <a:prstGeom prst="rect">
              <a:avLst/>
            </a:prstGeom>
          </p:spPr>
        </p:pic>
        <p:sp>
          <p:nvSpPr>
            <p:cNvPr id="5" name="Rectangle 4">
              <a:extLst>
                <a:ext uri="{FF2B5EF4-FFF2-40B4-BE49-F238E27FC236}">
                  <a16:creationId xmlns:a16="http://schemas.microsoft.com/office/drawing/2014/main" id="{FA2C944B-670F-B0DD-E4CF-B729D2C2AC91}"/>
                </a:ext>
              </a:extLst>
            </p:cNvPr>
            <p:cNvSpPr/>
            <p:nvPr/>
          </p:nvSpPr>
          <p:spPr>
            <a:xfrm>
              <a:off x="11178857" y="-824980"/>
              <a:ext cx="534147" cy="161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rPr>
                <a:t>My Site</a:t>
              </a:r>
            </a:p>
          </p:txBody>
        </p:sp>
        <p:sp>
          <p:nvSpPr>
            <p:cNvPr id="6" name="Rectangle 5">
              <a:extLst>
                <a:ext uri="{FF2B5EF4-FFF2-40B4-BE49-F238E27FC236}">
                  <a16:creationId xmlns:a16="http://schemas.microsoft.com/office/drawing/2014/main" id="{15913994-A158-F91F-391D-061FB7DB5103}"/>
                </a:ext>
              </a:extLst>
            </p:cNvPr>
            <p:cNvSpPr/>
            <p:nvPr/>
          </p:nvSpPr>
          <p:spPr>
            <a:xfrm>
              <a:off x="10332551" y="-634744"/>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hat with a consultant</a:t>
              </a:r>
            </a:p>
          </p:txBody>
        </p:sp>
        <p:pic>
          <p:nvPicPr>
            <p:cNvPr id="7" name="Picture 4" descr="Banner">
              <a:extLst>
                <a:ext uri="{FF2B5EF4-FFF2-40B4-BE49-F238E27FC236}">
                  <a16:creationId xmlns:a16="http://schemas.microsoft.com/office/drawing/2014/main" id="{2A9FDB97-27BE-DAEA-BBA5-D6280DAD3291}"/>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381697" y="-1491326"/>
              <a:ext cx="1594320" cy="895532"/>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7EEEC247-412A-7A18-A661-F8AD67D71EF2}"/>
              </a:ext>
            </a:extLst>
          </p:cNvPr>
          <p:cNvSpPr/>
          <p:nvPr/>
        </p:nvSpPr>
        <p:spPr>
          <a:xfrm flipV="1">
            <a:off x="0" y="1640591"/>
            <a:ext cx="12192001" cy="61174"/>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7782722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EF94F-55BB-897E-F7DB-3A99BC0E9930}"/>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23C336AA-7589-9BD1-4639-D993C5250569}"/>
              </a:ext>
            </a:extLst>
          </p:cNvPr>
          <p:cNvSpPr/>
          <p:nvPr/>
        </p:nvSpPr>
        <p:spPr bwMode="gray">
          <a:xfrm>
            <a:off x="0" y="6502400"/>
            <a:ext cx="12192000" cy="171784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a:solidFill>
                <a:schemeClr val="bg1"/>
              </a:solidFill>
            </a:endParaRPr>
          </a:p>
        </p:txBody>
      </p:sp>
      <p:pic>
        <p:nvPicPr>
          <p:cNvPr id="1026" name="Picture 2">
            <a:extLst>
              <a:ext uri="{FF2B5EF4-FFF2-40B4-BE49-F238E27FC236}">
                <a16:creationId xmlns:a16="http://schemas.microsoft.com/office/drawing/2014/main" id="{FE769E78-EB23-52C6-58A4-668D46A61291}"/>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905892" y="2403406"/>
            <a:ext cx="3038246" cy="303824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DD9E789-566E-E881-14D1-F6F0BA72D226}"/>
              </a:ext>
            </a:extLst>
          </p:cNvPr>
          <p:cNvSpPr txBox="1"/>
          <p:nvPr/>
        </p:nvSpPr>
        <p:spPr>
          <a:xfrm>
            <a:off x="398206" y="2084097"/>
            <a:ext cx="8057536" cy="777136"/>
          </a:xfrm>
          <a:prstGeom prst="rect">
            <a:avLst/>
          </a:prstGeom>
          <a:noFill/>
        </p:spPr>
        <p:txBody>
          <a:bodyPr wrap="square">
            <a:spAutoFit/>
          </a:bodyPr>
          <a:lstStyle/>
          <a:p>
            <a:pPr algn="l">
              <a:spcAft>
                <a:spcPts val="1500"/>
              </a:spcAft>
              <a:buNone/>
            </a:pPr>
            <a:r>
              <a:rPr lang="en-US" b="1" i="0">
                <a:solidFill>
                  <a:schemeClr val="accent1"/>
                </a:solidFill>
                <a:effectLst/>
                <a:latin typeface="Arial" panose="020B0604020202020204" pitchFamily="34" charset="0"/>
              </a:rPr>
              <a:t>CORA</a:t>
            </a:r>
            <a:r>
              <a:rPr lang="en-US" b="1" i="0">
                <a:solidFill>
                  <a:schemeClr val="accent1"/>
                </a:solidFill>
                <a:effectLst/>
                <a:latin typeface="Arial" panose="020B0604020202020204" pitchFamily="34" charset="0"/>
                <a:sym typeface="Wingdings" panose="05000000000000000000" pitchFamily="2" charset="2"/>
              </a:rPr>
              <a:t> Ralf / Andreas </a:t>
            </a:r>
            <a:r>
              <a:rPr lang="en-US" b="1" i="0">
                <a:solidFill>
                  <a:schemeClr val="accent1"/>
                </a:solidFill>
                <a:effectLst/>
                <a:latin typeface="Arial" panose="020B0604020202020204" pitchFamily="34" charset="0"/>
              </a:rPr>
              <a:t>   </a:t>
            </a:r>
          </a:p>
          <a:p>
            <a:pPr algn="l">
              <a:spcAft>
                <a:spcPts val="2250"/>
              </a:spcAft>
            </a:pPr>
            <a:r>
              <a:rPr lang="en-US" sz="1400" b="0" i="0">
                <a:solidFill>
                  <a:srgbClr val="FFFFFF"/>
                </a:solidFill>
                <a:effectLst/>
                <a:latin typeface="Arial" panose="020B0604020202020204" pitchFamily="34" charset="0"/>
              </a:rPr>
              <a:t>autonomous intelligence</a:t>
            </a:r>
          </a:p>
        </p:txBody>
      </p:sp>
      <p:grpSp>
        <p:nvGrpSpPr>
          <p:cNvPr id="2" name="Group 1">
            <a:extLst>
              <a:ext uri="{FF2B5EF4-FFF2-40B4-BE49-F238E27FC236}">
                <a16:creationId xmlns:a16="http://schemas.microsoft.com/office/drawing/2014/main" id="{CB195DE9-35E4-5BC9-93AA-4F208888BC54}"/>
              </a:ext>
            </a:extLst>
          </p:cNvPr>
          <p:cNvGrpSpPr/>
          <p:nvPr/>
        </p:nvGrpSpPr>
        <p:grpSpPr>
          <a:xfrm>
            <a:off x="0" y="110963"/>
            <a:ext cx="12192000" cy="1508734"/>
            <a:chOff x="0" y="-1601723"/>
            <a:chExt cx="12192000" cy="1508734"/>
          </a:xfrm>
        </p:grpSpPr>
        <p:sp>
          <p:nvSpPr>
            <p:cNvPr id="3" name="Rectangle 2">
              <a:extLst>
                <a:ext uri="{FF2B5EF4-FFF2-40B4-BE49-F238E27FC236}">
                  <a16:creationId xmlns:a16="http://schemas.microsoft.com/office/drawing/2014/main" id="{537E5D17-7358-D83C-5AA9-526E263376E4}"/>
                </a:ext>
              </a:extLst>
            </p:cNvPr>
            <p:cNvSpPr/>
            <p:nvPr/>
          </p:nvSpPr>
          <p:spPr>
            <a:xfrm>
              <a:off x="0" y="-1601723"/>
              <a:ext cx="12192000" cy="15087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u="sng"/>
            </a:p>
          </p:txBody>
        </p:sp>
        <p:pic>
          <p:nvPicPr>
            <p:cNvPr id="4" name="Picture 3">
              <a:extLst>
                <a:ext uri="{FF2B5EF4-FFF2-40B4-BE49-F238E27FC236}">
                  <a16:creationId xmlns:a16="http://schemas.microsoft.com/office/drawing/2014/main" id="{BB307013-6C1A-3616-935D-3F6A4EC855DE}"/>
                </a:ext>
              </a:extLst>
            </p:cNvPr>
            <p:cNvPicPr>
              <a:picLocks noChangeAspect="1"/>
            </p:cNvPicPr>
            <p:nvPr/>
          </p:nvPicPr>
          <p:blipFill>
            <a:blip r:embed="rId3" cstate="screen">
              <a:extLst>
                <a:ext uri="{28A0092B-C50C-407E-A947-70E740481C1C}">
                  <a14:useLocalDpi xmlns:a14="http://schemas.microsoft.com/office/drawing/2010/main"/>
                </a:ext>
              </a:extLst>
            </a:blip>
            <a:srcRect l="12359" t="29466" r="11827" b="27443"/>
            <a:stretch/>
          </p:blipFill>
          <p:spPr>
            <a:xfrm>
              <a:off x="130505" y="-1418233"/>
              <a:ext cx="2777795" cy="640511"/>
            </a:xfrm>
            <a:prstGeom prst="rect">
              <a:avLst/>
            </a:prstGeom>
          </p:spPr>
        </p:pic>
        <p:sp>
          <p:nvSpPr>
            <p:cNvPr id="5" name="Rectangle 4">
              <a:extLst>
                <a:ext uri="{FF2B5EF4-FFF2-40B4-BE49-F238E27FC236}">
                  <a16:creationId xmlns:a16="http://schemas.microsoft.com/office/drawing/2014/main" id="{D9D0597A-F3DF-DDE3-611F-37102B0A0667}"/>
                </a:ext>
              </a:extLst>
            </p:cNvPr>
            <p:cNvSpPr/>
            <p:nvPr/>
          </p:nvSpPr>
          <p:spPr>
            <a:xfrm>
              <a:off x="11178857" y="-824980"/>
              <a:ext cx="534147" cy="1619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tx1"/>
                  </a:solidFill>
                </a:rPr>
                <a:t>My Site</a:t>
              </a:r>
            </a:p>
          </p:txBody>
        </p:sp>
        <p:sp>
          <p:nvSpPr>
            <p:cNvPr id="6" name="Rectangle 5">
              <a:extLst>
                <a:ext uri="{FF2B5EF4-FFF2-40B4-BE49-F238E27FC236}">
                  <a16:creationId xmlns:a16="http://schemas.microsoft.com/office/drawing/2014/main" id="{17AF2932-0C2D-5358-5586-417C9FF305F5}"/>
                </a:ext>
              </a:extLst>
            </p:cNvPr>
            <p:cNvSpPr/>
            <p:nvPr/>
          </p:nvSpPr>
          <p:spPr>
            <a:xfrm>
              <a:off x="10332551" y="-634744"/>
              <a:ext cx="1669877" cy="353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Chat with a consultant</a:t>
              </a:r>
            </a:p>
          </p:txBody>
        </p:sp>
        <p:pic>
          <p:nvPicPr>
            <p:cNvPr id="7" name="Picture 4" descr="Banner">
              <a:extLst>
                <a:ext uri="{FF2B5EF4-FFF2-40B4-BE49-F238E27FC236}">
                  <a16:creationId xmlns:a16="http://schemas.microsoft.com/office/drawing/2014/main" id="{3E488621-6C4E-E484-01E2-35C2DEDA8E77}"/>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381697" y="-1491326"/>
              <a:ext cx="1594320" cy="895532"/>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CF1E8C24-7475-1473-42BD-8009AD6A0FE8}"/>
              </a:ext>
            </a:extLst>
          </p:cNvPr>
          <p:cNvSpPr/>
          <p:nvPr/>
        </p:nvSpPr>
        <p:spPr>
          <a:xfrm flipV="1">
            <a:off x="0" y="1640591"/>
            <a:ext cx="12192001" cy="61174"/>
          </a:xfrm>
          <a:prstGeom prst="rect">
            <a:avLst/>
          </a:prstGeom>
          <a:solidFill>
            <a:srgbClr val="BFBF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tangle 9">
            <a:extLst>
              <a:ext uri="{FF2B5EF4-FFF2-40B4-BE49-F238E27FC236}">
                <a16:creationId xmlns:a16="http://schemas.microsoft.com/office/drawing/2014/main" id="{BD1AE9E3-DADA-3585-4366-1E92D73A76D0}"/>
              </a:ext>
            </a:extLst>
          </p:cNvPr>
          <p:cNvSpPr/>
          <p:nvPr/>
        </p:nvSpPr>
        <p:spPr>
          <a:xfrm>
            <a:off x="4701689" y="7053228"/>
            <a:ext cx="1174830" cy="23657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900"/>
              <a:t>Joule</a:t>
            </a:r>
          </a:p>
        </p:txBody>
      </p:sp>
      <p:sp>
        <p:nvSpPr>
          <p:cNvPr id="12" name="Rectangle 11">
            <a:extLst>
              <a:ext uri="{FF2B5EF4-FFF2-40B4-BE49-F238E27FC236}">
                <a16:creationId xmlns:a16="http://schemas.microsoft.com/office/drawing/2014/main" id="{FF54B461-278C-9BB5-5820-BBD418B68DA8}"/>
              </a:ext>
            </a:extLst>
          </p:cNvPr>
          <p:cNvSpPr/>
          <p:nvPr/>
        </p:nvSpPr>
        <p:spPr>
          <a:xfrm>
            <a:off x="3059156" y="7053228"/>
            <a:ext cx="1174830" cy="23657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900"/>
              <a:t>Chat</a:t>
            </a:r>
          </a:p>
        </p:txBody>
      </p:sp>
      <p:sp>
        <p:nvSpPr>
          <p:cNvPr id="14" name="Rectangle 13">
            <a:extLst>
              <a:ext uri="{FF2B5EF4-FFF2-40B4-BE49-F238E27FC236}">
                <a16:creationId xmlns:a16="http://schemas.microsoft.com/office/drawing/2014/main" id="{495BA7C8-BDD0-1FA0-F8EC-E6E2CC764D92}"/>
              </a:ext>
            </a:extLst>
          </p:cNvPr>
          <p:cNvSpPr/>
          <p:nvPr/>
        </p:nvSpPr>
        <p:spPr>
          <a:xfrm>
            <a:off x="1416623" y="7053228"/>
            <a:ext cx="1174830" cy="23657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900" err="1"/>
              <a:t>eMail</a:t>
            </a:r>
            <a:endParaRPr lang="de-DE" sz="900"/>
          </a:p>
        </p:txBody>
      </p:sp>
    </p:spTree>
    <p:extLst>
      <p:ext uri="{BB962C8B-B14F-4D97-AF65-F5344CB8AC3E}">
        <p14:creationId xmlns:p14="http://schemas.microsoft.com/office/powerpoint/2010/main" val="345944980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0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02.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 name="EE4P_HIDDEN_MASTER_SHAPE" val="1"/>
</p:tagLst>
</file>

<file path=ppt/tags/tag103.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 name="EE4P_HIDDEN_MASTER_SHAPE"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0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07.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 name="EE4P_HIDDEN_MASTER_SHAPE" val="1"/>
</p:tagLst>
</file>

<file path=ppt/tags/tag108.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 name="EE4P_HIDDEN_MASTER_SHAPE" val="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1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1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12.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 name="EE4P_HIDDEN_MASTER_SHAPE" val="1"/>
</p:tagLst>
</file>

<file path=ppt/tags/tag113.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 name="EE4P_HIDDEN_MASTER_SHAPE"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16.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 name="EE4P_HIDDEN_MASTER_SHAPE" val="1"/>
</p:tagLst>
</file>

<file path=ppt/tags/tag117.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 name="EE4P_HIDDEN_MASTER_SHAPE"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 name="EE4P_HIDDEN_MASTER_SHAPE" val="1"/>
</p:tagLst>
</file>

<file path=ppt/tags/tag121.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 name="EE4P_HIDDEN_MASTER_SHAPE" val="1"/>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 name="EE4P_HIDDEN_MASTER_SHAPE" val="1"/>
</p:tagLst>
</file>

<file path=ppt/tags/tag12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 name="EE4P_HIDDEN_MASTER_SHAPE" val="1"/>
</p:tagLst>
</file>

<file path=ppt/tags/tag12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 name="EE4P_HIDDEN_MASTER_SHAPE" val="1"/>
</p:tagLst>
</file>

<file path=ppt/tags/tag12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3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3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3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3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4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4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4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4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4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5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5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5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5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5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6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6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6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6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6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6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6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6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7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7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7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7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7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8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8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8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8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8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8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8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9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9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9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9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9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9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9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9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0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0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0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0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0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0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0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0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0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1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1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1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1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1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1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1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2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2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2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3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3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3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3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3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3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4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4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4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4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4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4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4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5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5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5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5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5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57.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 name="EE4P_HIDDEN_MASTER_SHAPE" val="1"/>
</p:tagLst>
</file>

<file path=ppt/tags/tag258.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 name="EE4P_HIDDEN_MASTER_SHAPE" val="1"/>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6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6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6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6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6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6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6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6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6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7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7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7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7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7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7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8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8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8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8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9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9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9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9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9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9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0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0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0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0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0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0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0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1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1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1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1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1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1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1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2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2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2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2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2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2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akI6wGxWTTbAoIpfO3aZA"/>
</p:tagLst>
</file>

<file path=ppt/tags/tag32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3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3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3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3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QopmJ4HUQquI28K5dfGCrA"/>
</p:tagLst>
</file>

<file path=ppt/tags/tag33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3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3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4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00000000-0000-0000-0000-000000000000"/>
  <p:tag name="MIO_UPDATE" val="True"/>
  <p:tag name="MIO_VERSION" val="01.01.0001 00:00:00"/>
  <p:tag name="MIO_DBID" val=""/>
  <p:tag name="MIO_LASTDOWNLOADED" val="01.01.0001 00:00:00.000"/>
  <p:tag name="MIO_FALLBACK_LAYOUT" val="32"/>
  <p:tag name="MIO_SHOW_DATE" val="False"/>
  <p:tag name="MIO_SHOW_FOOTER" val="False"/>
  <p:tag name="MIO_SHOW_PAGENUMBER" val="False"/>
  <p:tag name="MIO_AVOID_BLANK_LAYOUT" val="False"/>
  <p:tag name="MIO_CD_LAYOUT_VALID_AREA" val="False"/>
  <p:tag name="MIO_NUMBER_OF_VALID_LAYOUTS" val="50"/>
</p:tagLst>
</file>

<file path=ppt/tags/tag348.xml><?xml version="1.0" encoding="utf-8"?>
<p:tagLst xmlns:a="http://schemas.openxmlformats.org/drawingml/2006/main" xmlns:r="http://schemas.openxmlformats.org/officeDocument/2006/relationships" xmlns:p="http://schemas.openxmlformats.org/presentationml/2006/main">
  <p:tag name="MIO_FALLBACK_LAYOUT" val="31"/>
  <p:tag name="MIO_SHOW_DATE" val="False"/>
  <p:tag name="MIO_SHOW_FOOTER" val="False"/>
  <p:tag name="MIO_SHOW_PAGENUMBER" val="False"/>
  <p:tag name="MIO_AVOID_BLANK_LAYOUT" val="False"/>
  <p:tag name="MIO_CD_LAYOUT_VALID_AREA" val="False"/>
  <p:tag name="MIO_EMBED_FONT" val="True"/>
  <p:tag name="MIO_MATCH_COLOR_SCHEME" val="False"/>
  <p:tag name="MIO_NUMBER_OF_VALID_LAYOUTS" val="46"/>
  <p:tag name="MIO_HDS" val="True"/>
  <p:tag name="MIO_SKIPVERSION" val="01.01.0001 00:00:00"/>
  <p:tag name="MIO_EKGUID" val="a4fc2127-e6ee-4e73-b2a0-71faa570fb8a"/>
  <p:tag name="MIO_UPDATE" val="True"/>
  <p:tag name="MIO_VERSION" val="04.10.2022 06:48:28"/>
  <p:tag name="MIO_DBID" val="fede6900-895c-4459-b97c-72b2b9dac459"/>
  <p:tag name="MIO_LASTDOWNLOADED" val="06.10.2022 01:39:14.750"/>
  <p:tag name="MIO_OBJECTNAME" val="01 Deloitte 16:9 (2022) long"/>
  <p:tag name="MIO_CDID" val="b832c4bc-5070-4232-bfdb-3d42c9da7c2d"/>
</p:tagLst>
</file>

<file path=ppt/tags/tag349.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351.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352.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353.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35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355.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356.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357.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358.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359.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361.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362.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363.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36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365.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366.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367.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368.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uj.l_O7MwtZYUGLfmu0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51.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 name="EE4P_HIDDEN_MASTER_SHAPE" val="1"/>
</p:tagLst>
</file>

<file path=ppt/tags/tag5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53.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00000000-0000-0000-0000-000000000000"/>
  <p:tag name="MIO_UPDATE" val="True"/>
  <p:tag name="MIO_VERSION" val="01.01.0001 00:00:00"/>
  <p:tag name="MIO_DBID" val=""/>
  <p:tag name="MIO_LASTDOWNLOADED" val="01.01.0001 00:00:00.000"/>
  <p:tag name="MIO_FALLBACK_LAYOUT" val="32"/>
  <p:tag name="MIO_SHOW_DATE" val="False"/>
  <p:tag name="MIO_SHOW_FOOTER" val="False"/>
  <p:tag name="MIO_SHOW_PAGENUMBER" val="False"/>
  <p:tag name="MIO_AVOID_BLANK_LAYOUT" val="False"/>
  <p:tag name="MIO_CD_LAYOUT_VALID_AREA" val="False"/>
  <p:tag name="MIO_NUMBER_OF_VALID_LAYOUTS" val="50"/>
  <p:tag name="EE4P_HIDDEN_MASTER_SHAPE" val="1"/>
</p:tagLst>
</file>

<file path=ppt/tags/tag54.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1137f388-d257-44c7-abdf-c0d75a0331bb"/>
  <p:tag name="MIO_UPDATE" val="True"/>
  <p:tag name="MIO_DBID" val="fede6900-895c-4459-b97c-72b2b9dac459"/>
  <p:tag name="MIO_FALLBACK_LAYOUT" val="29"/>
  <p:tag name="MIO_SHOW_DATE" val="False"/>
  <p:tag name="MIO_SHOW_FOOTER" val="False"/>
  <p:tag name="MIO_SHOW_PAGENUMBER" val="True"/>
  <p:tag name="MIO_AVOID_BLANK_LAYOUT" val="False"/>
  <p:tag name="MIO_CD_LAYOUT_VALID_AREA" val="False"/>
  <p:tag name="MIO_EMBED_FONT" val="False"/>
  <p:tag name="MIO_MATCH_COLOR_SCHEME" val="False"/>
  <p:tag name="MIO_NUMBER_OF_VALID_LAYOUTS" val="44"/>
  <p:tag name="MIO_VERSION" val="02.01.2023 10:22:06"/>
  <p:tag name="MIO_OBJECTNAME" val="01 Deloitte 16:9 (2023) short"/>
  <p:tag name="MIO_LASTDOWNLOADED" val="25.07.2023 14:28:37.602"/>
  <p:tag name="MIO_CDID" val="b832c4bc-5070-4232-bfdb-3d42c9da7c2d"/>
</p:tagLst>
</file>

<file path=ppt/tags/tag5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5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5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6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6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6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6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6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9.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82.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83.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8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8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8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9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91.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92.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 name="EE4P_HIDDEN_MASTER_SHAPE" val="1"/>
</p:tagLst>
</file>

<file path=ppt/tags/tag93.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 name="EE4P_HIDDEN_MASTER_SHAPE"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9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97.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 name="EE4P_HIDDEN_MASTER_SHAPE" val="1"/>
</p:tagLst>
</file>

<file path=ppt/tags/tag98.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 name="EE4P_HIDDEN_MASTER_SHAPE"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LAS Vegas theme">
      <a:dk1>
        <a:srgbClr val="000000"/>
      </a:dk1>
      <a:lt1>
        <a:srgbClr val="FFFFFF"/>
      </a:lt1>
      <a:dk2>
        <a:srgbClr val="53565A"/>
      </a:dk2>
      <a:lt2>
        <a:srgbClr val="D0D0CE"/>
      </a:lt2>
      <a:accent1>
        <a:srgbClr val="86BC25"/>
      </a:accent1>
      <a:accent2>
        <a:srgbClr val="00A3B0"/>
      </a:accent2>
      <a:accent3>
        <a:srgbClr val="12896A"/>
      </a:accent3>
      <a:accent4>
        <a:srgbClr val="046A38"/>
      </a:accent4>
      <a:accent5>
        <a:srgbClr val="0D8390"/>
      </a:accent5>
      <a:accent6>
        <a:srgbClr val="009FAE"/>
      </a:accent6>
      <a:hlink>
        <a:srgbClr val="00A3E0"/>
      </a:hlink>
      <a:folHlink>
        <a:srgbClr val="7F7F7F"/>
      </a:folHlink>
    </a:clrScheme>
    <a:fontScheme name="Custom 3">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4.xml><?xml version="1.0" encoding="utf-8"?>
<a:theme xmlns:a="http://schemas.openxmlformats.org/drawingml/2006/main" name="3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5.xml><?xml version="1.0" encoding="utf-8"?>
<a:theme xmlns:a="http://schemas.openxmlformats.org/drawingml/2006/main" name="1_Office Theme">
  <a:themeElements>
    <a:clrScheme name="LAS Vegas theme">
      <a:dk1>
        <a:srgbClr val="000000"/>
      </a:dk1>
      <a:lt1>
        <a:srgbClr val="FFFFFF"/>
      </a:lt1>
      <a:dk2>
        <a:srgbClr val="53565A"/>
      </a:dk2>
      <a:lt2>
        <a:srgbClr val="D0D0CE"/>
      </a:lt2>
      <a:accent1>
        <a:srgbClr val="86BC25"/>
      </a:accent1>
      <a:accent2>
        <a:srgbClr val="00A3B0"/>
      </a:accent2>
      <a:accent3>
        <a:srgbClr val="12896A"/>
      </a:accent3>
      <a:accent4>
        <a:srgbClr val="046A38"/>
      </a:accent4>
      <a:accent5>
        <a:srgbClr val="0D8390"/>
      </a:accent5>
      <a:accent6>
        <a:srgbClr val="009FAE"/>
      </a:accent6>
      <a:hlink>
        <a:srgbClr val="00A3E0"/>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49E723C1EB75469F844FA001A156DE" ma:contentTypeVersion="14" ma:contentTypeDescription="Create a new document." ma:contentTypeScope="" ma:versionID="e4bf5b92b649c30dd807a8c8423ba883">
  <xsd:schema xmlns:xsd="http://www.w3.org/2001/XMLSchema" xmlns:xs="http://www.w3.org/2001/XMLSchema" xmlns:p="http://schemas.microsoft.com/office/2006/metadata/properties" xmlns:ns2="32fa2977-3bb4-4bcb-85a8-8c7e90e4b4a2" xmlns:ns3="a47868d1-18d2-4657-b3d2-32219515864a" targetNamespace="http://schemas.microsoft.com/office/2006/metadata/properties" ma:root="true" ma:fieldsID="739a89b7d58ce0dd84d65e882facb9e4" ns2:_="" ns3:_="">
    <xsd:import namespace="32fa2977-3bb4-4bcb-85a8-8c7e90e4b4a2"/>
    <xsd:import namespace="a47868d1-18d2-4657-b3d2-32219515864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fa2977-3bb4-4bcb-85a8-8c7e90e4b4a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47868d1-18d2-4657-b3d2-32219515864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52279da-212f-4a67-a086-192c26d0d29d}" ma:internalName="TaxCatchAll" ma:showField="CatchAllData" ma:web="a47868d1-18d2-4657-b3d2-32219515864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47868d1-18d2-4657-b3d2-32219515864a" xsi:nil="true"/>
    <lcf76f155ced4ddcb4097134ff3c332f xmlns="32fa2977-3bb4-4bcb-85a8-8c7e90e4b4a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839793A-8019-4A69-9A6C-F0F2F53BAD2B}">
  <ds:schemaRefs>
    <ds:schemaRef ds:uri="32fa2977-3bb4-4bcb-85a8-8c7e90e4b4a2"/>
    <ds:schemaRef ds:uri="a47868d1-18d2-4657-b3d2-32219515864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F867989-988F-4D4E-A254-8FEA31995FC2}">
  <ds:schemaRefs>
    <ds:schemaRef ds:uri="http://schemas.microsoft.com/sharepoint/v3/contenttype/forms"/>
  </ds:schemaRefs>
</ds:datastoreItem>
</file>

<file path=customXml/itemProps3.xml><?xml version="1.0" encoding="utf-8"?>
<ds:datastoreItem xmlns:ds="http://schemas.openxmlformats.org/officeDocument/2006/customXml" ds:itemID="{68A54BC4-32EE-42FB-8AB8-FD732FAA51AB}">
  <ds:schemaRefs>
    <ds:schemaRef ds:uri="32fa2977-3bb4-4bcb-85a8-8c7e90e4b4a2"/>
    <ds:schemaRef ds:uri="a47868d1-18d2-4657-b3d2-32219515864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Deloitte Brand Theme</Template>
  <Application>Microsoft Office PowerPoint</Application>
  <PresentationFormat>Widescreen</PresentationFormat>
  <Slides>18</Slides>
  <Notes>7</Notes>
  <HiddenSlides>0</HiddenSlides>
  <ScaleCrop>false</ScaleCrop>
  <HeadingPairs>
    <vt:vector size="4" baseType="variant">
      <vt:variant>
        <vt:lpstr>Theme</vt:lpstr>
      </vt:variant>
      <vt:variant>
        <vt:i4>6</vt:i4>
      </vt:variant>
      <vt:variant>
        <vt:lpstr>Slide Titles</vt:lpstr>
      </vt:variant>
      <vt:variant>
        <vt:i4>18</vt:i4>
      </vt:variant>
    </vt:vector>
  </HeadingPairs>
  <TitlesOfParts>
    <vt:vector size="24" baseType="lpstr">
      <vt:lpstr>1_Deloitte Brand Theme</vt:lpstr>
      <vt:lpstr>Office Theme</vt:lpstr>
      <vt:lpstr>2_Deloitte Brand Theme</vt:lpstr>
      <vt:lpstr>3_Deloitte Brand Theme</vt:lpstr>
      <vt:lpstr>1_Office Theme</vt:lpstr>
      <vt:lpstr>Deloitte Brand Theme</vt:lpstr>
      <vt:lpstr>PowerPoint Presentation</vt:lpstr>
      <vt:lpstr>PowerPoint Presentation</vt:lpstr>
      <vt:lpstr>PowerPoint Presentation</vt:lpstr>
      <vt:lpstr>PowerPoint Presentation</vt:lpstr>
      <vt:lpstr>PowerPoint Presentation</vt:lpstr>
      <vt:lpstr>PowerPoint Presentation</vt:lpstr>
      <vt:lpstr> Introducing: Consultant in the Loop   Smarter Decisions. Human Support. Seamless Experience.</vt:lpstr>
      <vt:lpstr>PowerPoint Presentation</vt:lpstr>
      <vt:lpstr>PowerPoint Presentation</vt:lpstr>
      <vt:lpstr>PowerPoint Presentation</vt:lpstr>
      <vt:lpstr>PowerPoint Presentation</vt:lpstr>
      <vt:lpstr>Use-cases : Intelligent Goods Receipt</vt:lpstr>
      <vt:lpstr>PowerPoint Presentation</vt:lpstr>
      <vt:lpstr>Use-cases : D.SCALE</vt:lpstr>
      <vt:lpstr>SAP Joule</vt:lpstr>
      <vt:lpstr>User Journey</vt:lpstr>
      <vt:lpstr>TImelin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that can be up to three lines of text</dc:title>
  <dc:creator>Wu, Ziyun</dc:creator>
  <cp:revision>1</cp:revision>
  <dcterms:created xsi:type="dcterms:W3CDTF">2020-04-09T19:43:18Z</dcterms:created>
  <dcterms:modified xsi:type="dcterms:W3CDTF">2025-05-05T08:1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8:32: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cd076e2-ba1e-4444-8923-d23acd129111</vt:lpwstr>
  </property>
  <property fmtid="{D5CDD505-2E9C-101B-9397-08002B2CF9AE}" pid="8" name="MSIP_Label_ea60d57e-af5b-4752-ac57-3e4f28ca11dc_ContentBits">
    <vt:lpwstr>0</vt:lpwstr>
  </property>
  <property fmtid="{D5CDD505-2E9C-101B-9397-08002B2CF9AE}" pid="9" name="Order">
    <vt:lpwstr>330900.000000000</vt:lpwstr>
  </property>
  <property fmtid="{D5CDD505-2E9C-101B-9397-08002B2CF9AE}" pid="10" name="xd_ProgID">
    <vt:lpwstr/>
  </property>
  <property fmtid="{D5CDD505-2E9C-101B-9397-08002B2CF9AE}" pid="11" name="ContentTypeId">
    <vt:lpwstr>0x0101007449E723C1EB75469F844FA001A156DE</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lpwstr/>
  </property>
  <property fmtid="{D5CDD505-2E9C-101B-9397-08002B2CF9AE}" pid="17" name="MediaServiceImageTags">
    <vt:lpwstr/>
  </property>
  <property fmtid="{D5CDD505-2E9C-101B-9397-08002B2CF9AE}" pid="18" name="MSIP_Label_ea60d57e-af5b-4752-ac57-3e4f28ca11dc_Tag">
    <vt:lpwstr>10, 3, 0, 2</vt:lpwstr>
  </property>
</Properties>
</file>